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charts/chart2.xml" ContentType="application/vnd.openxmlformats-officedocument.drawingml.chart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charts/chart3.xml" ContentType="application/vnd.openxmlformats-officedocument.drawingml.chart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charts/chart4.xml" ContentType="application/vnd.openxmlformats-officedocument.drawingml.chart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charts/chart5.xml" ContentType="application/vnd.openxmlformats-officedocument.drawingml.chart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charts/chart8.xml" ContentType="application/vnd.openxmlformats-officedocument.drawingml.chart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828" r:id="rId4"/>
    <p:sldMasterId id="2147483868" r:id="rId5"/>
  </p:sldMasterIdLst>
  <p:notesMasterIdLst>
    <p:notesMasterId r:id="rId15"/>
  </p:notesMasterIdLst>
  <p:handoutMasterIdLst>
    <p:handoutMasterId r:id="rId16"/>
  </p:handoutMasterIdLst>
  <p:sldIdLst>
    <p:sldId id="5716" r:id="rId6"/>
    <p:sldId id="5594" r:id="rId7"/>
    <p:sldId id="5718" r:id="rId8"/>
    <p:sldId id="5663" r:id="rId9"/>
    <p:sldId id="5713" r:id="rId10"/>
    <p:sldId id="5686" r:id="rId11"/>
    <p:sldId id="5691" r:id="rId12"/>
    <p:sldId id="5702" r:id="rId13"/>
    <p:sldId id="5708" r:id="rId14"/>
  </p:sldIdLst>
  <p:sldSz cx="12192000" cy="6858000"/>
  <p:notesSz cx="6645275" cy="9775825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53" userDrawn="1">
          <p15:clr>
            <a:srgbClr val="A4A3A4"/>
          </p15:clr>
        </p15:guide>
        <p15:guide id="2" pos="4407" userDrawn="1">
          <p15:clr>
            <a:srgbClr val="A4A3A4"/>
          </p15:clr>
        </p15:guide>
        <p15:guide id="3" pos="2706" userDrawn="1">
          <p15:clr>
            <a:srgbClr val="A4A3A4"/>
          </p15:clr>
        </p15:guide>
        <p15:guide id="5" orient="horz" pos="3067" userDrawn="1">
          <p15:clr>
            <a:srgbClr val="A4A3A4"/>
          </p15:clr>
        </p15:guide>
        <p15:guide id="6" orient="horz" pos="1933" userDrawn="1">
          <p15:clr>
            <a:srgbClr val="A4A3A4"/>
          </p15:clr>
        </p15:guide>
        <p15:guide id="7" orient="horz" pos="2341" userDrawn="1">
          <p15:clr>
            <a:srgbClr val="A4A3A4"/>
          </p15:clr>
        </p15:guide>
        <p15:guide id="10" orient="horz" pos="3543" userDrawn="1">
          <p15:clr>
            <a:srgbClr val="A4A3A4"/>
          </p15:clr>
        </p15:guide>
        <p15:guide id="11" pos="62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ABECA"/>
    <a:srgbClr val="F2D2D4"/>
    <a:srgbClr val="00A3E0"/>
    <a:srgbClr val="FF530D"/>
    <a:srgbClr val="D9D9D9"/>
    <a:srgbClr val="FFFFFF"/>
    <a:srgbClr val="25B4FF"/>
    <a:srgbClr val="027223"/>
    <a:srgbClr val="C00000"/>
    <a:srgbClr val="43B0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3" autoAdjust="0"/>
    <p:restoredTop sz="96400" autoAdjust="0"/>
  </p:normalViewPr>
  <p:slideViewPr>
    <p:cSldViewPr snapToGrid="0">
      <p:cViewPr varScale="1">
        <p:scale>
          <a:sx n="114" d="100"/>
          <a:sy n="114" d="100"/>
        </p:scale>
        <p:origin x="300" y="102"/>
      </p:cViewPr>
      <p:guideLst>
        <p:guide orient="horz" pos="1253"/>
        <p:guide pos="4407"/>
        <p:guide pos="2706"/>
        <p:guide orient="horz" pos="3067"/>
        <p:guide orient="horz" pos="1933"/>
        <p:guide orient="horz" pos="2341"/>
        <p:guide orient="horz" pos="3543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3996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652305366591082E-2"/>
          <c:y val="3.091557669441141E-2"/>
          <c:w val="0.96069538926681786"/>
          <c:h val="0.9381688466111770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9.6021947873799718</c:v>
                </c:pt>
                <c:pt idx="1">
                  <c:v>9.6153846153846168</c:v>
                </c:pt>
                <c:pt idx="2">
                  <c:v>10.431154381084841</c:v>
                </c:pt>
                <c:pt idx="3">
                  <c:v>8.97263346792283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B6-4D16-A8BE-B289448D44C7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29.149519890260635</c:v>
                </c:pt>
                <c:pt idx="1">
                  <c:v>27.564102564102566</c:v>
                </c:pt>
                <c:pt idx="2">
                  <c:v>30.45897079276774</c:v>
                </c:pt>
                <c:pt idx="3">
                  <c:v>31.4042171377299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BB6-4D16-A8BE-B289448D44C7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3:$D$3</c:f>
              <c:numCache>
                <c:formatCode>General</c:formatCode>
                <c:ptCount val="4"/>
                <c:pt idx="0">
                  <c:v>61.248285322359393</c:v>
                </c:pt>
                <c:pt idx="1">
                  <c:v>62.820512820512832</c:v>
                </c:pt>
                <c:pt idx="2">
                  <c:v>59.109874826147433</c:v>
                </c:pt>
                <c:pt idx="3">
                  <c:v>59.6231493943472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BB6-4D16-A8BE-B289448D44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60636504"/>
        <c:axId val="1"/>
      </c:barChart>
      <c:catAx>
        <c:axId val="8606365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D6D7D9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606365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119032858028518E-2"/>
          <c:y val="7.0391061452513962E-2"/>
          <c:w val="0.96776193428394297"/>
          <c:h val="0.9005586592178770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709497206703910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41C-4680-8685-DEFF80CF100E}"/>
                </c:ext>
              </c:extLst>
            </c:dLbl>
            <c:dLbl>
              <c:idx val="1"/>
              <c:layout>
                <c:manualLayout>
                  <c:x val="0"/>
                  <c:y val="-0.1709497206703910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41C-4680-8685-DEFF80CF100E}"/>
                </c:ext>
              </c:extLst>
            </c:dLbl>
            <c:dLbl>
              <c:idx val="2"/>
              <c:layout>
                <c:manualLayout>
                  <c:x val="0"/>
                  <c:y val="-8.044692737430167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41C-4680-8685-DEFF80CF100E}"/>
                </c:ext>
              </c:extLst>
            </c:dLbl>
            <c:dLbl>
              <c:idx val="3"/>
              <c:layout>
                <c:manualLayout>
                  <c:x val="0"/>
                  <c:y val="-8.044692737430167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41C-4680-8685-DEFF80CF100E}"/>
                </c:ext>
              </c:extLst>
            </c:dLbl>
            <c:dLbl>
              <c:idx val="4"/>
              <c:layout>
                <c:manualLayout>
                  <c:x val="0"/>
                  <c:y val="-8.044692737430167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41C-4680-8685-DEFF80CF100E}"/>
                </c:ext>
              </c:extLst>
            </c:dLbl>
            <c:dLbl>
              <c:idx val="5"/>
              <c:layout>
                <c:manualLayout>
                  <c:x val="0"/>
                  <c:y val="-0.3055865921787709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41C-4680-8685-DEFF80CF100E}"/>
                </c:ext>
              </c:extLst>
            </c:dLbl>
            <c:dLbl>
              <c:idx val="6"/>
              <c:layout>
                <c:manualLayout>
                  <c:x val="0"/>
                  <c:y val="-0.1709497206703910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41C-4680-8685-DEFF80CF100E}"/>
                </c:ext>
              </c:extLst>
            </c:dLbl>
            <c:dLbl>
              <c:idx val="7"/>
              <c:layout>
                <c:manualLayout>
                  <c:x val="0"/>
                  <c:y val="-0.48603351955307261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741C-4680-8685-DEFF80CF100E}"/>
                </c:ext>
              </c:extLst>
            </c:dLbl>
            <c:dLbl>
              <c:idx val="8"/>
              <c:layout>
                <c:manualLayout>
                  <c:x val="0"/>
                  <c:y val="-8.044692737430167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741C-4680-8685-DEFF80CF100E}"/>
                </c:ext>
              </c:extLst>
            </c:dLbl>
            <c:dLbl>
              <c:idx val="9"/>
              <c:layout>
                <c:manualLayout>
                  <c:x val="0"/>
                  <c:y val="-8.044692737430167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741C-4680-8685-DEFF80CF100E}"/>
                </c:ext>
              </c:extLst>
            </c:dLbl>
            <c:dLbl>
              <c:idx val="10"/>
              <c:layout>
                <c:manualLayout>
                  <c:x val="0"/>
                  <c:y val="-0.12569832402234637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741C-4680-8685-DEFF80CF100E}"/>
                </c:ext>
              </c:extLst>
            </c:dLbl>
            <c:dLbl>
              <c:idx val="11"/>
              <c:layout>
                <c:manualLayout>
                  <c:x val="0"/>
                  <c:y val="-8.044692737430167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741C-4680-8685-DEFF80CF100E}"/>
                </c:ext>
              </c:extLst>
            </c:dLbl>
            <c:dLbl>
              <c:idx val="12"/>
              <c:layout>
                <c:manualLayout>
                  <c:x val="0"/>
                  <c:y val="-8.044692737430167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741C-4680-8685-DEFF80CF100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8.8235294117647065</c:v>
                </c:pt>
                <c:pt idx="1">
                  <c:v>8.8235294117647065</c:v>
                </c:pt>
                <c:pt idx="2">
                  <c:v>2.9411764705882351</c:v>
                </c:pt>
                <c:pt idx="3">
                  <c:v>2.9411764705882351</c:v>
                </c:pt>
                <c:pt idx="4">
                  <c:v>2.9411764705882351</c:v>
                </c:pt>
                <c:pt idx="5">
                  <c:v>17.647058823529413</c:v>
                </c:pt>
                <c:pt idx="6">
                  <c:v>8.8235294117647065</c:v>
                </c:pt>
                <c:pt idx="7">
                  <c:v>29.411764705882355</c:v>
                </c:pt>
                <c:pt idx="8">
                  <c:v>2.9411764705882351</c:v>
                </c:pt>
                <c:pt idx="9">
                  <c:v>2.9411764705882351</c:v>
                </c:pt>
                <c:pt idx="10">
                  <c:v>5.8823529411764701</c:v>
                </c:pt>
                <c:pt idx="11">
                  <c:v>2.9411764705882351</c:v>
                </c:pt>
                <c:pt idx="12">
                  <c:v>2.94117647058823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741C-4680-8685-DEFF80CF10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71315656"/>
        <c:axId val="1"/>
      </c:barChart>
      <c:catAx>
        <c:axId val="8713156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D6D7D9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9.41176470588235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713156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732851985559567E-2"/>
          <c:y val="2.7055150884495321E-2"/>
          <c:w val="0.97653429602888087"/>
          <c:h val="0.9458896982310094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DB1CF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742-4D49-BBA4-F14650EDF8DF}"/>
              </c:ext>
            </c:extLst>
          </c:dPt>
          <c:dPt>
            <c:idx val="3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742-4D49-BBA4-F14650EDF8DF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0.68540095956134339</c:v>
                </c:pt>
                <c:pt idx="1">
                  <c:v>18.910256410256409</c:v>
                </c:pt>
                <c:pt idx="2">
                  <c:v>4.375</c:v>
                </c:pt>
                <c:pt idx="3">
                  <c:v>2.5583482944344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742-4D49-BBA4-F14650EDF8DF}"/>
            </c:ext>
          </c:extLst>
        </c:ser>
        <c:ser>
          <c:idx val="1"/>
          <c:order val="1"/>
          <c:spPr>
            <a:solidFill>
              <a:srgbClr val="9DB1CF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6742-4D49-BBA4-F14650EDF8DF}"/>
              </c:ext>
            </c:extLst>
          </c:dPt>
          <c:dPt>
            <c:idx val="2"/>
            <c:invertIfNegative val="0"/>
            <c:bubble3D val="0"/>
            <c:spPr>
              <a:solidFill>
                <a:schemeClr val="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6742-4D49-BBA4-F14650EDF8DF}"/>
              </c:ext>
            </c:extLst>
          </c:dPt>
          <c:val>
            <c:numRef>
              <c:f>Sheet1!$A$2:$D$2</c:f>
              <c:numCache>
                <c:formatCode>General</c:formatCode>
                <c:ptCount val="4"/>
                <c:pt idx="0">
                  <c:v>15.969842357779301</c:v>
                </c:pt>
                <c:pt idx="1">
                  <c:v>4.8076923076923066</c:v>
                </c:pt>
                <c:pt idx="2">
                  <c:v>2.6388888888888884</c:v>
                </c:pt>
                <c:pt idx="3">
                  <c:v>18.5816876122082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742-4D49-BBA4-F14650EDF8DF}"/>
            </c:ext>
          </c:extLst>
        </c:ser>
        <c:ser>
          <c:idx val="2"/>
          <c:order val="2"/>
          <c:spPr>
            <a:solidFill>
              <a:srgbClr val="018F82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6742-4D49-BBA4-F14650EDF8DF}"/>
              </c:ext>
            </c:extLst>
          </c:dPt>
          <c:dPt>
            <c:idx val="3"/>
            <c:invertIfNegative val="0"/>
            <c:bubble3D val="0"/>
            <c:spPr>
              <a:solidFill>
                <a:schemeClr val="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6742-4D49-BBA4-F14650EDF8DF}"/>
              </c:ext>
            </c:extLst>
          </c:dPt>
          <c:val>
            <c:numRef>
              <c:f>Sheet1!$A$3:$D$3</c:f>
              <c:numCache>
                <c:formatCode>General</c:formatCode>
                <c:ptCount val="4"/>
                <c:pt idx="0">
                  <c:v>5.4832076764907463</c:v>
                </c:pt>
                <c:pt idx="1">
                  <c:v>3.8461538461538467</c:v>
                </c:pt>
                <c:pt idx="2">
                  <c:v>0</c:v>
                </c:pt>
                <c:pt idx="3">
                  <c:v>8.9766606822262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742-4D49-BBA4-F14650EDF8DF}"/>
            </c:ext>
          </c:extLst>
        </c:ser>
        <c:ser>
          <c:idx val="3"/>
          <c:order val="3"/>
          <c:spPr>
            <a:solidFill>
              <a:srgbClr val="018F8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6742-4D49-BBA4-F14650EDF8DF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6742-4D49-BBA4-F14650EDF8DF}"/>
              </c:ext>
            </c:extLst>
          </c:dPt>
          <c:val>
            <c:numRef>
              <c:f>Sheet1!$A$4:$D$4</c:f>
              <c:numCache>
                <c:formatCode>General</c:formatCode>
                <c:ptCount val="4"/>
                <c:pt idx="0">
                  <c:v>2.7416038382453749</c:v>
                </c:pt>
                <c:pt idx="1">
                  <c:v>12.820512820512825</c:v>
                </c:pt>
                <c:pt idx="2">
                  <c:v>13.055555555555554</c:v>
                </c:pt>
                <c:pt idx="3">
                  <c:v>2.55834829443447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742-4D49-BBA4-F14650EDF8DF}"/>
            </c:ext>
          </c:extLst>
        </c:ser>
        <c:ser>
          <c:idx val="4"/>
          <c:order val="4"/>
          <c:spPr>
            <a:solidFill>
              <a:srgbClr val="AE2573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C-6742-4D49-BBA4-F14650EDF8DF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D-6742-4D49-BBA4-F14650EDF8DF}"/>
              </c:ext>
            </c:extLst>
          </c:dPt>
          <c:val>
            <c:numRef>
              <c:f>Sheet1!$A$5:$D$5</c:f>
              <c:numCache>
                <c:formatCode>General</c:formatCode>
                <c:ptCount val="4"/>
                <c:pt idx="0">
                  <c:v>15.627141877998625</c:v>
                </c:pt>
                <c:pt idx="1">
                  <c:v>25.641025641025649</c:v>
                </c:pt>
                <c:pt idx="2">
                  <c:v>52.9861111111111</c:v>
                </c:pt>
                <c:pt idx="3">
                  <c:v>23.0700179533213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6742-4D49-BBA4-F14650EDF8DF}"/>
            </c:ext>
          </c:extLst>
        </c:ser>
        <c:ser>
          <c:idx val="5"/>
          <c:order val="5"/>
          <c:spPr>
            <a:solidFill>
              <a:srgbClr val="AE2573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6742-4D49-BBA4-F14650EDF8DF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0-6742-4D49-BBA4-F14650EDF8DF}"/>
              </c:ext>
            </c:extLst>
          </c:dPt>
          <c:val>
            <c:numRef>
              <c:f>Sheet1!$A$6:$D$6</c:f>
              <c:numCache>
                <c:formatCode>General</c:formatCode>
                <c:ptCount val="4"/>
                <c:pt idx="0">
                  <c:v>31.871144619602475</c:v>
                </c:pt>
                <c:pt idx="1">
                  <c:v>33.974358974358978</c:v>
                </c:pt>
                <c:pt idx="2">
                  <c:v>26.944444444444429</c:v>
                </c:pt>
                <c:pt idx="3">
                  <c:v>28.859964093357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6742-4D49-BBA4-F14650EDF8DF}"/>
            </c:ext>
          </c:extLst>
        </c:ser>
        <c:ser>
          <c:idx val="6"/>
          <c:order val="6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2-6742-4D49-BBA4-F14650EDF8DF}"/>
              </c:ext>
            </c:extLst>
          </c:dPt>
          <c:dPt>
            <c:idx val="2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3-6742-4D49-BBA4-F14650EDF8DF}"/>
              </c:ext>
            </c:extLst>
          </c:dPt>
          <c:val>
            <c:numRef>
              <c:f>Sheet1!$A$7:$D$7</c:f>
              <c:numCache>
                <c:formatCode>General</c:formatCode>
                <c:ptCount val="4"/>
                <c:pt idx="0">
                  <c:v>27.621658670322134</c:v>
                </c:pt>
                <c:pt idx="1">
                  <c:v>0</c:v>
                </c:pt>
                <c:pt idx="2">
                  <c:v>0</c:v>
                </c:pt>
                <c:pt idx="3">
                  <c:v>15.3949730700179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6742-4D49-BBA4-F14650EDF8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28490128"/>
        <c:axId val="1"/>
      </c:barChart>
      <c:catAx>
        <c:axId val="8284901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D6D7D9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284901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331444759206799E-2"/>
          <c:y val="2.7055150884495321E-2"/>
          <c:w val="0.97733711048158645"/>
          <c:h val="0.9458896982310094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hlink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40.865384615384613</c:v>
                </c:pt>
                <c:pt idx="1">
                  <c:v>50</c:v>
                </c:pt>
                <c:pt idx="2">
                  <c:v>16.666666666666664</c:v>
                </c:pt>
                <c:pt idx="3">
                  <c:v>42.78606965174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8C-40F2-BA03-F71A377DC488}"/>
            </c:ext>
          </c:extLst>
        </c:ser>
        <c:ser>
          <c:idx val="1"/>
          <c:order val="1"/>
          <c:spPr>
            <a:solidFill>
              <a:srgbClr val="018F82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12.5</c:v>
                </c:pt>
                <c:pt idx="1">
                  <c:v>16.489361702127667</c:v>
                </c:pt>
                <c:pt idx="2">
                  <c:v>0</c:v>
                </c:pt>
                <c:pt idx="3">
                  <c:v>14.4278606965174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38C-40F2-BA03-F71A377DC488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3:$D$3</c:f>
              <c:numCache>
                <c:formatCode>General</c:formatCode>
                <c:ptCount val="4"/>
                <c:pt idx="0">
                  <c:v>19.711538461538453</c:v>
                </c:pt>
                <c:pt idx="1">
                  <c:v>13.297872340425528</c:v>
                </c:pt>
                <c:pt idx="2">
                  <c:v>41.666666666666671</c:v>
                </c:pt>
                <c:pt idx="3">
                  <c:v>14.4278606965174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38C-40F2-BA03-F71A377DC488}"/>
            </c:ext>
          </c:extLst>
        </c:ser>
        <c:ser>
          <c:idx val="3"/>
          <c:order val="3"/>
          <c:spPr>
            <a:solidFill>
              <a:srgbClr val="AE2573"/>
            </a:solidFill>
            <a:ln>
              <a:noFill/>
            </a:ln>
          </c:spPr>
          <c:invertIfNegative val="0"/>
          <c:val>
            <c:numRef>
              <c:f>Sheet1!$A$4:$D$4</c:f>
              <c:numCache>
                <c:formatCode>General</c:formatCode>
                <c:ptCount val="4"/>
                <c:pt idx="0">
                  <c:v>19.711538461538453</c:v>
                </c:pt>
                <c:pt idx="1">
                  <c:v>10.106382978723403</c:v>
                </c:pt>
                <c:pt idx="2">
                  <c:v>33.333333333333321</c:v>
                </c:pt>
                <c:pt idx="3">
                  <c:v>28.3582089552238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38C-40F2-BA03-F71A377DC488}"/>
            </c:ext>
          </c:extLst>
        </c:ser>
        <c:ser>
          <c:idx val="4"/>
          <c:order val="4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5:$D$5</c:f>
              <c:numCache>
                <c:formatCode>General</c:formatCode>
                <c:ptCount val="4"/>
                <c:pt idx="0">
                  <c:v>7.211538461538467</c:v>
                </c:pt>
                <c:pt idx="1">
                  <c:v>10.106382978723403</c:v>
                </c:pt>
                <c:pt idx="2">
                  <c:v>8.3333333333333286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38C-40F2-BA03-F71A377DC4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36301616"/>
        <c:axId val="1"/>
      </c:barChart>
      <c:catAx>
        <c:axId val="8363016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D6D7D9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363016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533140515786937E-2"/>
          <c:y val="2.1121039805036556E-2"/>
          <c:w val="0.97493371896842618"/>
          <c:h val="0.957757920389926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197DC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1EF-48DB-92B0-D982E766C3A8}"/>
              </c:ext>
            </c:extLst>
          </c:dPt>
          <c:dPt>
            <c:idx val="1"/>
            <c:invertIfNegative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1EF-48DB-92B0-D982E766C3A8}"/>
              </c:ext>
            </c:extLst>
          </c:dPt>
          <c:dPt>
            <c:idx val="2"/>
            <c:invertIfNegative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21EF-48DB-92B0-D982E766C3A8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21EF-48DB-92B0-D982E766C3A8}"/>
              </c:ext>
            </c:extLst>
          </c:dPt>
          <c:dPt>
            <c:idx val="7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21EF-48DB-92B0-D982E766C3A8}"/>
              </c:ext>
            </c:extLst>
          </c:dPt>
          <c:dPt>
            <c:idx val="8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21EF-48DB-92B0-D982E766C3A8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21EF-48DB-92B0-D982E766C3A8}"/>
              </c:ext>
            </c:extLst>
          </c:dPt>
          <c:dPt>
            <c:idx val="10"/>
            <c:invertIfNegative val="0"/>
            <c:bubble3D val="0"/>
            <c:spPr>
              <a:solidFill>
                <a:srgbClr val="CBB13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21EF-48DB-92B0-D982E766C3A8}"/>
              </c:ext>
            </c:extLst>
          </c:dPt>
          <c:dPt>
            <c:idx val="11"/>
            <c:invertIfNegative val="0"/>
            <c:bubble3D val="0"/>
            <c:spPr>
              <a:solidFill>
                <a:srgbClr val="CBB13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21EF-48DB-92B0-D982E766C3A8}"/>
              </c:ext>
            </c:extLst>
          </c:dPt>
          <c:dLbls>
            <c:dLbl>
              <c:idx val="0"/>
              <c:layout>
                <c:manualLayout>
                  <c:x val="0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1EF-48DB-92B0-D982E766C3A8}"/>
                </c:ext>
              </c:extLst>
            </c:dLbl>
            <c:dLbl>
              <c:idx val="2"/>
              <c:layout>
                <c:manualLayout>
                  <c:x val="0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1EF-48DB-92B0-D982E766C3A8}"/>
                </c:ext>
              </c:extLst>
            </c:dLbl>
            <c:dLbl>
              <c:idx val="3"/>
              <c:layout>
                <c:manualLayout>
                  <c:x val="6.5075921908893707E-3"/>
                  <c:y val="-4.102355808285946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21EF-48DB-92B0-D982E766C3A8}"/>
                </c:ext>
              </c:extLst>
            </c:dLbl>
            <c:dLbl>
              <c:idx val="5"/>
              <c:layout>
                <c:manualLayout>
                  <c:x val="0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21EF-48DB-92B0-D982E766C3A8}"/>
                </c:ext>
              </c:extLst>
            </c:dLbl>
            <c:dLbl>
              <c:idx val="7"/>
              <c:layout>
                <c:manualLayout>
                  <c:x val="6.5075921908893707E-3"/>
                  <c:y val="-4.102355808285946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1EF-48DB-92B0-D982E766C3A8}"/>
                </c:ext>
              </c:extLst>
            </c:dLbl>
            <c:dLbl>
              <c:idx val="8"/>
              <c:layout>
                <c:manualLayout>
                  <c:x val="6.5075921908893707E-3"/>
                  <c:y val="-4.102355808285946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1EF-48DB-92B0-D982E766C3A8}"/>
                </c:ext>
              </c:extLst>
            </c:dLbl>
            <c:dLbl>
              <c:idx val="9"/>
              <c:layout>
                <c:manualLayout>
                  <c:x val="6.5075921908893707E-3"/>
                  <c:y val="-4.102355808285946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1EF-48DB-92B0-D982E766C3A8}"/>
                </c:ext>
              </c:extLst>
            </c:dLbl>
            <c:dLbl>
              <c:idx val="11"/>
              <c:layout>
                <c:manualLayout>
                  <c:x val="0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1EF-48DB-92B0-D982E766C3A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27.500000000000004</c:v>
                </c:pt>
                <c:pt idx="1">
                  <c:v>2.5</c:v>
                </c:pt>
                <c:pt idx="2">
                  <c:v>10</c:v>
                </c:pt>
                <c:pt idx="3">
                  <c:v>2.5</c:v>
                </c:pt>
                <c:pt idx="4">
                  <c:v>2.5</c:v>
                </c:pt>
                <c:pt idx="5">
                  <c:v>5</c:v>
                </c:pt>
                <c:pt idx="6">
                  <c:v>2.5</c:v>
                </c:pt>
                <c:pt idx="7">
                  <c:v>2.5</c:v>
                </c:pt>
                <c:pt idx="8">
                  <c:v>2.5</c:v>
                </c:pt>
                <c:pt idx="9">
                  <c:v>2.5</c:v>
                </c:pt>
                <c:pt idx="10">
                  <c:v>2.5</c:v>
                </c:pt>
                <c:pt idx="1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21EF-48DB-92B0-D982E766C3A8}"/>
            </c:ext>
          </c:extLst>
        </c:ser>
        <c:ser>
          <c:idx val="1"/>
          <c:order val="1"/>
          <c:spPr>
            <a:solidFill>
              <a:srgbClr val="00777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C-21EF-48DB-92B0-D982E766C3A8}"/>
              </c:ext>
            </c:extLst>
          </c:dPt>
          <c:dPt>
            <c:idx val="1"/>
            <c:invertIfNegative val="0"/>
            <c:bubble3D val="0"/>
            <c:spPr>
              <a:solidFill>
                <a:srgbClr val="197DC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D-21EF-48DB-92B0-D982E766C3A8}"/>
              </c:ext>
            </c:extLst>
          </c:dPt>
          <c:dPt>
            <c:idx val="2"/>
            <c:invertIfNegative val="0"/>
            <c:bubble3D val="0"/>
            <c:spPr>
              <a:solidFill>
                <a:srgbClr val="197DC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E-21EF-48DB-92B0-D982E766C3A8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21EF-48DB-92B0-D982E766C3A8}"/>
              </c:ext>
            </c:extLst>
          </c:dPt>
          <c:dPt>
            <c:idx val="7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0-21EF-48DB-92B0-D982E766C3A8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1-21EF-48DB-92B0-D982E766C3A8}"/>
              </c:ext>
            </c:extLst>
          </c:dPt>
          <c:dPt>
            <c:idx val="9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2-21EF-48DB-92B0-D982E766C3A8}"/>
              </c:ext>
            </c:extLst>
          </c:dPt>
          <c:dPt>
            <c:idx val="10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3-21EF-48DB-92B0-D982E766C3A8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4-21EF-48DB-92B0-D982E766C3A8}"/>
              </c:ext>
            </c:extLst>
          </c:dPt>
          <c:dLbls>
            <c:dLbl>
              <c:idx val="0"/>
              <c:layout>
                <c:manualLayout>
                  <c:x val="-2.4102193299590263E-4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21EF-48DB-92B0-D982E766C3A8}"/>
                </c:ext>
              </c:extLst>
            </c:dLbl>
            <c:dLbl>
              <c:idx val="1"/>
              <c:layout>
                <c:manualLayout>
                  <c:x val="0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21EF-48DB-92B0-D982E766C3A8}"/>
                </c:ext>
              </c:extLst>
            </c:dLbl>
            <c:dLbl>
              <c:idx val="2"/>
              <c:layout>
                <c:manualLayout>
                  <c:x val="0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21EF-48DB-92B0-D982E766C3A8}"/>
                </c:ext>
              </c:extLst>
            </c:dLbl>
            <c:dLbl>
              <c:idx val="4"/>
              <c:layout>
                <c:manualLayout>
                  <c:x val="0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21EF-48DB-92B0-D982E766C3A8}"/>
                </c:ext>
              </c:extLst>
            </c:dLbl>
            <c:dLbl>
              <c:idx val="5"/>
              <c:layout>
                <c:manualLayout>
                  <c:x val="0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21EF-48DB-92B0-D982E766C3A8}"/>
                </c:ext>
              </c:extLst>
            </c:dLbl>
            <c:dLbl>
              <c:idx val="6"/>
              <c:layout>
                <c:manualLayout>
                  <c:x val="0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21EF-48DB-92B0-D982E766C3A8}"/>
                </c:ext>
              </c:extLst>
            </c:dLbl>
            <c:dLbl>
              <c:idx val="10"/>
              <c:layout>
                <c:manualLayout>
                  <c:x val="0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21EF-48DB-92B0-D982E766C3A8}"/>
                </c:ext>
              </c:extLst>
            </c:dLbl>
            <c:dLbl>
              <c:idx val="11"/>
              <c:layout>
                <c:manualLayout>
                  <c:x val="-2.4102193299590263E-4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21EF-48DB-92B0-D982E766C3A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72.5</c:v>
                </c:pt>
                <c:pt idx="1">
                  <c:v>27.500000000000004</c:v>
                </c:pt>
                <c:pt idx="2">
                  <c:v>24.999999999999996</c:v>
                </c:pt>
                <c:pt idx="3">
                  <c:v>2.5</c:v>
                </c:pt>
                <c:pt idx="4">
                  <c:v>7.5000000000000009</c:v>
                </c:pt>
                <c:pt idx="5">
                  <c:v>7.5</c:v>
                </c:pt>
                <c:pt idx="6">
                  <c:v>5.0000000000000009</c:v>
                </c:pt>
                <c:pt idx="7">
                  <c:v>2.5</c:v>
                </c:pt>
                <c:pt idx="8">
                  <c:v>2.5</c:v>
                </c:pt>
                <c:pt idx="9">
                  <c:v>2.5</c:v>
                </c:pt>
                <c:pt idx="10">
                  <c:v>10</c:v>
                </c:pt>
                <c:pt idx="11">
                  <c:v>15.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21EF-48DB-92B0-D982E766C3A8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8-21EF-48DB-92B0-D982E766C3A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9-21EF-48DB-92B0-D982E766C3A8}"/>
              </c:ext>
            </c:extLst>
          </c:dPt>
          <c:dPt>
            <c:idx val="3"/>
            <c:invertIfNegative val="0"/>
            <c:bubble3D val="0"/>
            <c:spPr>
              <a:solidFill>
                <a:srgbClr val="197DC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A-21EF-48DB-92B0-D982E766C3A8}"/>
              </c:ext>
            </c:extLst>
          </c:dPt>
          <c:dPt>
            <c:idx val="4"/>
            <c:invertIfNegative val="0"/>
            <c:bubble3D val="0"/>
            <c:spPr>
              <a:solidFill>
                <a:srgbClr val="197DC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B-21EF-48DB-92B0-D982E766C3A8}"/>
              </c:ext>
            </c:extLst>
          </c:dPt>
          <c:dPt>
            <c:idx val="5"/>
            <c:invertIfNegative val="0"/>
            <c:bubble3D val="0"/>
            <c:spPr>
              <a:solidFill>
                <a:srgbClr val="197DC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C-21EF-48DB-92B0-D982E766C3A8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D-21EF-48DB-92B0-D982E766C3A8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E-21EF-48DB-92B0-D982E766C3A8}"/>
              </c:ext>
            </c:extLst>
          </c:dPt>
          <c:dLbls>
            <c:dLbl>
              <c:idx val="1"/>
              <c:layout>
                <c:manualLayout>
                  <c:x val="0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21EF-48DB-92B0-D982E766C3A8}"/>
                </c:ext>
              </c:extLst>
            </c:dLbl>
            <c:dLbl>
              <c:idx val="2"/>
              <c:layout>
                <c:manualLayout>
                  <c:x val="0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21EF-48DB-92B0-D982E766C3A8}"/>
                </c:ext>
              </c:extLst>
            </c:dLbl>
            <c:dLbl>
              <c:idx val="3"/>
              <c:layout>
                <c:manualLayout>
                  <c:x val="0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21EF-48DB-92B0-D982E766C3A8}"/>
                </c:ext>
              </c:extLst>
            </c:dLbl>
            <c:dLbl>
              <c:idx val="4"/>
              <c:layout>
                <c:manualLayout>
                  <c:x val="0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21EF-48DB-92B0-D982E766C3A8}"/>
                </c:ext>
              </c:extLst>
            </c:dLbl>
            <c:dLbl>
              <c:idx val="6"/>
              <c:layout>
                <c:manualLayout>
                  <c:x val="-2.4102193299590263E-4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21EF-48DB-92B0-D982E766C3A8}"/>
                </c:ext>
              </c:extLst>
            </c:dLbl>
            <c:dLbl>
              <c:idx val="7"/>
              <c:layout>
                <c:manualLayout>
                  <c:x val="0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21EF-48DB-92B0-D982E766C3A8}"/>
                </c:ext>
              </c:extLst>
            </c:dLbl>
            <c:dLbl>
              <c:idx val="8"/>
              <c:layout>
                <c:manualLayout>
                  <c:x val="0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21EF-48DB-92B0-D982E766C3A8}"/>
                </c:ext>
              </c:extLst>
            </c:dLbl>
            <c:dLbl>
              <c:idx val="9"/>
              <c:layout>
                <c:manualLayout>
                  <c:x val="0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21EF-48DB-92B0-D982E766C3A8}"/>
                </c:ext>
              </c:extLst>
            </c:dLbl>
            <c:dLbl>
              <c:idx val="10"/>
              <c:layout>
                <c:manualLayout>
                  <c:x val="0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21EF-48DB-92B0-D982E766C3A8}"/>
                </c:ext>
              </c:extLst>
            </c:dLbl>
            <c:dLbl>
              <c:idx val="11"/>
              <c:layout>
                <c:manualLayout>
                  <c:x val="-2.4102193299590263E-4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21EF-48DB-92B0-D982E766C3A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L$3</c:f>
              <c:numCache>
                <c:formatCode>General</c:formatCode>
                <c:ptCount val="12"/>
                <c:pt idx="1">
                  <c:v>70</c:v>
                </c:pt>
                <c:pt idx="2">
                  <c:v>65</c:v>
                </c:pt>
                <c:pt idx="3">
                  <c:v>27.500000000000004</c:v>
                </c:pt>
                <c:pt idx="4">
                  <c:v>15</c:v>
                </c:pt>
                <c:pt idx="5">
                  <c:v>27.500000000000004</c:v>
                </c:pt>
                <c:pt idx="6">
                  <c:v>4.9999999999999991</c:v>
                </c:pt>
                <c:pt idx="7">
                  <c:v>7.5</c:v>
                </c:pt>
                <c:pt idx="8">
                  <c:v>7.5</c:v>
                </c:pt>
                <c:pt idx="9">
                  <c:v>7.5</c:v>
                </c:pt>
                <c:pt idx="10">
                  <c:v>10</c:v>
                </c:pt>
                <c:pt idx="1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3-21EF-48DB-92B0-D982E766C3A8}"/>
            </c:ext>
          </c:extLst>
        </c:ser>
        <c:ser>
          <c:idx val="3"/>
          <c:order val="3"/>
          <c:spPr>
            <a:solidFill>
              <a:srgbClr val="007770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4-21EF-48DB-92B0-D982E766C3A8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5-21EF-48DB-92B0-D982E766C3A8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6-21EF-48DB-92B0-D982E766C3A8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7-21EF-48DB-92B0-D982E766C3A8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8-21EF-48DB-92B0-D982E766C3A8}"/>
              </c:ext>
            </c:extLst>
          </c:dPt>
          <c:dLbls>
            <c:dLbl>
              <c:idx val="4"/>
              <c:layout>
                <c:manualLayout>
                  <c:x val="0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5-21EF-48DB-92B0-D982E766C3A8}"/>
                </c:ext>
              </c:extLst>
            </c:dLbl>
            <c:dLbl>
              <c:idx val="7"/>
              <c:layout>
                <c:manualLayout>
                  <c:x val="0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9-21EF-48DB-92B0-D982E766C3A8}"/>
                </c:ext>
              </c:extLst>
            </c:dLbl>
            <c:dLbl>
              <c:idx val="8"/>
              <c:layout>
                <c:manualLayout>
                  <c:x val="0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A-21EF-48DB-92B0-D982E766C3A8}"/>
                </c:ext>
              </c:extLst>
            </c:dLbl>
            <c:dLbl>
              <c:idx val="9"/>
              <c:layout>
                <c:manualLayout>
                  <c:x val="0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7-21EF-48DB-92B0-D982E766C3A8}"/>
                </c:ext>
              </c:extLst>
            </c:dLbl>
            <c:dLbl>
              <c:idx val="10"/>
              <c:layout>
                <c:manualLayout>
                  <c:x val="-2.4102193299590263E-4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8-21EF-48DB-92B0-D982E766C3A8}"/>
                </c:ext>
              </c:extLst>
            </c:dLbl>
            <c:dLbl>
              <c:idx val="11"/>
              <c:layout>
                <c:manualLayout>
                  <c:x val="0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B-21EF-48DB-92B0-D982E766C3A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L$4</c:f>
              <c:numCache>
                <c:formatCode>General</c:formatCode>
                <c:ptCount val="12"/>
                <c:pt idx="3">
                  <c:v>67.5</c:v>
                </c:pt>
                <c:pt idx="4">
                  <c:v>75</c:v>
                </c:pt>
                <c:pt idx="5">
                  <c:v>60</c:v>
                </c:pt>
                <c:pt idx="6">
                  <c:v>2.4999999999999996</c:v>
                </c:pt>
                <c:pt idx="7">
                  <c:v>22.499999999999996</c:v>
                </c:pt>
                <c:pt idx="8">
                  <c:v>15.000000000000002</c:v>
                </c:pt>
                <c:pt idx="9">
                  <c:v>10</c:v>
                </c:pt>
                <c:pt idx="10">
                  <c:v>20.000000000000004</c:v>
                </c:pt>
                <c:pt idx="11">
                  <c:v>24.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C-21EF-48DB-92B0-D982E766C3A8}"/>
            </c:ext>
          </c:extLst>
        </c:ser>
        <c:ser>
          <c:idx val="4"/>
          <c:order val="4"/>
          <c:spPr>
            <a:solidFill>
              <a:srgbClr val="197DC8"/>
            </a:solidFill>
            <a:ln>
              <a:noFill/>
            </a:ln>
          </c:spPr>
          <c:invertIfNegative val="0"/>
          <c:dPt>
            <c:idx val="9"/>
            <c:invertIfNegative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D-21EF-48DB-92B0-D982E766C3A8}"/>
              </c:ext>
            </c:extLst>
          </c:dPt>
          <c:dPt>
            <c:idx val="10"/>
            <c:invertIfNegative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E-21EF-48DB-92B0-D982E766C3A8}"/>
              </c:ext>
            </c:extLst>
          </c:dPt>
          <c:dLbls>
            <c:dLbl>
              <c:idx val="9"/>
              <c:layout>
                <c:manualLayout>
                  <c:x val="0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D-21EF-48DB-92B0-D982E766C3A8}"/>
                </c:ext>
              </c:extLst>
            </c:dLbl>
            <c:dLbl>
              <c:idx val="10"/>
              <c:layout>
                <c:manualLayout>
                  <c:x val="-2.4102193299590263E-4"/>
                  <c:y val="8.12347684809098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E-21EF-48DB-92B0-D982E766C3A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L$5</c:f>
              <c:numCache>
                <c:formatCode>General</c:formatCode>
                <c:ptCount val="12"/>
                <c:pt idx="6">
                  <c:v>17.499999999999996</c:v>
                </c:pt>
                <c:pt idx="7">
                  <c:v>45.000000000000007</c:v>
                </c:pt>
                <c:pt idx="8">
                  <c:v>37.5</c:v>
                </c:pt>
                <c:pt idx="9">
                  <c:v>45.000000000000007</c:v>
                </c:pt>
                <c:pt idx="10">
                  <c:v>37.5</c:v>
                </c:pt>
                <c:pt idx="11">
                  <c:v>27.5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F-21EF-48DB-92B0-D982E766C3A8}"/>
            </c:ext>
          </c:extLst>
        </c:ser>
        <c:ser>
          <c:idx val="5"/>
          <c:order val="5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9"/>
            <c:invertIfNegative val="0"/>
            <c:bubble3D val="0"/>
            <c:spPr>
              <a:solidFill>
                <a:srgbClr val="197DC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30-21EF-48DB-92B0-D982E766C3A8}"/>
              </c:ext>
            </c:extLst>
          </c:dPt>
          <c:dPt>
            <c:idx val="10"/>
            <c:invertIfNegative val="0"/>
            <c:bubble3D val="0"/>
            <c:spPr>
              <a:solidFill>
                <a:srgbClr val="197DC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31-21EF-48DB-92B0-D982E766C3A8}"/>
              </c:ext>
            </c:extLst>
          </c:dPt>
          <c:val>
            <c:numRef>
              <c:f>Sheet1!$A$6:$L$6</c:f>
              <c:numCache>
                <c:formatCode>General</c:formatCode>
                <c:ptCount val="12"/>
                <c:pt idx="6">
                  <c:v>67.5</c:v>
                </c:pt>
                <c:pt idx="7">
                  <c:v>19.999999999999996</c:v>
                </c:pt>
                <c:pt idx="8">
                  <c:v>35</c:v>
                </c:pt>
                <c:pt idx="9">
                  <c:v>25</c:v>
                </c:pt>
                <c:pt idx="10">
                  <c:v>9.9999999999999982</c:v>
                </c:pt>
                <c:pt idx="11">
                  <c:v>2.50000000000000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2-21EF-48DB-92B0-D982E766C3A8}"/>
            </c:ext>
          </c:extLst>
        </c:ser>
        <c:ser>
          <c:idx val="6"/>
          <c:order val="6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7:$L$7</c:f>
              <c:numCache>
                <c:formatCode>General</c:formatCode>
                <c:ptCount val="12"/>
                <c:pt idx="9">
                  <c:v>7.4999999999999956</c:v>
                </c:pt>
                <c:pt idx="10">
                  <c:v>9.99999999999999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3-21EF-48DB-92B0-D982E766C3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34419424"/>
        <c:axId val="1"/>
      </c:barChart>
      <c:catAx>
        <c:axId val="63441942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6344194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375059495478343E-2"/>
          <c:y val="2.7055150884495321E-2"/>
          <c:w val="0.97524988100904331"/>
          <c:h val="0.9458896982310094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DB1CF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386-42F3-9483-FD1B60505FBB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4.0983606557377055</c:v>
                </c:pt>
                <c:pt idx="1">
                  <c:v>7.6923076923076925</c:v>
                </c:pt>
                <c:pt idx="2">
                  <c:v>73.333333333333329</c:v>
                </c:pt>
                <c:pt idx="3">
                  <c:v>14.285714285714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86-42F3-9483-FD1B60505FBB}"/>
            </c:ext>
          </c:extLst>
        </c:ser>
        <c:ser>
          <c:idx val="1"/>
          <c:order val="1"/>
          <c:spPr>
            <a:solidFill>
              <a:schemeClr val="hlink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A386-42F3-9483-FD1B60505FBB}"/>
              </c:ext>
            </c:extLst>
          </c:dPt>
          <c:val>
            <c:numRef>
              <c:f>Sheet1!$A$2:$D$2</c:f>
              <c:numCache>
                <c:formatCode>General</c:formatCode>
                <c:ptCount val="4"/>
                <c:pt idx="0">
                  <c:v>28.688524590163929</c:v>
                </c:pt>
                <c:pt idx="1">
                  <c:v>7.6923076923076925</c:v>
                </c:pt>
                <c:pt idx="2">
                  <c:v>26.666666666666671</c:v>
                </c:pt>
                <c:pt idx="3">
                  <c:v>85.7142857142857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386-42F3-9483-FD1B60505FBB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3:$D$3</c:f>
              <c:numCache>
                <c:formatCode>General</c:formatCode>
                <c:ptCount val="4"/>
                <c:pt idx="0">
                  <c:v>39.754098360655739</c:v>
                </c:pt>
                <c:pt idx="1">
                  <c:v>49.2307692307692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386-42F3-9483-FD1B60505FBB}"/>
            </c:ext>
          </c:extLst>
        </c:ser>
        <c:ser>
          <c:idx val="3"/>
          <c:order val="3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4:$D$4</c:f>
              <c:numCache>
                <c:formatCode>General</c:formatCode>
                <c:ptCount val="4"/>
                <c:pt idx="0">
                  <c:v>27.459016393442624</c:v>
                </c:pt>
                <c:pt idx="1">
                  <c:v>35.3846153846153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386-42F3-9483-FD1B60505F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73752344"/>
        <c:axId val="1"/>
      </c:barChart>
      <c:catAx>
        <c:axId val="5737523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D6D7D9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737523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964728935336384E-2"/>
          <c:y val="2.2837066315327184E-2"/>
          <c:w val="0.93207054212932727"/>
          <c:h val="0.9543258673693456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24.230769230769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5F6-4436-996B-BE92E5F672B2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75.7692307692307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5F6-4436-996B-BE92E5F672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23518280"/>
        <c:axId val="1"/>
      </c:barChart>
      <c:catAx>
        <c:axId val="9235182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D6D7D9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235182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063435495367072E-2"/>
          <c:y val="2.2837066315327184E-2"/>
          <c:w val="0.92587312900926588"/>
          <c:h val="0.9543258673693456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6F8DB9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7.69230769230769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04-4E3D-8A72-126C481C97F0}"/>
            </c:ext>
          </c:extLst>
        </c:ser>
        <c:ser>
          <c:idx val="1"/>
          <c:order val="1"/>
          <c:spPr>
            <a:solidFill>
              <a:schemeClr val="hlink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A04-4E3D-8A72-126C481C97F0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12.3076923076923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A04-4E3D-8A72-126C481C97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01954160"/>
        <c:axId val="1"/>
      </c:barChart>
      <c:catAx>
        <c:axId val="7019541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D6D7D9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019541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533140515786937E-2"/>
          <c:y val="2.0800000000000003E-2"/>
          <c:w val="0.97493371896842618"/>
          <c:h val="0.9584000000000000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777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197DC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1EB-4F64-8477-4D784509C8B5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1EB-4F64-8477-4D784509C8B5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11EB-4F64-8477-4D784509C8B5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11EB-4F64-8477-4D784509C8B5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11EB-4F64-8477-4D784509C8B5}"/>
              </c:ext>
            </c:extLst>
          </c:dPt>
          <c:dPt>
            <c:idx val="8"/>
            <c:invertIfNegative val="0"/>
            <c:bubble3D val="0"/>
            <c:spPr>
              <a:solidFill>
                <a:srgbClr val="CBB13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11EB-4F64-8477-4D784509C8B5}"/>
              </c:ext>
            </c:extLst>
          </c:dPt>
          <c:dPt>
            <c:idx val="9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11EB-4F64-8477-4D784509C8B5}"/>
              </c:ext>
            </c:extLst>
          </c:dPt>
          <c:dLbls>
            <c:dLbl>
              <c:idx val="0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1EB-4F64-8477-4D784509C8B5}"/>
                </c:ext>
              </c:extLst>
            </c:dLbl>
            <c:dLbl>
              <c:idx val="1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1EB-4F64-8477-4D784509C8B5}"/>
                </c:ext>
              </c:extLst>
            </c:dLbl>
            <c:dLbl>
              <c:idx val="2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11EB-4F64-8477-4D784509C8B5}"/>
                </c:ext>
              </c:extLst>
            </c:dLbl>
            <c:dLbl>
              <c:idx val="3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1EB-4F64-8477-4D784509C8B5}"/>
                </c:ext>
              </c:extLst>
            </c:dLbl>
            <c:dLbl>
              <c:idx val="4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1EB-4F64-8477-4D784509C8B5}"/>
                </c:ext>
              </c:extLst>
            </c:dLbl>
            <c:dLbl>
              <c:idx val="5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1EB-4F64-8477-4D784509C8B5}"/>
                </c:ext>
              </c:extLst>
            </c:dLbl>
            <c:dLbl>
              <c:idx val="6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1EB-4F64-8477-4D784509C8B5}"/>
                </c:ext>
              </c:extLst>
            </c:dLbl>
            <c:dLbl>
              <c:idx val="7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1EB-4F64-8477-4D784509C8B5}"/>
                </c:ext>
              </c:extLst>
            </c:dLbl>
            <c:dLbl>
              <c:idx val="8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1EB-4F64-8477-4D784509C8B5}"/>
                </c:ext>
              </c:extLst>
            </c:dLbl>
            <c:dLbl>
              <c:idx val="9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1EB-4F64-8477-4D784509C8B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0">
                  <c:v>26.666699999999999</c:v>
                </c:pt>
                <c:pt idx="1">
                  <c:v>3.3333000000000004</c:v>
                </c:pt>
                <c:pt idx="2">
                  <c:v>3.3333000000000004</c:v>
                </c:pt>
                <c:pt idx="3">
                  <c:v>3.3333000000000004</c:v>
                </c:pt>
                <c:pt idx="4">
                  <c:v>3.3333000000000004</c:v>
                </c:pt>
                <c:pt idx="5">
                  <c:v>3.3333000000000004</c:v>
                </c:pt>
                <c:pt idx="6">
                  <c:v>3.3333000000000004</c:v>
                </c:pt>
                <c:pt idx="7">
                  <c:v>10</c:v>
                </c:pt>
                <c:pt idx="8">
                  <c:v>3.3333000000000004</c:v>
                </c:pt>
                <c:pt idx="9">
                  <c:v>3.3333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1EB-4F64-8477-4D784509C8B5}"/>
            </c:ext>
          </c:extLst>
        </c:ser>
        <c:ser>
          <c:idx val="1"/>
          <c:order val="1"/>
          <c:spPr>
            <a:solidFill>
              <a:srgbClr val="197DC8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11EB-4F64-8477-4D784509C8B5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C-11EB-4F64-8477-4D784509C8B5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D-11EB-4F64-8477-4D784509C8B5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E-11EB-4F64-8477-4D784509C8B5}"/>
              </c:ext>
            </c:extLst>
          </c:dPt>
          <c:dPt>
            <c:idx val="9"/>
            <c:invertIfNegative val="0"/>
            <c:bubble3D val="0"/>
            <c:spPr>
              <a:solidFill>
                <a:srgbClr val="CBB13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11EB-4F64-8477-4D784509C8B5}"/>
              </c:ext>
            </c:extLst>
          </c:dPt>
          <c:dLbls>
            <c:dLbl>
              <c:idx val="0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11EB-4F64-8477-4D784509C8B5}"/>
                </c:ext>
              </c:extLst>
            </c:dLbl>
            <c:dLbl>
              <c:idx val="1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11EB-4F64-8477-4D784509C8B5}"/>
                </c:ext>
              </c:extLst>
            </c:dLbl>
            <c:dLbl>
              <c:idx val="2"/>
              <c:layout>
                <c:manualLayout>
                  <c:x val="0"/>
                  <c:y val="-4.519999999999999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11EB-4F64-8477-4D784509C8B5}"/>
                </c:ext>
              </c:extLst>
            </c:dLbl>
            <c:dLbl>
              <c:idx val="3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11EB-4F64-8477-4D784509C8B5}"/>
                </c:ext>
              </c:extLst>
            </c:dLbl>
            <c:dLbl>
              <c:idx val="4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11EB-4F64-8477-4D784509C8B5}"/>
                </c:ext>
              </c:extLst>
            </c:dLbl>
            <c:dLbl>
              <c:idx val="6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11EB-4F64-8477-4D784509C8B5}"/>
                </c:ext>
              </c:extLst>
            </c:dLbl>
            <c:dLbl>
              <c:idx val="7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11EB-4F64-8477-4D784509C8B5}"/>
                </c:ext>
              </c:extLst>
            </c:dLbl>
            <c:dLbl>
              <c:idx val="8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11EB-4F64-8477-4D784509C8B5}"/>
                </c:ext>
              </c:extLst>
            </c:dLbl>
            <c:dLbl>
              <c:idx val="9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11EB-4F64-8477-4D784509C8B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J$2</c:f>
              <c:numCache>
                <c:formatCode>General</c:formatCode>
                <c:ptCount val="10"/>
                <c:pt idx="0">
                  <c:v>73.333300000000008</c:v>
                </c:pt>
                <c:pt idx="1">
                  <c:v>50</c:v>
                </c:pt>
                <c:pt idx="2">
                  <c:v>40</c:v>
                </c:pt>
                <c:pt idx="3">
                  <c:v>26.666699999999999</c:v>
                </c:pt>
                <c:pt idx="4">
                  <c:v>20</c:v>
                </c:pt>
                <c:pt idx="5">
                  <c:v>26.666699999999999</c:v>
                </c:pt>
                <c:pt idx="6">
                  <c:v>3.3333000000000004</c:v>
                </c:pt>
                <c:pt idx="7">
                  <c:v>16.666699999999999</c:v>
                </c:pt>
                <c:pt idx="8">
                  <c:v>6.6667000000000005</c:v>
                </c:pt>
                <c:pt idx="9">
                  <c:v>3.3333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11EB-4F64-8477-4D784509C8B5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5-11EB-4F64-8477-4D784509C8B5}"/>
              </c:ext>
            </c:extLst>
          </c:dPt>
          <c:dPt>
            <c:idx val="7"/>
            <c:invertIfNegative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6-11EB-4F64-8477-4D784509C8B5}"/>
              </c:ext>
            </c:extLst>
          </c:dPt>
          <c:dPt>
            <c:idx val="8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7-11EB-4F64-8477-4D784509C8B5}"/>
              </c:ext>
            </c:extLst>
          </c:dPt>
          <c:dPt>
            <c:idx val="9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8-11EB-4F64-8477-4D784509C8B5}"/>
              </c:ext>
            </c:extLst>
          </c:dPt>
          <c:dLbls>
            <c:dLbl>
              <c:idx val="1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11EB-4F64-8477-4D784509C8B5}"/>
                </c:ext>
              </c:extLst>
            </c:dLbl>
            <c:dLbl>
              <c:idx val="2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11EB-4F64-8477-4D784509C8B5}"/>
                </c:ext>
              </c:extLst>
            </c:dLbl>
            <c:dLbl>
              <c:idx val="4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11EB-4F64-8477-4D784509C8B5}"/>
                </c:ext>
              </c:extLst>
            </c:dLbl>
            <c:dLbl>
              <c:idx val="6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11EB-4F64-8477-4D784509C8B5}"/>
                </c:ext>
              </c:extLst>
            </c:dLbl>
            <c:dLbl>
              <c:idx val="7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11EB-4F64-8477-4D784509C8B5}"/>
                </c:ext>
              </c:extLst>
            </c:dLbl>
            <c:dLbl>
              <c:idx val="8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11EB-4F64-8477-4D784509C8B5}"/>
                </c:ext>
              </c:extLst>
            </c:dLbl>
            <c:dLbl>
              <c:idx val="9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11EB-4F64-8477-4D784509C8B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J$3</c:f>
              <c:numCache>
                <c:formatCode>General</c:formatCode>
                <c:ptCount val="10"/>
                <c:pt idx="1">
                  <c:v>46.666699999999992</c:v>
                </c:pt>
                <c:pt idx="2">
                  <c:v>56.666700000000006</c:v>
                </c:pt>
                <c:pt idx="3">
                  <c:v>70</c:v>
                </c:pt>
                <c:pt idx="4">
                  <c:v>76.666699999999992</c:v>
                </c:pt>
                <c:pt idx="5">
                  <c:v>70</c:v>
                </c:pt>
                <c:pt idx="6">
                  <c:v>13.333300000000001</c:v>
                </c:pt>
                <c:pt idx="7">
                  <c:v>40</c:v>
                </c:pt>
                <c:pt idx="8">
                  <c:v>3.3333000000000004</c:v>
                </c:pt>
                <c:pt idx="9">
                  <c:v>3.3333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11EB-4F64-8477-4D784509C8B5}"/>
            </c:ext>
          </c:extLst>
        </c:ser>
        <c:ser>
          <c:idx val="3"/>
          <c:order val="3"/>
          <c:spPr>
            <a:solidFill>
              <a:srgbClr val="197DC8"/>
            </a:solidFill>
            <a:ln>
              <a:noFill/>
            </a:ln>
          </c:spPr>
          <c:invertIfNegative val="0"/>
          <c:dPt>
            <c:idx val="8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D-11EB-4F64-8477-4D784509C8B5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E-11EB-4F64-8477-4D784509C8B5}"/>
              </c:ext>
            </c:extLst>
          </c:dPt>
          <c:dLbls>
            <c:dLbl>
              <c:idx val="8"/>
              <c:layout>
                <c:manualLayout>
                  <c:x val="-2.4102193299590263E-4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11EB-4F64-8477-4D784509C8B5}"/>
                </c:ext>
              </c:extLst>
            </c:dLbl>
            <c:dLbl>
              <c:idx val="9"/>
              <c:layout>
                <c:manualLayout>
                  <c:x val="-2.4102193299590263E-4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11EB-4F64-8477-4D784509C8B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J$4</c:f>
              <c:numCache>
                <c:formatCode>General</c:formatCode>
                <c:ptCount val="10"/>
                <c:pt idx="6">
                  <c:v>20</c:v>
                </c:pt>
                <c:pt idx="7">
                  <c:v>23.333300000000001</c:v>
                </c:pt>
                <c:pt idx="8">
                  <c:v>20</c:v>
                </c:pt>
                <c:pt idx="9">
                  <c:v>3.3333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11EB-4F64-8477-4D784509C8B5}"/>
            </c:ext>
          </c:extLst>
        </c:ser>
        <c:ser>
          <c:idx val="4"/>
          <c:order val="4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8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0-11EB-4F64-8477-4D784509C8B5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1-11EB-4F64-8477-4D784509C8B5}"/>
              </c:ext>
            </c:extLst>
          </c:dPt>
          <c:dLbls>
            <c:dLbl>
              <c:idx val="8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11EB-4F64-8477-4D784509C8B5}"/>
                </c:ext>
              </c:extLst>
            </c:dLbl>
            <c:dLbl>
              <c:idx val="9"/>
              <c:layout>
                <c:manualLayout>
                  <c:x val="-2.4102193299590263E-4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11EB-4F64-8477-4D784509C8B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J$5</c:f>
              <c:numCache>
                <c:formatCode>General</c:formatCode>
                <c:ptCount val="10"/>
                <c:pt idx="6">
                  <c:v>60</c:v>
                </c:pt>
                <c:pt idx="7">
                  <c:v>9.9999999999999982</c:v>
                </c:pt>
                <c:pt idx="8">
                  <c:v>13.333300000000003</c:v>
                </c:pt>
                <c:pt idx="9">
                  <c:v>36.6666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11EB-4F64-8477-4D784509C8B5}"/>
            </c:ext>
          </c:extLst>
        </c:ser>
        <c:ser>
          <c:idx val="5"/>
          <c:order val="5"/>
          <c:spPr>
            <a:solidFill>
              <a:srgbClr val="007770"/>
            </a:solidFill>
            <a:ln>
              <a:noFill/>
            </a:ln>
          </c:spPr>
          <c:invertIfNegative val="0"/>
          <c:dLbls>
            <c:dLbl>
              <c:idx val="8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3-11EB-4F64-8477-4D784509C8B5}"/>
                </c:ext>
              </c:extLst>
            </c:dLbl>
            <c:dLbl>
              <c:idx val="9"/>
              <c:layout>
                <c:manualLayout>
                  <c:x val="0"/>
                  <c:y val="8.0000000000000004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4-11EB-4F64-8477-4D784509C8B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J$6</c:f>
              <c:numCache>
                <c:formatCode>General</c:formatCode>
                <c:ptCount val="10"/>
                <c:pt idx="8">
                  <c:v>46.666699999999992</c:v>
                </c:pt>
                <c:pt idx="9">
                  <c:v>23.333300000000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5-11EB-4F64-8477-4D784509C8B5}"/>
            </c:ext>
          </c:extLst>
        </c:ser>
        <c:ser>
          <c:idx val="6"/>
          <c:order val="6"/>
          <c:spPr>
            <a:solidFill>
              <a:srgbClr val="197DC8"/>
            </a:solidFill>
            <a:ln>
              <a:noFill/>
            </a:ln>
          </c:spPr>
          <c:invertIfNegative val="0"/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6-11EB-4F64-8477-4D784509C8B5}"/>
              </c:ext>
            </c:extLst>
          </c:dPt>
          <c:val>
            <c:numRef>
              <c:f>Sheet1!$A$7:$J$7</c:f>
              <c:numCache>
                <c:formatCode>General</c:formatCode>
                <c:ptCount val="10"/>
                <c:pt idx="8">
                  <c:v>6.6667000000000032</c:v>
                </c:pt>
                <c:pt idx="9">
                  <c:v>23.3333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7-11EB-4F64-8477-4D784509C8B5}"/>
            </c:ext>
          </c:extLst>
        </c:ser>
        <c:ser>
          <c:idx val="7"/>
          <c:order val="7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8:$J$8</c:f>
              <c:numCache>
                <c:formatCode>General</c:formatCode>
                <c:ptCount val="10"/>
                <c:pt idx="9">
                  <c:v>3.33330000000000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11EB-4F64-8477-4D784509C8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33905696"/>
        <c:axId val="1"/>
      </c:barChart>
      <c:catAx>
        <c:axId val="63390569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6339056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119032858028518E-2"/>
          <c:y val="7.0391061452513962E-2"/>
          <c:w val="0.96776193428394297"/>
          <c:h val="0.9005586592178770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A9F-45EC-8188-7B0D699A3AFD}"/>
              </c:ext>
            </c:extLst>
          </c:dPt>
          <c:dPt>
            <c:idx val="1"/>
            <c:invertIfNegative val="0"/>
            <c:bubble3D val="0"/>
            <c:spPr>
              <a:solidFill>
                <a:schemeClr val="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A9F-45EC-8188-7B0D699A3AFD}"/>
              </c:ext>
            </c:extLst>
          </c:dPt>
          <c:dPt>
            <c:idx val="2"/>
            <c:invertIfNegative val="0"/>
            <c:bubble3D val="0"/>
            <c:spPr>
              <a:solidFill>
                <a:schemeClr val="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3A9F-45EC-8188-7B0D699A3AFD}"/>
              </c:ext>
            </c:extLst>
          </c:dPt>
          <c:dPt>
            <c:idx val="3"/>
            <c:invertIfNegative val="0"/>
            <c:bubble3D val="0"/>
            <c:spPr>
              <a:solidFill>
                <a:schemeClr val="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3A9F-45EC-8188-7B0D699A3AFD}"/>
              </c:ext>
            </c:extLst>
          </c:dPt>
          <c:dPt>
            <c:idx val="4"/>
            <c:invertIfNegative val="0"/>
            <c:bubble3D val="0"/>
            <c:spPr>
              <a:solidFill>
                <a:schemeClr val="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3A9F-45EC-8188-7B0D699A3AFD}"/>
              </c:ext>
            </c:extLst>
          </c:dPt>
          <c:dLbls>
            <c:dLbl>
              <c:idx val="0"/>
              <c:layout>
                <c:manualLayout>
                  <c:x val="0"/>
                  <c:y val="-0.14860335195530727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A9F-45EC-8188-7B0D699A3AFD}"/>
                </c:ext>
              </c:extLst>
            </c:dLbl>
            <c:dLbl>
              <c:idx val="1"/>
              <c:layout>
                <c:manualLayout>
                  <c:x val="0"/>
                  <c:y val="-7.318435754189944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A9F-45EC-8188-7B0D699A3AFD}"/>
                </c:ext>
              </c:extLst>
            </c:dLbl>
            <c:dLbl>
              <c:idx val="2"/>
              <c:layout>
                <c:manualLayout>
                  <c:x val="0"/>
                  <c:y val="-0.14860335195530727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A9F-45EC-8188-7B0D699A3AFD}"/>
                </c:ext>
              </c:extLst>
            </c:dLbl>
            <c:dLbl>
              <c:idx val="3"/>
              <c:layout>
                <c:manualLayout>
                  <c:x val="0"/>
                  <c:y val="-7.318435754189944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A9F-45EC-8188-7B0D699A3AFD}"/>
                </c:ext>
              </c:extLst>
            </c:dLbl>
            <c:dLbl>
              <c:idx val="4"/>
              <c:layout>
                <c:manualLayout>
                  <c:x val="0"/>
                  <c:y val="-7.318435754189944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A9F-45EC-8188-7B0D699A3AFD}"/>
                </c:ext>
              </c:extLst>
            </c:dLbl>
            <c:dLbl>
              <c:idx val="5"/>
              <c:layout>
                <c:manualLayout>
                  <c:x val="0"/>
                  <c:y val="-0.11117318435754189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A9F-45EC-8188-7B0D699A3AFD}"/>
                </c:ext>
              </c:extLst>
            </c:dLbl>
            <c:dLbl>
              <c:idx val="6"/>
              <c:layout>
                <c:manualLayout>
                  <c:x val="0"/>
                  <c:y val="-0.11117318435754189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3A9F-45EC-8188-7B0D699A3AFD}"/>
                </c:ext>
              </c:extLst>
            </c:dLbl>
            <c:dLbl>
              <c:idx val="7"/>
              <c:layout>
                <c:manualLayout>
                  <c:x val="0"/>
                  <c:y val="-0.48603351955307261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3A9F-45EC-8188-7B0D699A3AFD}"/>
                </c:ext>
              </c:extLst>
            </c:dLbl>
            <c:dLbl>
              <c:idx val="8"/>
              <c:layout>
                <c:manualLayout>
                  <c:x val="0"/>
                  <c:y val="-0.11117318435754189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3A9F-45EC-8188-7B0D699A3AFD}"/>
                </c:ext>
              </c:extLst>
            </c:dLbl>
            <c:dLbl>
              <c:idx val="9"/>
              <c:layout>
                <c:manualLayout>
                  <c:x val="0"/>
                  <c:y val="-0.1854748603351955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3A9F-45EC-8188-7B0D699A3AFD}"/>
                </c:ext>
              </c:extLst>
            </c:dLbl>
            <c:dLbl>
              <c:idx val="10"/>
              <c:layout>
                <c:manualLayout>
                  <c:x val="0"/>
                  <c:y val="-7.318435754189944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3A9F-45EC-8188-7B0D699A3AFD}"/>
                </c:ext>
              </c:extLst>
            </c:dLbl>
            <c:dLbl>
              <c:idx val="11"/>
              <c:layout>
                <c:manualLayout>
                  <c:x val="0"/>
                  <c:y val="-7.318435754189944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3A9F-45EC-8188-7B0D699A3AFD}"/>
                </c:ext>
              </c:extLst>
            </c:dLbl>
            <c:dLbl>
              <c:idx val="12"/>
              <c:layout>
                <c:manualLayout>
                  <c:x val="0"/>
                  <c:y val="-0.11117318435754189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3A9F-45EC-8188-7B0D699A3AF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8.5714285714285712</c:v>
                </c:pt>
                <c:pt idx="1">
                  <c:v>2.8571428571428572</c:v>
                </c:pt>
                <c:pt idx="2">
                  <c:v>8.5714285714285712</c:v>
                </c:pt>
                <c:pt idx="3">
                  <c:v>2.8571428571428572</c:v>
                </c:pt>
                <c:pt idx="4">
                  <c:v>2.8571428571428572</c:v>
                </c:pt>
                <c:pt idx="5">
                  <c:v>5.7142857142857144</c:v>
                </c:pt>
                <c:pt idx="6">
                  <c:v>5.7142857142857144</c:v>
                </c:pt>
                <c:pt idx="7">
                  <c:v>34.285714285714285</c:v>
                </c:pt>
                <c:pt idx="8">
                  <c:v>5.7142857142857144</c:v>
                </c:pt>
                <c:pt idx="9">
                  <c:v>11.428571428571429</c:v>
                </c:pt>
                <c:pt idx="10">
                  <c:v>2.8571428571428572</c:v>
                </c:pt>
                <c:pt idx="11">
                  <c:v>2.8571428571428572</c:v>
                </c:pt>
                <c:pt idx="12">
                  <c:v>5.71428571428571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3A9F-45EC-8188-7B0D699A3A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72920328"/>
        <c:axId val="1"/>
      </c:barChart>
      <c:catAx>
        <c:axId val="5729203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D6D7D9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4.28571428571428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729203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1500CF4-063B-4A14-9085-E96AB44E25A6}" type="doc">
      <dgm:prSet loTypeId="urn:microsoft.com/office/officeart/2009/3/layout/HorizontalOrganizationChar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l-GR"/>
        </a:p>
      </dgm:t>
    </dgm:pt>
    <dgm:pt modelId="{409777D6-45F1-4377-995D-83C376463D55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400" dirty="0"/>
            <a:t>Avg CML patients: 14,6</a:t>
          </a:r>
          <a:endParaRPr lang="el-GR" sz="1400" dirty="0"/>
        </a:p>
      </dgm:t>
    </dgm:pt>
    <dgm:pt modelId="{207B05E6-0A8A-4350-871E-496D3E76848C}" type="parTrans" cxnId="{14C2B29E-97C3-4650-80C0-9909E1AFBEED}">
      <dgm:prSet/>
      <dgm:spPr/>
      <dgm:t>
        <a:bodyPr/>
        <a:lstStyle/>
        <a:p>
          <a:endParaRPr lang="el-GR"/>
        </a:p>
      </dgm:t>
    </dgm:pt>
    <dgm:pt modelId="{98AE8090-EF90-4570-B335-20F3FE414D52}" type="sibTrans" cxnId="{14C2B29E-97C3-4650-80C0-9909E1AFBEED}">
      <dgm:prSet/>
      <dgm:spPr/>
      <dgm:t>
        <a:bodyPr/>
        <a:lstStyle/>
        <a:p>
          <a:endParaRPr lang="el-GR"/>
        </a:p>
      </dgm:t>
    </dgm:pt>
    <dgm:pt modelId="{034B8F35-ACC6-4E4F-8025-0DBC68505A98}" type="asst">
      <dgm:prSet phldrT="[Text]" custT="1"/>
      <dgm:spPr>
        <a:solidFill>
          <a:schemeClr val="accent6"/>
        </a:solidFill>
      </dgm:spPr>
      <dgm:t>
        <a:bodyPr/>
        <a:lstStyle/>
        <a:p>
          <a:r>
            <a:rPr lang="en-US" sz="1100" dirty="0"/>
            <a:t>% of patients who participate in clinical trials: 1,3%</a:t>
          </a:r>
        </a:p>
        <a:p>
          <a:r>
            <a:rPr lang="en-US" sz="1100" dirty="0"/>
            <a:t>8 physicians have patients in clinical trials/EAP</a:t>
          </a:r>
          <a:endParaRPr lang="el-GR" sz="1100" dirty="0"/>
        </a:p>
      </dgm:t>
    </dgm:pt>
    <dgm:pt modelId="{E22972EA-5009-4F31-B6DD-625B7ECDE891}" type="parTrans" cxnId="{97B70B18-C44B-48B4-B8F5-637ECFB32B08}">
      <dgm:prSet/>
      <dgm:spPr/>
      <dgm:t>
        <a:bodyPr/>
        <a:lstStyle/>
        <a:p>
          <a:endParaRPr lang="el-GR"/>
        </a:p>
      </dgm:t>
    </dgm:pt>
    <dgm:pt modelId="{3ED2C99A-D4DA-4FDC-AABF-A0E244FC0133}" type="sibTrans" cxnId="{97B70B18-C44B-48B4-B8F5-637ECFB32B08}">
      <dgm:prSet/>
      <dgm:spPr/>
      <dgm:t>
        <a:bodyPr/>
        <a:lstStyle/>
        <a:p>
          <a:endParaRPr lang="el-GR"/>
        </a:p>
      </dgm:t>
    </dgm:pt>
    <dgm:pt modelId="{6CDFEC2A-27A6-4082-9BCC-EC1B702C24DF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n-US" sz="1100" dirty="0"/>
            <a:t>1</a:t>
          </a:r>
          <a:r>
            <a:rPr lang="en-US" sz="1100" baseline="30000" dirty="0"/>
            <a:t>st</a:t>
          </a:r>
          <a:r>
            <a:rPr lang="en-US" sz="1100" dirty="0"/>
            <a:t> Line: 61%</a:t>
          </a:r>
          <a:endParaRPr lang="el-GR" sz="1100" dirty="0"/>
        </a:p>
      </dgm:t>
    </dgm:pt>
    <dgm:pt modelId="{7408E821-8C96-43D7-9402-A6F74804D9AE}" type="parTrans" cxnId="{A3544E0D-BA09-4541-866E-F36FBF82D40B}">
      <dgm:prSet/>
      <dgm:spPr/>
      <dgm:t>
        <a:bodyPr/>
        <a:lstStyle/>
        <a:p>
          <a:endParaRPr lang="el-GR"/>
        </a:p>
      </dgm:t>
    </dgm:pt>
    <dgm:pt modelId="{46C3CE16-BA2F-4779-89AC-3C9CD48D5FAF}" type="sibTrans" cxnId="{A3544E0D-BA09-4541-866E-F36FBF82D40B}">
      <dgm:prSet/>
      <dgm:spPr/>
      <dgm:t>
        <a:bodyPr/>
        <a:lstStyle/>
        <a:p>
          <a:endParaRPr lang="el-GR"/>
        </a:p>
      </dgm:t>
    </dgm:pt>
    <dgm:pt modelId="{33EC0073-7B91-45A5-8708-6F5FEED8D10A}">
      <dgm:prSet phldrT="[Text]" custT="1"/>
      <dgm:spPr>
        <a:solidFill>
          <a:schemeClr val="accent4"/>
        </a:solidFill>
      </dgm:spPr>
      <dgm:t>
        <a:bodyPr/>
        <a:lstStyle/>
        <a:p>
          <a:r>
            <a:rPr lang="en-US" sz="1100" dirty="0"/>
            <a:t>2</a:t>
          </a:r>
          <a:r>
            <a:rPr lang="en-US" sz="1100" baseline="30000" dirty="0"/>
            <a:t>nd</a:t>
          </a:r>
          <a:r>
            <a:rPr lang="en-US" sz="1100" dirty="0"/>
            <a:t> Line: 29%</a:t>
          </a:r>
          <a:endParaRPr lang="el-GR" sz="1100" dirty="0"/>
        </a:p>
      </dgm:t>
    </dgm:pt>
    <dgm:pt modelId="{97E178D1-C4B6-4548-AA4E-BF783205EC7C}" type="parTrans" cxnId="{78F1AAC1-94D9-45E6-9D86-9AB4D59C9DEB}">
      <dgm:prSet/>
      <dgm:spPr/>
      <dgm:t>
        <a:bodyPr/>
        <a:lstStyle/>
        <a:p>
          <a:endParaRPr lang="el-GR"/>
        </a:p>
      </dgm:t>
    </dgm:pt>
    <dgm:pt modelId="{902332C8-0D37-4522-95F7-1403DD5BB89B}" type="sibTrans" cxnId="{78F1AAC1-94D9-45E6-9D86-9AB4D59C9DEB}">
      <dgm:prSet/>
      <dgm:spPr/>
      <dgm:t>
        <a:bodyPr/>
        <a:lstStyle/>
        <a:p>
          <a:endParaRPr lang="el-GR"/>
        </a:p>
      </dgm:t>
    </dgm:pt>
    <dgm:pt modelId="{6A445ABF-AC05-4817-89B2-C2B2C1F13707}">
      <dgm:prSet phldrT="[Text]" custT="1"/>
      <dgm:spPr>
        <a:solidFill>
          <a:schemeClr val="accent3"/>
        </a:solidFill>
      </dgm:spPr>
      <dgm:t>
        <a:bodyPr/>
        <a:lstStyle/>
        <a:p>
          <a:r>
            <a:rPr lang="en-US" sz="1100" dirty="0"/>
            <a:t>3</a:t>
          </a:r>
          <a:r>
            <a:rPr lang="en-US" sz="1100" baseline="30000" dirty="0"/>
            <a:t>rd</a:t>
          </a:r>
          <a:r>
            <a:rPr lang="en-US" sz="1100" dirty="0"/>
            <a:t> Line: 10%</a:t>
          </a:r>
          <a:endParaRPr lang="el-GR" sz="1100" dirty="0"/>
        </a:p>
      </dgm:t>
    </dgm:pt>
    <dgm:pt modelId="{EBB42BAA-E15E-4910-BA6D-E756A64F1029}" type="parTrans" cxnId="{06499747-82C5-4782-AC33-33452671BE11}">
      <dgm:prSet/>
      <dgm:spPr/>
      <dgm:t>
        <a:bodyPr/>
        <a:lstStyle/>
        <a:p>
          <a:endParaRPr lang="el-GR"/>
        </a:p>
      </dgm:t>
    </dgm:pt>
    <dgm:pt modelId="{57FBDD6F-816C-4C01-9AB8-7749883D1C4B}" type="sibTrans" cxnId="{06499747-82C5-4782-AC33-33452671BE11}">
      <dgm:prSet/>
      <dgm:spPr/>
      <dgm:t>
        <a:bodyPr/>
        <a:lstStyle/>
        <a:p>
          <a:endParaRPr lang="el-GR"/>
        </a:p>
      </dgm:t>
    </dgm:pt>
    <dgm:pt modelId="{707C99E2-A4E8-4F6B-9C11-1B12E6B262DD}" type="pres">
      <dgm:prSet presAssocID="{21500CF4-063B-4A14-9085-E96AB44E25A6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1F1F6B5A-F377-4C9E-A906-1A3D077DCF6C}" type="pres">
      <dgm:prSet presAssocID="{409777D6-45F1-4377-995D-83C376463D55}" presName="hierRoot1" presStyleCnt="0">
        <dgm:presLayoutVars>
          <dgm:hierBranch val="init"/>
        </dgm:presLayoutVars>
      </dgm:prSet>
      <dgm:spPr/>
    </dgm:pt>
    <dgm:pt modelId="{DD057C8E-6469-447D-B9A1-5B2E3AE01A31}" type="pres">
      <dgm:prSet presAssocID="{409777D6-45F1-4377-995D-83C376463D55}" presName="rootComposite1" presStyleCnt="0"/>
      <dgm:spPr/>
    </dgm:pt>
    <dgm:pt modelId="{4286FE6B-B74A-48DE-B638-86F1B751C0D3}" type="pres">
      <dgm:prSet presAssocID="{409777D6-45F1-4377-995D-83C376463D55}" presName="rootText1" presStyleLbl="node0" presStyleIdx="0" presStyleCnt="1" custScaleY="146793">
        <dgm:presLayoutVars>
          <dgm:chPref val="3"/>
        </dgm:presLayoutVars>
      </dgm:prSet>
      <dgm:spPr/>
    </dgm:pt>
    <dgm:pt modelId="{309F1E15-0F30-4875-A6B2-317B82CA8C4A}" type="pres">
      <dgm:prSet presAssocID="{409777D6-45F1-4377-995D-83C376463D55}" presName="rootConnector1" presStyleLbl="node1" presStyleIdx="0" presStyleCnt="0"/>
      <dgm:spPr/>
    </dgm:pt>
    <dgm:pt modelId="{B3C33F54-2C7A-4329-9FE4-E8B97EF25D9E}" type="pres">
      <dgm:prSet presAssocID="{409777D6-45F1-4377-995D-83C376463D55}" presName="hierChild2" presStyleCnt="0"/>
      <dgm:spPr/>
    </dgm:pt>
    <dgm:pt modelId="{91199F24-0FD3-425D-A102-806C8FE987F0}" type="pres">
      <dgm:prSet presAssocID="{7408E821-8C96-43D7-9402-A6F74804D9AE}" presName="Name64" presStyleLbl="parChTrans1D2" presStyleIdx="0" presStyleCnt="4"/>
      <dgm:spPr/>
    </dgm:pt>
    <dgm:pt modelId="{29B140E2-3F07-4771-A19E-1FB7A97275A6}" type="pres">
      <dgm:prSet presAssocID="{6CDFEC2A-27A6-4082-9BCC-EC1B702C24DF}" presName="hierRoot2" presStyleCnt="0">
        <dgm:presLayoutVars>
          <dgm:hierBranch val="init"/>
        </dgm:presLayoutVars>
      </dgm:prSet>
      <dgm:spPr/>
    </dgm:pt>
    <dgm:pt modelId="{B75C9BD1-128C-41D9-80B3-8099DD368B95}" type="pres">
      <dgm:prSet presAssocID="{6CDFEC2A-27A6-4082-9BCC-EC1B702C24DF}" presName="rootComposite" presStyleCnt="0"/>
      <dgm:spPr/>
    </dgm:pt>
    <dgm:pt modelId="{B35333B5-9C8E-4A06-AC09-78AC3CF8CD2A}" type="pres">
      <dgm:prSet presAssocID="{6CDFEC2A-27A6-4082-9BCC-EC1B702C24DF}" presName="rootText" presStyleLbl="node2" presStyleIdx="0" presStyleCnt="3" custScaleY="126522">
        <dgm:presLayoutVars>
          <dgm:chPref val="3"/>
        </dgm:presLayoutVars>
      </dgm:prSet>
      <dgm:spPr/>
    </dgm:pt>
    <dgm:pt modelId="{EA888EE7-AE50-4432-BDDB-C45E71192172}" type="pres">
      <dgm:prSet presAssocID="{6CDFEC2A-27A6-4082-9BCC-EC1B702C24DF}" presName="rootConnector" presStyleLbl="node2" presStyleIdx="0" presStyleCnt="3"/>
      <dgm:spPr/>
    </dgm:pt>
    <dgm:pt modelId="{1B6252AF-7FDF-4F1C-A88A-CC2B5D198C7C}" type="pres">
      <dgm:prSet presAssocID="{6CDFEC2A-27A6-4082-9BCC-EC1B702C24DF}" presName="hierChild4" presStyleCnt="0"/>
      <dgm:spPr/>
    </dgm:pt>
    <dgm:pt modelId="{BF0F3173-DD4C-4DA4-B65F-FCECB86CD6E5}" type="pres">
      <dgm:prSet presAssocID="{6CDFEC2A-27A6-4082-9BCC-EC1B702C24DF}" presName="hierChild5" presStyleCnt="0"/>
      <dgm:spPr/>
    </dgm:pt>
    <dgm:pt modelId="{8DF0FDCB-15F8-4BF7-9126-3CB9C9699E94}" type="pres">
      <dgm:prSet presAssocID="{97E178D1-C4B6-4548-AA4E-BF783205EC7C}" presName="Name64" presStyleLbl="parChTrans1D2" presStyleIdx="1" presStyleCnt="4"/>
      <dgm:spPr/>
    </dgm:pt>
    <dgm:pt modelId="{EF12BB37-3FD2-4E9B-96CB-6973AB1586BF}" type="pres">
      <dgm:prSet presAssocID="{33EC0073-7B91-45A5-8708-6F5FEED8D10A}" presName="hierRoot2" presStyleCnt="0">
        <dgm:presLayoutVars>
          <dgm:hierBranch val="init"/>
        </dgm:presLayoutVars>
      </dgm:prSet>
      <dgm:spPr/>
    </dgm:pt>
    <dgm:pt modelId="{2ADC4679-B5DB-4A12-9872-7B9C4225A660}" type="pres">
      <dgm:prSet presAssocID="{33EC0073-7B91-45A5-8708-6F5FEED8D10A}" presName="rootComposite" presStyleCnt="0"/>
      <dgm:spPr/>
    </dgm:pt>
    <dgm:pt modelId="{06348141-9AA1-4B5E-AF97-2889D0F641E5}" type="pres">
      <dgm:prSet presAssocID="{33EC0073-7B91-45A5-8708-6F5FEED8D10A}" presName="rootText" presStyleLbl="node2" presStyleIdx="1" presStyleCnt="3" custScaleY="120975">
        <dgm:presLayoutVars>
          <dgm:chPref val="3"/>
        </dgm:presLayoutVars>
      </dgm:prSet>
      <dgm:spPr/>
    </dgm:pt>
    <dgm:pt modelId="{E3F75CFE-E3AA-4BE5-911C-5C673466E329}" type="pres">
      <dgm:prSet presAssocID="{33EC0073-7B91-45A5-8708-6F5FEED8D10A}" presName="rootConnector" presStyleLbl="node2" presStyleIdx="1" presStyleCnt="3"/>
      <dgm:spPr/>
    </dgm:pt>
    <dgm:pt modelId="{75D2BDAF-6BA5-4B3A-8531-64A47A2FA656}" type="pres">
      <dgm:prSet presAssocID="{33EC0073-7B91-45A5-8708-6F5FEED8D10A}" presName="hierChild4" presStyleCnt="0"/>
      <dgm:spPr/>
    </dgm:pt>
    <dgm:pt modelId="{A3BFA851-2BA8-4CEF-9AA1-8B5042C72BF8}" type="pres">
      <dgm:prSet presAssocID="{33EC0073-7B91-45A5-8708-6F5FEED8D10A}" presName="hierChild5" presStyleCnt="0"/>
      <dgm:spPr/>
    </dgm:pt>
    <dgm:pt modelId="{F65AC822-BEDB-4851-BBD6-C57F6653E19C}" type="pres">
      <dgm:prSet presAssocID="{EBB42BAA-E15E-4910-BA6D-E756A64F1029}" presName="Name64" presStyleLbl="parChTrans1D2" presStyleIdx="2" presStyleCnt="4"/>
      <dgm:spPr/>
    </dgm:pt>
    <dgm:pt modelId="{25C002E6-CC27-4BE2-9B99-71DF15574795}" type="pres">
      <dgm:prSet presAssocID="{6A445ABF-AC05-4817-89B2-C2B2C1F13707}" presName="hierRoot2" presStyleCnt="0">
        <dgm:presLayoutVars>
          <dgm:hierBranch val="init"/>
        </dgm:presLayoutVars>
      </dgm:prSet>
      <dgm:spPr/>
    </dgm:pt>
    <dgm:pt modelId="{EF24013B-4FF2-4BF0-9026-2A8C036D703C}" type="pres">
      <dgm:prSet presAssocID="{6A445ABF-AC05-4817-89B2-C2B2C1F13707}" presName="rootComposite" presStyleCnt="0"/>
      <dgm:spPr/>
    </dgm:pt>
    <dgm:pt modelId="{926A2EBE-4802-4C3A-9A45-2221B5DFD19A}" type="pres">
      <dgm:prSet presAssocID="{6A445ABF-AC05-4817-89B2-C2B2C1F13707}" presName="rootText" presStyleLbl="node2" presStyleIdx="2" presStyleCnt="3" custScaleY="119606">
        <dgm:presLayoutVars>
          <dgm:chPref val="3"/>
        </dgm:presLayoutVars>
      </dgm:prSet>
      <dgm:spPr/>
    </dgm:pt>
    <dgm:pt modelId="{C6040883-B28E-4382-BFF6-4F5E07DB3EE8}" type="pres">
      <dgm:prSet presAssocID="{6A445ABF-AC05-4817-89B2-C2B2C1F13707}" presName="rootConnector" presStyleLbl="node2" presStyleIdx="2" presStyleCnt="3"/>
      <dgm:spPr/>
    </dgm:pt>
    <dgm:pt modelId="{4FB1F7C8-C9BC-4C27-B464-7D91B234F653}" type="pres">
      <dgm:prSet presAssocID="{6A445ABF-AC05-4817-89B2-C2B2C1F13707}" presName="hierChild4" presStyleCnt="0"/>
      <dgm:spPr/>
    </dgm:pt>
    <dgm:pt modelId="{1B3C8D81-D84C-4C7F-B57F-0395FF7F1F7D}" type="pres">
      <dgm:prSet presAssocID="{6A445ABF-AC05-4817-89B2-C2B2C1F13707}" presName="hierChild5" presStyleCnt="0"/>
      <dgm:spPr/>
    </dgm:pt>
    <dgm:pt modelId="{5A82CC28-2240-44CA-9631-52E12E6F759A}" type="pres">
      <dgm:prSet presAssocID="{409777D6-45F1-4377-995D-83C376463D55}" presName="hierChild3" presStyleCnt="0"/>
      <dgm:spPr/>
    </dgm:pt>
    <dgm:pt modelId="{571D5215-E4E4-421D-8041-9BC549DB9408}" type="pres">
      <dgm:prSet presAssocID="{E22972EA-5009-4F31-B6DD-625B7ECDE891}" presName="Name115" presStyleLbl="parChTrans1D2" presStyleIdx="3" presStyleCnt="4"/>
      <dgm:spPr/>
    </dgm:pt>
    <dgm:pt modelId="{91C355C0-6F95-420D-86AA-F46D9204C5A1}" type="pres">
      <dgm:prSet presAssocID="{034B8F35-ACC6-4E4F-8025-0DBC68505A98}" presName="hierRoot3" presStyleCnt="0">
        <dgm:presLayoutVars>
          <dgm:hierBranch val="init"/>
        </dgm:presLayoutVars>
      </dgm:prSet>
      <dgm:spPr/>
    </dgm:pt>
    <dgm:pt modelId="{73343A97-74A0-4A7D-AF7A-4AB1A6D5335C}" type="pres">
      <dgm:prSet presAssocID="{034B8F35-ACC6-4E4F-8025-0DBC68505A98}" presName="rootComposite3" presStyleCnt="0"/>
      <dgm:spPr/>
    </dgm:pt>
    <dgm:pt modelId="{B64A7754-A9CE-49D9-B994-6BB591E1AA1F}" type="pres">
      <dgm:prSet presAssocID="{034B8F35-ACC6-4E4F-8025-0DBC68505A98}" presName="rootText3" presStyleLbl="asst1" presStyleIdx="0" presStyleCnt="1" custScaleY="208094">
        <dgm:presLayoutVars>
          <dgm:chPref val="3"/>
        </dgm:presLayoutVars>
      </dgm:prSet>
      <dgm:spPr/>
    </dgm:pt>
    <dgm:pt modelId="{5CA92AF2-892F-4D27-8840-AF5A84F777AA}" type="pres">
      <dgm:prSet presAssocID="{034B8F35-ACC6-4E4F-8025-0DBC68505A98}" presName="rootConnector3" presStyleLbl="asst1" presStyleIdx="0" presStyleCnt="1"/>
      <dgm:spPr/>
    </dgm:pt>
    <dgm:pt modelId="{025E01F7-81ED-4B21-BB3C-204B59F9CF9B}" type="pres">
      <dgm:prSet presAssocID="{034B8F35-ACC6-4E4F-8025-0DBC68505A98}" presName="hierChild6" presStyleCnt="0"/>
      <dgm:spPr/>
    </dgm:pt>
    <dgm:pt modelId="{F34A500B-1C32-4C6E-B15C-0DBFF146A123}" type="pres">
      <dgm:prSet presAssocID="{034B8F35-ACC6-4E4F-8025-0DBC68505A98}" presName="hierChild7" presStyleCnt="0"/>
      <dgm:spPr/>
    </dgm:pt>
  </dgm:ptLst>
  <dgm:cxnLst>
    <dgm:cxn modelId="{A3544E0D-BA09-4541-866E-F36FBF82D40B}" srcId="{409777D6-45F1-4377-995D-83C376463D55}" destId="{6CDFEC2A-27A6-4082-9BCC-EC1B702C24DF}" srcOrd="1" destOrd="0" parTransId="{7408E821-8C96-43D7-9402-A6F74804D9AE}" sibTransId="{46C3CE16-BA2F-4779-89AC-3C9CD48D5FAF}"/>
    <dgm:cxn modelId="{97B70B18-C44B-48B4-B8F5-637ECFB32B08}" srcId="{409777D6-45F1-4377-995D-83C376463D55}" destId="{034B8F35-ACC6-4E4F-8025-0DBC68505A98}" srcOrd="0" destOrd="0" parTransId="{E22972EA-5009-4F31-B6DD-625B7ECDE891}" sibTransId="{3ED2C99A-D4DA-4FDC-AABF-A0E244FC0133}"/>
    <dgm:cxn modelId="{01BEE73E-A746-403B-B245-F9EE05E9E21A}" type="presOf" srcId="{21500CF4-063B-4A14-9085-E96AB44E25A6}" destId="{707C99E2-A4E8-4F6B-9C11-1B12E6B262DD}" srcOrd="0" destOrd="0" presId="urn:microsoft.com/office/officeart/2009/3/layout/HorizontalOrganizationChart"/>
    <dgm:cxn modelId="{06499747-82C5-4782-AC33-33452671BE11}" srcId="{409777D6-45F1-4377-995D-83C376463D55}" destId="{6A445ABF-AC05-4817-89B2-C2B2C1F13707}" srcOrd="3" destOrd="0" parTransId="{EBB42BAA-E15E-4910-BA6D-E756A64F1029}" sibTransId="{57FBDD6F-816C-4C01-9AB8-7749883D1C4B}"/>
    <dgm:cxn modelId="{F318694E-EB5E-45A9-AFC2-86E22936A9C6}" type="presOf" srcId="{6CDFEC2A-27A6-4082-9BCC-EC1B702C24DF}" destId="{EA888EE7-AE50-4432-BDDB-C45E71192172}" srcOrd="1" destOrd="0" presId="urn:microsoft.com/office/officeart/2009/3/layout/HorizontalOrganizationChart"/>
    <dgm:cxn modelId="{5936CA7F-15A4-4B27-BC56-E875B777EBA6}" type="presOf" srcId="{7408E821-8C96-43D7-9402-A6F74804D9AE}" destId="{91199F24-0FD3-425D-A102-806C8FE987F0}" srcOrd="0" destOrd="0" presId="urn:microsoft.com/office/officeart/2009/3/layout/HorizontalOrganizationChart"/>
    <dgm:cxn modelId="{800E0F80-F6FB-48F6-BB07-9BA0ECC54AC1}" type="presOf" srcId="{E22972EA-5009-4F31-B6DD-625B7ECDE891}" destId="{571D5215-E4E4-421D-8041-9BC549DB9408}" srcOrd="0" destOrd="0" presId="urn:microsoft.com/office/officeart/2009/3/layout/HorizontalOrganizationChart"/>
    <dgm:cxn modelId="{AF596884-5326-4CFA-AF38-0BBA349AE6D6}" type="presOf" srcId="{409777D6-45F1-4377-995D-83C376463D55}" destId="{4286FE6B-B74A-48DE-B638-86F1B751C0D3}" srcOrd="0" destOrd="0" presId="urn:microsoft.com/office/officeart/2009/3/layout/HorizontalOrganizationChart"/>
    <dgm:cxn modelId="{606E5886-15D7-4B25-9D84-F7768D61836C}" type="presOf" srcId="{034B8F35-ACC6-4E4F-8025-0DBC68505A98}" destId="{B64A7754-A9CE-49D9-B994-6BB591E1AA1F}" srcOrd="0" destOrd="0" presId="urn:microsoft.com/office/officeart/2009/3/layout/HorizontalOrganizationChart"/>
    <dgm:cxn modelId="{7B7BA898-4A1E-4B3C-ADB5-CC944569333B}" type="presOf" srcId="{33EC0073-7B91-45A5-8708-6F5FEED8D10A}" destId="{E3F75CFE-E3AA-4BE5-911C-5C673466E329}" srcOrd="1" destOrd="0" presId="urn:microsoft.com/office/officeart/2009/3/layout/HorizontalOrganizationChart"/>
    <dgm:cxn modelId="{24DCEC9B-CB6F-49F4-8FA7-C2F6B1D61D2A}" type="presOf" srcId="{034B8F35-ACC6-4E4F-8025-0DBC68505A98}" destId="{5CA92AF2-892F-4D27-8840-AF5A84F777AA}" srcOrd="1" destOrd="0" presId="urn:microsoft.com/office/officeart/2009/3/layout/HorizontalOrganizationChart"/>
    <dgm:cxn modelId="{14C2B29E-97C3-4650-80C0-9909E1AFBEED}" srcId="{21500CF4-063B-4A14-9085-E96AB44E25A6}" destId="{409777D6-45F1-4377-995D-83C376463D55}" srcOrd="0" destOrd="0" parTransId="{207B05E6-0A8A-4350-871E-496D3E76848C}" sibTransId="{98AE8090-EF90-4570-B335-20F3FE414D52}"/>
    <dgm:cxn modelId="{F30D90A2-65E4-40EE-894F-D88DC3A2FE72}" type="presOf" srcId="{EBB42BAA-E15E-4910-BA6D-E756A64F1029}" destId="{F65AC822-BEDB-4851-BBD6-C57F6653E19C}" srcOrd="0" destOrd="0" presId="urn:microsoft.com/office/officeart/2009/3/layout/HorizontalOrganizationChart"/>
    <dgm:cxn modelId="{53244DA7-420C-4C79-837D-D4790C9B5EA8}" type="presOf" srcId="{6A445ABF-AC05-4817-89B2-C2B2C1F13707}" destId="{926A2EBE-4802-4C3A-9A45-2221B5DFD19A}" srcOrd="0" destOrd="0" presId="urn:microsoft.com/office/officeart/2009/3/layout/HorizontalOrganizationChart"/>
    <dgm:cxn modelId="{70B44EA9-CC9E-4C2A-86C3-17BC03BB1C98}" type="presOf" srcId="{97E178D1-C4B6-4548-AA4E-BF783205EC7C}" destId="{8DF0FDCB-15F8-4BF7-9126-3CB9C9699E94}" srcOrd="0" destOrd="0" presId="urn:microsoft.com/office/officeart/2009/3/layout/HorizontalOrganizationChart"/>
    <dgm:cxn modelId="{9A0ADDBE-C429-4BB5-8515-A25E1EE1CAEF}" type="presOf" srcId="{409777D6-45F1-4377-995D-83C376463D55}" destId="{309F1E15-0F30-4875-A6B2-317B82CA8C4A}" srcOrd="1" destOrd="0" presId="urn:microsoft.com/office/officeart/2009/3/layout/HorizontalOrganizationChart"/>
    <dgm:cxn modelId="{78F1AAC1-94D9-45E6-9D86-9AB4D59C9DEB}" srcId="{409777D6-45F1-4377-995D-83C376463D55}" destId="{33EC0073-7B91-45A5-8708-6F5FEED8D10A}" srcOrd="2" destOrd="0" parTransId="{97E178D1-C4B6-4548-AA4E-BF783205EC7C}" sibTransId="{902332C8-0D37-4522-95F7-1403DD5BB89B}"/>
    <dgm:cxn modelId="{A0AECAD1-6ACE-4FF4-9A91-D8445F3F47AB}" type="presOf" srcId="{6CDFEC2A-27A6-4082-9BCC-EC1B702C24DF}" destId="{B35333B5-9C8E-4A06-AC09-78AC3CF8CD2A}" srcOrd="0" destOrd="0" presId="urn:microsoft.com/office/officeart/2009/3/layout/HorizontalOrganizationChart"/>
    <dgm:cxn modelId="{54221CD6-889A-41CB-9C93-5CE13BE318DB}" type="presOf" srcId="{6A445ABF-AC05-4817-89B2-C2B2C1F13707}" destId="{C6040883-B28E-4382-BFF6-4F5E07DB3EE8}" srcOrd="1" destOrd="0" presId="urn:microsoft.com/office/officeart/2009/3/layout/HorizontalOrganizationChart"/>
    <dgm:cxn modelId="{86B76DE6-42C6-4EA8-9947-CD5136C52C3B}" type="presOf" srcId="{33EC0073-7B91-45A5-8708-6F5FEED8D10A}" destId="{06348141-9AA1-4B5E-AF97-2889D0F641E5}" srcOrd="0" destOrd="0" presId="urn:microsoft.com/office/officeart/2009/3/layout/HorizontalOrganizationChart"/>
    <dgm:cxn modelId="{A0E555C0-16F1-428E-A93B-D9CCD35406E7}" type="presParOf" srcId="{707C99E2-A4E8-4F6B-9C11-1B12E6B262DD}" destId="{1F1F6B5A-F377-4C9E-A906-1A3D077DCF6C}" srcOrd="0" destOrd="0" presId="urn:microsoft.com/office/officeart/2009/3/layout/HorizontalOrganizationChart"/>
    <dgm:cxn modelId="{2E32CE9D-FF3B-4616-A0C9-F5A773BCFA96}" type="presParOf" srcId="{1F1F6B5A-F377-4C9E-A906-1A3D077DCF6C}" destId="{DD057C8E-6469-447D-B9A1-5B2E3AE01A31}" srcOrd="0" destOrd="0" presId="urn:microsoft.com/office/officeart/2009/3/layout/HorizontalOrganizationChart"/>
    <dgm:cxn modelId="{B89C53B4-DF50-4125-8E18-0D965A8D6EE0}" type="presParOf" srcId="{DD057C8E-6469-447D-B9A1-5B2E3AE01A31}" destId="{4286FE6B-B74A-48DE-B638-86F1B751C0D3}" srcOrd="0" destOrd="0" presId="urn:microsoft.com/office/officeart/2009/3/layout/HorizontalOrganizationChart"/>
    <dgm:cxn modelId="{D33E2F3A-50BB-443F-9E93-ED3316ED322B}" type="presParOf" srcId="{DD057C8E-6469-447D-B9A1-5B2E3AE01A31}" destId="{309F1E15-0F30-4875-A6B2-317B82CA8C4A}" srcOrd="1" destOrd="0" presId="urn:microsoft.com/office/officeart/2009/3/layout/HorizontalOrganizationChart"/>
    <dgm:cxn modelId="{68D69948-C85D-459F-B912-ABBE0B2BD636}" type="presParOf" srcId="{1F1F6B5A-F377-4C9E-A906-1A3D077DCF6C}" destId="{B3C33F54-2C7A-4329-9FE4-E8B97EF25D9E}" srcOrd="1" destOrd="0" presId="urn:microsoft.com/office/officeart/2009/3/layout/HorizontalOrganizationChart"/>
    <dgm:cxn modelId="{2A7BD575-47DF-4CD7-949A-3F6EC8227B7C}" type="presParOf" srcId="{B3C33F54-2C7A-4329-9FE4-E8B97EF25D9E}" destId="{91199F24-0FD3-425D-A102-806C8FE987F0}" srcOrd="0" destOrd="0" presId="urn:microsoft.com/office/officeart/2009/3/layout/HorizontalOrganizationChart"/>
    <dgm:cxn modelId="{5D81026E-6FB5-438D-9C36-8775A2ABD63D}" type="presParOf" srcId="{B3C33F54-2C7A-4329-9FE4-E8B97EF25D9E}" destId="{29B140E2-3F07-4771-A19E-1FB7A97275A6}" srcOrd="1" destOrd="0" presId="urn:microsoft.com/office/officeart/2009/3/layout/HorizontalOrganizationChart"/>
    <dgm:cxn modelId="{3D28878F-4D58-47B3-B79B-94D09F220731}" type="presParOf" srcId="{29B140E2-3F07-4771-A19E-1FB7A97275A6}" destId="{B75C9BD1-128C-41D9-80B3-8099DD368B95}" srcOrd="0" destOrd="0" presId="urn:microsoft.com/office/officeart/2009/3/layout/HorizontalOrganizationChart"/>
    <dgm:cxn modelId="{1F85A399-00F7-4AAE-BD2B-8EC01FE69996}" type="presParOf" srcId="{B75C9BD1-128C-41D9-80B3-8099DD368B95}" destId="{B35333B5-9C8E-4A06-AC09-78AC3CF8CD2A}" srcOrd="0" destOrd="0" presId="urn:microsoft.com/office/officeart/2009/3/layout/HorizontalOrganizationChart"/>
    <dgm:cxn modelId="{5FAC7043-37FD-4966-83ED-83963F1184F9}" type="presParOf" srcId="{B75C9BD1-128C-41D9-80B3-8099DD368B95}" destId="{EA888EE7-AE50-4432-BDDB-C45E71192172}" srcOrd="1" destOrd="0" presId="urn:microsoft.com/office/officeart/2009/3/layout/HorizontalOrganizationChart"/>
    <dgm:cxn modelId="{D371F9CF-157F-4E8B-94D6-13A811CDE122}" type="presParOf" srcId="{29B140E2-3F07-4771-A19E-1FB7A97275A6}" destId="{1B6252AF-7FDF-4F1C-A88A-CC2B5D198C7C}" srcOrd="1" destOrd="0" presId="urn:microsoft.com/office/officeart/2009/3/layout/HorizontalOrganizationChart"/>
    <dgm:cxn modelId="{32050E1B-E28A-4844-84D0-F5076380D14D}" type="presParOf" srcId="{29B140E2-3F07-4771-A19E-1FB7A97275A6}" destId="{BF0F3173-DD4C-4DA4-B65F-FCECB86CD6E5}" srcOrd="2" destOrd="0" presId="urn:microsoft.com/office/officeart/2009/3/layout/HorizontalOrganizationChart"/>
    <dgm:cxn modelId="{10195DC1-7DEC-4D9A-873B-605F76306D8B}" type="presParOf" srcId="{B3C33F54-2C7A-4329-9FE4-E8B97EF25D9E}" destId="{8DF0FDCB-15F8-4BF7-9126-3CB9C9699E94}" srcOrd="2" destOrd="0" presId="urn:microsoft.com/office/officeart/2009/3/layout/HorizontalOrganizationChart"/>
    <dgm:cxn modelId="{13DA9BB6-1F8E-4ED2-BEF4-37A26EDE17A3}" type="presParOf" srcId="{B3C33F54-2C7A-4329-9FE4-E8B97EF25D9E}" destId="{EF12BB37-3FD2-4E9B-96CB-6973AB1586BF}" srcOrd="3" destOrd="0" presId="urn:microsoft.com/office/officeart/2009/3/layout/HorizontalOrganizationChart"/>
    <dgm:cxn modelId="{C95ADBE0-278A-41B0-88FD-2EB421BC09C8}" type="presParOf" srcId="{EF12BB37-3FD2-4E9B-96CB-6973AB1586BF}" destId="{2ADC4679-B5DB-4A12-9872-7B9C4225A660}" srcOrd="0" destOrd="0" presId="urn:microsoft.com/office/officeart/2009/3/layout/HorizontalOrganizationChart"/>
    <dgm:cxn modelId="{2C85A3A7-A89D-46C4-8DCF-FDB9AED353DF}" type="presParOf" srcId="{2ADC4679-B5DB-4A12-9872-7B9C4225A660}" destId="{06348141-9AA1-4B5E-AF97-2889D0F641E5}" srcOrd="0" destOrd="0" presId="urn:microsoft.com/office/officeart/2009/3/layout/HorizontalOrganizationChart"/>
    <dgm:cxn modelId="{F9F933DA-C171-4E47-AED5-03ACB9084EBF}" type="presParOf" srcId="{2ADC4679-B5DB-4A12-9872-7B9C4225A660}" destId="{E3F75CFE-E3AA-4BE5-911C-5C673466E329}" srcOrd="1" destOrd="0" presId="urn:microsoft.com/office/officeart/2009/3/layout/HorizontalOrganizationChart"/>
    <dgm:cxn modelId="{4A10D13D-4D62-4129-9273-5CE7C28E4D89}" type="presParOf" srcId="{EF12BB37-3FD2-4E9B-96CB-6973AB1586BF}" destId="{75D2BDAF-6BA5-4B3A-8531-64A47A2FA656}" srcOrd="1" destOrd="0" presId="urn:microsoft.com/office/officeart/2009/3/layout/HorizontalOrganizationChart"/>
    <dgm:cxn modelId="{EE57F576-F061-4EB0-B5EE-19E708CEBBFB}" type="presParOf" srcId="{EF12BB37-3FD2-4E9B-96CB-6973AB1586BF}" destId="{A3BFA851-2BA8-4CEF-9AA1-8B5042C72BF8}" srcOrd="2" destOrd="0" presId="urn:microsoft.com/office/officeart/2009/3/layout/HorizontalOrganizationChart"/>
    <dgm:cxn modelId="{3140187D-87D1-4137-B582-C23BB2BD3831}" type="presParOf" srcId="{B3C33F54-2C7A-4329-9FE4-E8B97EF25D9E}" destId="{F65AC822-BEDB-4851-BBD6-C57F6653E19C}" srcOrd="4" destOrd="0" presId="urn:microsoft.com/office/officeart/2009/3/layout/HorizontalOrganizationChart"/>
    <dgm:cxn modelId="{0BD097AD-C7DD-432D-84F9-9C94665F7DED}" type="presParOf" srcId="{B3C33F54-2C7A-4329-9FE4-E8B97EF25D9E}" destId="{25C002E6-CC27-4BE2-9B99-71DF15574795}" srcOrd="5" destOrd="0" presId="urn:microsoft.com/office/officeart/2009/3/layout/HorizontalOrganizationChart"/>
    <dgm:cxn modelId="{DA69F4F5-A50A-4F03-9DBB-76B6967D687E}" type="presParOf" srcId="{25C002E6-CC27-4BE2-9B99-71DF15574795}" destId="{EF24013B-4FF2-4BF0-9026-2A8C036D703C}" srcOrd="0" destOrd="0" presId="urn:microsoft.com/office/officeart/2009/3/layout/HorizontalOrganizationChart"/>
    <dgm:cxn modelId="{DC84E4C1-BE19-4238-8D4D-C461ACE53FE2}" type="presParOf" srcId="{EF24013B-4FF2-4BF0-9026-2A8C036D703C}" destId="{926A2EBE-4802-4C3A-9A45-2221B5DFD19A}" srcOrd="0" destOrd="0" presId="urn:microsoft.com/office/officeart/2009/3/layout/HorizontalOrganizationChart"/>
    <dgm:cxn modelId="{C9F5DD86-726E-4A86-BBE0-9F995138F2E1}" type="presParOf" srcId="{EF24013B-4FF2-4BF0-9026-2A8C036D703C}" destId="{C6040883-B28E-4382-BFF6-4F5E07DB3EE8}" srcOrd="1" destOrd="0" presId="urn:microsoft.com/office/officeart/2009/3/layout/HorizontalOrganizationChart"/>
    <dgm:cxn modelId="{49781B08-CDCD-48F8-8224-77F85A40C493}" type="presParOf" srcId="{25C002E6-CC27-4BE2-9B99-71DF15574795}" destId="{4FB1F7C8-C9BC-4C27-B464-7D91B234F653}" srcOrd="1" destOrd="0" presId="urn:microsoft.com/office/officeart/2009/3/layout/HorizontalOrganizationChart"/>
    <dgm:cxn modelId="{BED216EB-3227-4B37-8A89-68256DF81BA0}" type="presParOf" srcId="{25C002E6-CC27-4BE2-9B99-71DF15574795}" destId="{1B3C8D81-D84C-4C7F-B57F-0395FF7F1F7D}" srcOrd="2" destOrd="0" presId="urn:microsoft.com/office/officeart/2009/3/layout/HorizontalOrganizationChart"/>
    <dgm:cxn modelId="{7D41CBA3-839D-41CB-9E7F-2CDB4088A328}" type="presParOf" srcId="{1F1F6B5A-F377-4C9E-A906-1A3D077DCF6C}" destId="{5A82CC28-2240-44CA-9631-52E12E6F759A}" srcOrd="2" destOrd="0" presId="urn:microsoft.com/office/officeart/2009/3/layout/HorizontalOrganizationChart"/>
    <dgm:cxn modelId="{A8A7A056-CA81-4C99-9E5F-2E9414589990}" type="presParOf" srcId="{5A82CC28-2240-44CA-9631-52E12E6F759A}" destId="{571D5215-E4E4-421D-8041-9BC549DB9408}" srcOrd="0" destOrd="0" presId="urn:microsoft.com/office/officeart/2009/3/layout/HorizontalOrganizationChart"/>
    <dgm:cxn modelId="{C68BF6D5-6E37-4715-BBF1-BAA2DDA03B95}" type="presParOf" srcId="{5A82CC28-2240-44CA-9631-52E12E6F759A}" destId="{91C355C0-6F95-420D-86AA-F46D9204C5A1}" srcOrd="1" destOrd="0" presId="urn:microsoft.com/office/officeart/2009/3/layout/HorizontalOrganizationChart"/>
    <dgm:cxn modelId="{0C0B5583-6192-40AB-BA6B-7DCD3EE1119B}" type="presParOf" srcId="{91C355C0-6F95-420D-86AA-F46D9204C5A1}" destId="{73343A97-74A0-4A7D-AF7A-4AB1A6D5335C}" srcOrd="0" destOrd="0" presId="urn:microsoft.com/office/officeart/2009/3/layout/HorizontalOrganizationChart"/>
    <dgm:cxn modelId="{D1125AC3-E6C4-437A-9563-D50D3BF2D53E}" type="presParOf" srcId="{73343A97-74A0-4A7D-AF7A-4AB1A6D5335C}" destId="{B64A7754-A9CE-49D9-B994-6BB591E1AA1F}" srcOrd="0" destOrd="0" presId="urn:microsoft.com/office/officeart/2009/3/layout/HorizontalOrganizationChart"/>
    <dgm:cxn modelId="{529A70A1-4BF2-4710-B07A-A39738AE0362}" type="presParOf" srcId="{73343A97-74A0-4A7D-AF7A-4AB1A6D5335C}" destId="{5CA92AF2-892F-4D27-8840-AF5A84F777AA}" srcOrd="1" destOrd="0" presId="urn:microsoft.com/office/officeart/2009/3/layout/HorizontalOrganizationChart"/>
    <dgm:cxn modelId="{2F77CA5B-8E6F-40A2-9FB5-E7FA89006242}" type="presParOf" srcId="{91C355C0-6F95-420D-86AA-F46D9204C5A1}" destId="{025E01F7-81ED-4B21-BB3C-204B59F9CF9B}" srcOrd="1" destOrd="0" presId="urn:microsoft.com/office/officeart/2009/3/layout/HorizontalOrganizationChart"/>
    <dgm:cxn modelId="{6D1AF8BA-1891-4EBA-8C1D-B6AD5492FAE2}" type="presParOf" srcId="{91C355C0-6F95-420D-86AA-F46D9204C5A1}" destId="{F34A500B-1C32-4C6E-B15C-0DBFF146A123}" srcOrd="2" destOrd="0" presId="urn:microsoft.com/office/officeart/2009/3/layout/HorizontalOrganizationChart"/>
  </dgm:cxnLst>
  <dgm:bg/>
  <dgm:whole/>
  <dgm:extLst>
    <a:ext uri="http://schemas.microsoft.com/office/drawing/2008/diagram">
      <dsp:dataModelExt xmlns:dsp="http://schemas.microsoft.com/office/drawing/2008/diagram" relId="rId3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1D5215-E4E4-421D-8041-9BC549DB9408}">
      <dsp:nvSpPr>
        <dsp:cNvPr id="0" name=""/>
        <dsp:cNvSpPr/>
      </dsp:nvSpPr>
      <dsp:spPr>
        <a:xfrm>
          <a:off x="1553447" y="3168352"/>
          <a:ext cx="1085946" cy="96959"/>
        </a:xfrm>
        <a:custGeom>
          <a:avLst/>
          <a:gdLst/>
          <a:ahLst/>
          <a:cxnLst/>
          <a:rect l="0" t="0" r="0" b="0"/>
          <a:pathLst>
            <a:path>
              <a:moveTo>
                <a:pt x="0" y="96959"/>
              </a:moveTo>
              <a:lnTo>
                <a:pt x="1085946" y="96959"/>
              </a:lnTo>
              <a:lnTo>
                <a:pt x="1085946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5AC822-BEDB-4851-BBD6-C57F6653E19C}">
      <dsp:nvSpPr>
        <dsp:cNvPr id="0" name=""/>
        <dsp:cNvSpPr/>
      </dsp:nvSpPr>
      <dsp:spPr>
        <a:xfrm>
          <a:off x="1553447" y="3265311"/>
          <a:ext cx="2171893" cy="7794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016758" y="0"/>
              </a:lnTo>
              <a:lnTo>
                <a:pt x="2016758" y="779450"/>
              </a:lnTo>
              <a:lnTo>
                <a:pt x="2171893" y="77945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F0FDCB-15F8-4BF7-9126-3CB9C9699E94}">
      <dsp:nvSpPr>
        <dsp:cNvPr id="0" name=""/>
        <dsp:cNvSpPr/>
      </dsp:nvSpPr>
      <dsp:spPr>
        <a:xfrm>
          <a:off x="1553447" y="3219591"/>
          <a:ext cx="217189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2016758" y="45720"/>
              </a:lnTo>
              <a:lnTo>
                <a:pt x="2016758" y="62081"/>
              </a:lnTo>
              <a:lnTo>
                <a:pt x="2171893" y="6208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1199F24-0FD3-425D-A102-806C8FE987F0}">
      <dsp:nvSpPr>
        <dsp:cNvPr id="0" name=""/>
        <dsp:cNvSpPr/>
      </dsp:nvSpPr>
      <dsp:spPr>
        <a:xfrm>
          <a:off x="1553447" y="2502222"/>
          <a:ext cx="2171893" cy="763088"/>
        </a:xfrm>
        <a:custGeom>
          <a:avLst/>
          <a:gdLst/>
          <a:ahLst/>
          <a:cxnLst/>
          <a:rect l="0" t="0" r="0" b="0"/>
          <a:pathLst>
            <a:path>
              <a:moveTo>
                <a:pt x="0" y="763088"/>
              </a:moveTo>
              <a:lnTo>
                <a:pt x="2016758" y="763088"/>
              </a:lnTo>
              <a:lnTo>
                <a:pt x="2016758" y="0"/>
              </a:lnTo>
              <a:lnTo>
                <a:pt x="2171893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286FE6B-B74A-48DE-B638-86F1B751C0D3}">
      <dsp:nvSpPr>
        <dsp:cNvPr id="0" name=""/>
        <dsp:cNvSpPr/>
      </dsp:nvSpPr>
      <dsp:spPr>
        <a:xfrm>
          <a:off x="2094" y="2918026"/>
          <a:ext cx="1551352" cy="694569"/>
        </a:xfrm>
        <a:prstGeom prst="rect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Avg CML patients: 14,6</a:t>
          </a:r>
          <a:endParaRPr lang="el-GR" sz="1400" kern="1200" dirty="0"/>
        </a:p>
      </dsp:txBody>
      <dsp:txXfrm>
        <a:off x="2094" y="2918026"/>
        <a:ext cx="1551352" cy="694569"/>
      </dsp:txXfrm>
    </dsp:sp>
    <dsp:sp modelId="{B35333B5-9C8E-4A06-AC09-78AC3CF8CD2A}">
      <dsp:nvSpPr>
        <dsp:cNvPr id="0" name=""/>
        <dsp:cNvSpPr/>
      </dsp:nvSpPr>
      <dsp:spPr>
        <a:xfrm>
          <a:off x="3725340" y="2202895"/>
          <a:ext cx="1551352" cy="598654"/>
        </a:xfrm>
        <a:prstGeom prst="rect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1</a:t>
          </a:r>
          <a:r>
            <a:rPr lang="en-US" sz="1100" kern="1200" baseline="30000" dirty="0"/>
            <a:t>st</a:t>
          </a:r>
          <a:r>
            <a:rPr lang="en-US" sz="1100" kern="1200" dirty="0"/>
            <a:t> Line: 61%</a:t>
          </a:r>
          <a:endParaRPr lang="el-GR" sz="1100" kern="1200" dirty="0"/>
        </a:p>
      </dsp:txBody>
      <dsp:txXfrm>
        <a:off x="3725340" y="2202895"/>
        <a:ext cx="1551352" cy="598654"/>
      </dsp:txXfrm>
    </dsp:sp>
    <dsp:sp modelId="{06348141-9AA1-4B5E-AF97-2889D0F641E5}">
      <dsp:nvSpPr>
        <dsp:cNvPr id="0" name=""/>
        <dsp:cNvSpPr/>
      </dsp:nvSpPr>
      <dsp:spPr>
        <a:xfrm>
          <a:off x="3725340" y="2995469"/>
          <a:ext cx="1551352" cy="572408"/>
        </a:xfrm>
        <a:prstGeom prst="rect">
          <a:avLst/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2</a:t>
          </a:r>
          <a:r>
            <a:rPr lang="en-US" sz="1100" kern="1200" baseline="30000" dirty="0"/>
            <a:t>nd</a:t>
          </a:r>
          <a:r>
            <a:rPr lang="en-US" sz="1100" kern="1200" dirty="0"/>
            <a:t> Line: 29%</a:t>
          </a:r>
          <a:endParaRPr lang="el-GR" sz="1100" kern="1200" dirty="0"/>
        </a:p>
      </dsp:txBody>
      <dsp:txXfrm>
        <a:off x="3725340" y="2995469"/>
        <a:ext cx="1551352" cy="572408"/>
      </dsp:txXfrm>
    </dsp:sp>
    <dsp:sp modelId="{926A2EBE-4802-4C3A-9A45-2221B5DFD19A}">
      <dsp:nvSpPr>
        <dsp:cNvPr id="0" name=""/>
        <dsp:cNvSpPr/>
      </dsp:nvSpPr>
      <dsp:spPr>
        <a:xfrm>
          <a:off x="3725340" y="3761796"/>
          <a:ext cx="1551352" cy="565930"/>
        </a:xfrm>
        <a:prstGeom prst="rect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3</a:t>
          </a:r>
          <a:r>
            <a:rPr lang="en-US" sz="1100" kern="1200" baseline="30000" dirty="0"/>
            <a:t>rd</a:t>
          </a:r>
          <a:r>
            <a:rPr lang="en-US" sz="1100" kern="1200" dirty="0"/>
            <a:t> Line: 10%</a:t>
          </a:r>
          <a:endParaRPr lang="el-GR" sz="1100" kern="1200" dirty="0"/>
        </a:p>
      </dsp:txBody>
      <dsp:txXfrm>
        <a:off x="3725340" y="3761796"/>
        <a:ext cx="1551352" cy="565930"/>
      </dsp:txXfrm>
    </dsp:sp>
    <dsp:sp modelId="{B64A7754-A9CE-49D9-B994-6BB591E1AA1F}">
      <dsp:nvSpPr>
        <dsp:cNvPr id="0" name=""/>
        <dsp:cNvSpPr/>
      </dsp:nvSpPr>
      <dsp:spPr>
        <a:xfrm>
          <a:off x="1863717" y="2183729"/>
          <a:ext cx="1551352" cy="984622"/>
        </a:xfrm>
        <a:prstGeom prst="rect">
          <a:avLst/>
        </a:prstGeom>
        <a:solidFill>
          <a:schemeClr val="accent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% of patients who participate in clinical trials: 1,3%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8 physicians have patients in clinical trials/EAP</a:t>
          </a:r>
          <a:endParaRPr lang="el-GR" sz="1100" kern="1200" dirty="0"/>
        </a:p>
      </dsp:txBody>
      <dsp:txXfrm>
        <a:off x="1863717" y="2183729"/>
        <a:ext cx="1551352" cy="98462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68063" y="293830"/>
            <a:ext cx="3641611" cy="386408"/>
          </a:xfrm>
          <a:prstGeom prst="rect">
            <a:avLst/>
          </a:prstGeom>
        </p:spPr>
        <p:txBody>
          <a:bodyPr vert="horz" lIns="91486" tIns="45743" rIns="91486" bIns="4574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68063" y="702688"/>
            <a:ext cx="3641611" cy="164522"/>
          </a:xfrm>
          <a:prstGeom prst="rect">
            <a:avLst/>
          </a:prstGeom>
        </p:spPr>
        <p:txBody>
          <a:bodyPr vert="horz" lIns="91486" tIns="0" rIns="91486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/>
              <a:pPr algn="l"/>
              <a:t>2/12/2021</a:t>
            </a:fld>
            <a:endParaRPr lang="en-US" sz="1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68063" y="9220453"/>
            <a:ext cx="2737853" cy="263948"/>
          </a:xfrm>
          <a:prstGeom prst="rect">
            <a:avLst/>
          </a:prstGeom>
        </p:spPr>
        <p:txBody>
          <a:bodyPr vert="horz" lIns="91486" tIns="45743" rIns="91486" bIns="45743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014089" y="9220453"/>
            <a:ext cx="1156217" cy="263948"/>
          </a:xfrm>
          <a:prstGeom prst="rect">
            <a:avLst/>
          </a:prstGeom>
        </p:spPr>
        <p:txBody>
          <a:bodyPr vert="horz" lIns="91486" tIns="45743" rIns="91486" bIns="45743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 dirty="0"/>
          </a:p>
        </p:txBody>
      </p:sp>
      <p:grpSp>
        <p:nvGrpSpPr>
          <p:cNvPr id="13" name="Group 12"/>
          <p:cNvGrpSpPr/>
          <p:nvPr/>
        </p:nvGrpSpPr>
        <p:grpSpPr>
          <a:xfrm>
            <a:off x="4944766" y="299794"/>
            <a:ext cx="1257492" cy="380300"/>
            <a:chOff x="6113463" y="-755650"/>
            <a:chExt cx="7013575" cy="1922462"/>
          </a:xfrm>
        </p:grpSpPr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40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41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45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46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51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78411" y="346229"/>
            <a:ext cx="3579588" cy="439913"/>
          </a:xfrm>
          <a:prstGeom prst="rect">
            <a:avLst/>
          </a:prstGeom>
        </p:spPr>
        <p:txBody>
          <a:bodyPr vert="horz" lIns="91486" tIns="45743" rIns="91486" bIns="45743" rtlCol="0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8414" y="861546"/>
            <a:ext cx="2879619" cy="263948"/>
          </a:xfrm>
          <a:prstGeom prst="rect">
            <a:avLst/>
          </a:prstGeom>
        </p:spPr>
        <p:txBody>
          <a:bodyPr vert="horz" lIns="91486" tIns="45743" rIns="91486" bIns="45743" rtlCol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29C70E8E-131E-4657-A195-2844EFBAE789}" type="datetimeFigureOut">
              <a:rPr lang="en-US" smtClean="0"/>
              <a:pPr/>
              <a:t>2/12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562350" y="7415213"/>
            <a:ext cx="2820988" cy="1587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86" tIns="45743" rIns="91486" bIns="4574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75089" y="1380836"/>
            <a:ext cx="5895097" cy="5523342"/>
          </a:xfrm>
          <a:prstGeom prst="rect">
            <a:avLst/>
          </a:prstGeom>
        </p:spPr>
        <p:txBody>
          <a:bodyPr vert="horz" lIns="91486" tIns="45743" rIns="91486" bIns="45743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493966" y="9220453"/>
            <a:ext cx="877176" cy="263948"/>
          </a:xfrm>
          <a:prstGeom prst="rect">
            <a:avLst/>
          </a:prstGeom>
        </p:spPr>
        <p:txBody>
          <a:bodyPr vert="horz" lIns="91486" tIns="45743" rIns="91486" bIns="45743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A61E296-9532-40C3-9174-581AD2B7748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5039276" y="299794"/>
            <a:ext cx="1257492" cy="380300"/>
            <a:chOff x="6113463" y="-755650"/>
            <a:chExt cx="7013575" cy="1922462"/>
          </a:xfrm>
        </p:grpSpPr>
        <p:sp>
          <p:nvSpPr>
            <p:cNvPr id="16" name="Freeform 15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42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43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47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50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61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62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tags" Target="../tags/tag22.xml"/><Relationship Id="rId7" Type="http://schemas.openxmlformats.org/officeDocument/2006/relationships/image" Target="../media/image10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24.xml"/><Relationship Id="rId7" Type="http://schemas.openxmlformats.org/officeDocument/2006/relationships/image" Target="../media/image5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26.xml"/><Relationship Id="rId7" Type="http://schemas.openxmlformats.org/officeDocument/2006/relationships/image" Target="../media/image5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tags" Target="../tags/tag30.xml"/><Relationship Id="rId7" Type="http://schemas.openxmlformats.org/officeDocument/2006/relationships/image" Target="../media/image10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sv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svg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36.xml"/><Relationship Id="rId7" Type="http://schemas.openxmlformats.org/officeDocument/2006/relationships/image" Target="../media/image12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38.xml"/><Relationship Id="rId7" Type="http://schemas.openxmlformats.org/officeDocument/2006/relationships/image" Target="../media/image12.png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tags" Target="../tags/tag40.xml"/><Relationship Id="rId7" Type="http://schemas.openxmlformats.org/officeDocument/2006/relationships/image" Target="../media/image7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9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tags" Target="../tags/tag42.xml"/><Relationship Id="rId7" Type="http://schemas.openxmlformats.org/officeDocument/2006/relationships/image" Target="../media/image7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9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9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3.xml"/><Relationship Id="rId7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5.xml"/><Relationship Id="rId7" Type="http://schemas.openxmlformats.org/officeDocument/2006/relationships/image" Target="../media/image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tags" Target="../tags/tag17.xml"/><Relationship Id="rId7" Type="http://schemas.openxmlformats.org/officeDocument/2006/relationships/image" Target="../media/image7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tags" Target="../tags/tag20.xml"/><Relationship Id="rId7" Type="http://schemas.openxmlformats.org/officeDocument/2006/relationships/image" Target="../media/image7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harcoal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CA9C5BB-14FF-4F55-AE02-634BFACA8C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CA9C5BB-14FF-4F55-AE02-634BFACA8C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63F5646-A94E-4551-8DD1-3176626BB7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43329" y="6566113"/>
            <a:ext cx="7722832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959CA0"/>
                </a:solidFill>
                <a:ea typeface="Arial" charset="0"/>
                <a:cs typeface="Arial" charset="0"/>
              </a:rPr>
              <a:t>© 2020. All rights reserved. IQVIA</a:t>
            </a:r>
            <a:r>
              <a:rPr lang="en-US" sz="800" baseline="30000" dirty="0">
                <a:solidFill>
                  <a:srgbClr val="959CA0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959CA0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738664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2405892"/>
            <a:ext cx="7921554" cy="1107996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 eaLnBrk="1"/>
              <a:endParaRPr lang="en-US" sz="1600" dirty="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 eaLnBrk="1"/>
              <a:endParaRPr lang="en-US" sz="1600" dirty="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4BEAC957-569B-487F-94F8-5C9EB13206C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2263979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0C43E77-9D77-4E15-917E-58961F24F1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0C43E77-9D77-4E15-917E-58961F24F1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A54FBF-ED0A-4159-899D-88A2CE3202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0" name="Title 1">
            <a:extLst>
              <a:ext uri="{FF2B5EF4-FFF2-40B4-BE49-F238E27FC236}">
                <a16:creationId xmlns:a16="http://schemas.microsoft.com/office/drawing/2014/main" id="{B8567F05-315D-614C-B916-932362171A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1795535"/>
            <a:ext cx="5588846" cy="434193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36pt Arial Bold sentence cas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58BFCDA-FC31-2A4E-97D4-B728D66FDDB6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BAD41B1-1630-BD43-A04E-438392C529EA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E44435BD-EEDE-4C41-A1F2-ABC0999A168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 eaLnBrk="1"/>
              <a:endParaRPr lang="en-US" sz="1600" dirty="0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1C4729E5-C07B-2441-A6B5-D4DA9E028AEC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 eaLnBrk="1"/>
              <a:endParaRPr lang="en-US" sz="1600" dirty="0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C3C7C95F-71E5-2D48-9ED1-A6A7A40FCE53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8D53D1E7-5120-0F4B-B38C-FAE533E99835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</p:grpSp>
      <p:pic>
        <p:nvPicPr>
          <p:cNvPr id="12" name="Graphic 11">
            <a:extLst>
              <a:ext uri="{FF2B5EF4-FFF2-40B4-BE49-F238E27FC236}">
                <a16:creationId xmlns:a16="http://schemas.microsoft.com/office/drawing/2014/main" id="{7D7EF250-B396-4FE1-A01A-3EFD5011EB9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29633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Light Grey - IQVIA">
    <p:bg>
      <p:bgPr>
        <a:solidFill>
          <a:srgbClr val="F4F4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0C43E77-9D77-4E15-917E-58961F24F1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0C43E77-9D77-4E15-917E-58961F24F1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A54FBF-ED0A-4159-899D-88A2CE3202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0" name="Title 1">
            <a:extLst>
              <a:ext uri="{FF2B5EF4-FFF2-40B4-BE49-F238E27FC236}">
                <a16:creationId xmlns:a16="http://schemas.microsoft.com/office/drawing/2014/main" id="{B8567F05-315D-614C-B916-932362171A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1795535"/>
            <a:ext cx="5588846" cy="434193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s are 36pt Arial Bold sentence cas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58BFCDA-FC31-2A4E-97D4-B728D66FDDB6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BAD41B1-1630-BD43-A04E-438392C529EA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E44435BD-EEDE-4C41-A1F2-ABC0999A168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 eaLnBrk="1"/>
              <a:endParaRPr lang="en-US" sz="1600" dirty="0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1C4729E5-C07B-2441-A6B5-D4DA9E028AEC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 eaLnBrk="1"/>
              <a:endParaRPr lang="en-US" sz="1600" dirty="0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C3C7C95F-71E5-2D48-9ED1-A6A7A40FCE53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8D53D1E7-5120-0F4B-B38C-FAE533E99835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0E79E265-2154-49A6-BF30-3E534455B55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358157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8D527D8-1912-4942-BCEB-4DA3FAC15A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8D527D8-1912-4942-BCEB-4DA3FAC15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55F9C7B-D2B2-414E-87E0-C653B47369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4E85BE28-1C3E-4A79-9B84-3BC2D0438DD8}"/>
              </a:ext>
            </a:extLst>
          </p:cNvPr>
          <p:cNvSpPr/>
          <p:nvPr/>
        </p:nvSpPr>
        <p:spPr bwMode="gray">
          <a:xfrm>
            <a:off x="353877" y="-1"/>
            <a:ext cx="11484246" cy="6858001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B2BC05FF-F7B1-2643-B9FF-FE7362631CA8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54AF320E-9B8F-3143-935B-C21387DC95B0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 eaLnBrk="1"/>
              <a:endParaRPr lang="en-US" sz="1600" dirty="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4B250C1E-384C-5A4D-B493-4F16109AFBFE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 eaLnBrk="1"/>
              <a:endParaRPr lang="en-US" sz="1600" dirty="0"/>
            </a:p>
          </p:txBody>
        </p:sp>
        <p:sp>
          <p:nvSpPr>
            <p:cNvPr id="87" name="Freeform 86">
              <a:extLst>
                <a:ext uri="{FF2B5EF4-FFF2-40B4-BE49-F238E27FC236}">
                  <a16:creationId xmlns:a16="http://schemas.microsoft.com/office/drawing/2014/main" id="{5A2F5A00-A48E-1A46-9393-ED80FF031B14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  <p:sp>
          <p:nvSpPr>
            <p:cNvPr id="88" name="Freeform 87">
              <a:extLst>
                <a:ext uri="{FF2B5EF4-FFF2-40B4-BE49-F238E27FC236}">
                  <a16:creationId xmlns:a16="http://schemas.microsoft.com/office/drawing/2014/main" id="{796862EF-B16A-7B49-B5EF-1F789A62F17C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</p:grpSp>
      <p:sp>
        <p:nvSpPr>
          <p:cNvPr id="82" name="Text Placeholder 3">
            <a:extLst>
              <a:ext uri="{FF2B5EF4-FFF2-40B4-BE49-F238E27FC236}">
                <a16:creationId xmlns:a16="http://schemas.microsoft.com/office/drawing/2014/main" id="{43B517CD-81B5-1241-9C7C-2B8168938C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82212" y="4988527"/>
            <a:ext cx="5537663" cy="2769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r">
              <a:lnSpc>
                <a:spcPct val="100000"/>
              </a:lnSpc>
              <a:buNone/>
              <a:defRPr sz="1800" b="0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— Attribution Lin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2212" y="1809398"/>
            <a:ext cx="5537663" cy="2970500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Place quote here in 32pt Arial sentence case with quote attribution. Up to 6 lines of text can be used.”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A04865E-13FE-4711-97A9-D413EE17A679}"/>
              </a:ext>
            </a:extLst>
          </p:cNvPr>
          <p:cNvSpPr txBox="1"/>
          <p:nvPr/>
        </p:nvSpPr>
        <p:spPr>
          <a:xfrm>
            <a:off x="379147" y="1416103"/>
            <a:ext cx="937240" cy="1569660"/>
          </a:xfrm>
          <a:custGeom>
            <a:avLst/>
            <a:gdLst>
              <a:gd name="connsiteX0" fmla="*/ 0 w 937240"/>
              <a:gd name="connsiteY0" fmla="*/ 0 h 1862048"/>
              <a:gd name="connsiteX1" fmla="*/ 937240 w 937240"/>
              <a:gd name="connsiteY1" fmla="*/ 0 h 1862048"/>
              <a:gd name="connsiteX2" fmla="*/ 937240 w 937240"/>
              <a:gd name="connsiteY2" fmla="*/ 1862048 h 1862048"/>
              <a:gd name="connsiteX3" fmla="*/ 0 w 937240"/>
              <a:gd name="connsiteY3" fmla="*/ 1862048 h 1862048"/>
              <a:gd name="connsiteX4" fmla="*/ 0 w 937240"/>
              <a:gd name="connsiteY4" fmla="*/ 0 h 1862048"/>
              <a:gd name="connsiteX0" fmla="*/ 0 w 937240"/>
              <a:gd name="connsiteY0" fmla="*/ 0 h 1862048"/>
              <a:gd name="connsiteX1" fmla="*/ 937240 w 937240"/>
              <a:gd name="connsiteY1" fmla="*/ 0 h 1862048"/>
              <a:gd name="connsiteX2" fmla="*/ 698700 w 937240"/>
              <a:gd name="connsiteY2" fmla="*/ 1225944 h 1862048"/>
              <a:gd name="connsiteX3" fmla="*/ 0 w 937240"/>
              <a:gd name="connsiteY3" fmla="*/ 1862048 h 1862048"/>
              <a:gd name="connsiteX4" fmla="*/ 0 w 937240"/>
              <a:gd name="connsiteY4" fmla="*/ 0 h 1862048"/>
              <a:gd name="connsiteX0" fmla="*/ 0 w 937240"/>
              <a:gd name="connsiteY0" fmla="*/ 0 h 1225944"/>
              <a:gd name="connsiteX1" fmla="*/ 937240 w 937240"/>
              <a:gd name="connsiteY1" fmla="*/ 0 h 1225944"/>
              <a:gd name="connsiteX2" fmla="*/ 698700 w 937240"/>
              <a:gd name="connsiteY2" fmla="*/ 1225944 h 1225944"/>
              <a:gd name="connsiteX3" fmla="*/ 53009 w 937240"/>
              <a:gd name="connsiteY3" fmla="*/ 960901 h 1225944"/>
              <a:gd name="connsiteX4" fmla="*/ 0 w 937240"/>
              <a:gd name="connsiteY4" fmla="*/ 0 h 122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7240" h="1225944">
                <a:moveTo>
                  <a:pt x="0" y="0"/>
                </a:moveTo>
                <a:lnTo>
                  <a:pt x="937240" y="0"/>
                </a:lnTo>
                <a:lnTo>
                  <a:pt x="698700" y="1225944"/>
                </a:lnTo>
                <a:lnTo>
                  <a:pt x="53009" y="960901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rtlCol="0">
            <a:spAutoFit/>
          </a:bodyPr>
          <a:lstStyle/>
          <a:p>
            <a:r>
              <a:rPr lang="en-US" sz="9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65" name="Footer Placeholder 4">
            <a:extLst>
              <a:ext uri="{FF2B5EF4-FFF2-40B4-BE49-F238E27FC236}">
                <a16:creationId xmlns:a16="http://schemas.microsoft.com/office/drawing/2014/main" id="{2B5EAC86-5955-6C44-B473-E9638CE45B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082212" y="6566114"/>
            <a:ext cx="8587966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l" eaLnBrk="1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6" name="Slide Number Placeholder 5">
            <a:extLst>
              <a:ext uri="{FF2B5EF4-FFF2-40B4-BE49-F238E27FC236}">
                <a16:creationId xmlns:a16="http://schemas.microsoft.com/office/drawing/2014/main" id="{0B8041C5-D44C-8F4A-BD08-5435D5173B91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7F7F7F"/>
                </a:solidFill>
              </a:rPr>
              <a:t>‹#›</a:t>
            </a:fld>
            <a:endParaRPr lang="en-US" sz="800" b="0" dirty="0">
              <a:solidFill>
                <a:srgbClr val="7F7F7F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5BD91EC7-FFCC-4A07-8A7C-5256F5E142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496875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 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25DCA17-C71F-42C9-B9F3-864946B82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25DCA17-C71F-42C9-B9F3-864946B82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1EC0E7CF-529C-4D38-9B91-D3935A9A4E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E54A23A-653F-044A-872E-96D84FA8FBB7}"/>
              </a:ext>
            </a:extLst>
          </p:cNvPr>
          <p:cNvGrpSpPr/>
          <p:nvPr/>
        </p:nvGrpSpPr>
        <p:grpSpPr>
          <a:xfrm>
            <a:off x="0" y="1460563"/>
            <a:ext cx="2550984" cy="4676908"/>
            <a:chOff x="0" y="1403413"/>
            <a:chExt cx="2550984" cy="4676908"/>
          </a:xfrm>
          <a:solidFill>
            <a:schemeClr val="accent1"/>
          </a:solidFill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44260B0-4CB4-D64E-9C92-5124265DA7A3}"/>
                </a:ext>
              </a:extLst>
            </p:cNvPr>
            <p:cNvGrpSpPr/>
            <p:nvPr/>
          </p:nvGrpSpPr>
          <p:grpSpPr>
            <a:xfrm>
              <a:off x="1" y="4502072"/>
              <a:ext cx="1013573" cy="545364"/>
              <a:chOff x="1" y="4502072"/>
              <a:chExt cx="1013573" cy="545364"/>
            </a:xfrm>
            <a:grpFill/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AFE54BDC-92F7-FF47-96F4-48A8CED3C760}"/>
                  </a:ext>
                </a:extLst>
              </p:cNvPr>
              <p:cNvSpPr/>
              <p:nvPr/>
            </p:nvSpPr>
            <p:spPr>
              <a:xfrm>
                <a:off x="1" y="4502072"/>
                <a:ext cx="73504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BBC52103-9224-6C4C-89DA-F8113C00854E}"/>
                  </a:ext>
                </a:extLst>
              </p:cNvPr>
              <p:cNvSpPr/>
              <p:nvPr/>
            </p:nvSpPr>
            <p:spPr>
              <a:xfrm>
                <a:off x="468210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0C066D0-213A-4E42-B2BA-FB39C744A96E}"/>
                </a:ext>
              </a:extLst>
            </p:cNvPr>
            <p:cNvGrpSpPr/>
            <p:nvPr/>
          </p:nvGrpSpPr>
          <p:grpSpPr>
            <a:xfrm>
              <a:off x="0" y="3469185"/>
              <a:ext cx="1162174" cy="545364"/>
              <a:chOff x="0" y="3469185"/>
              <a:chExt cx="1162174" cy="545364"/>
            </a:xfrm>
            <a:grpFill/>
          </p:grpSpPr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DA67A407-7D4D-3749-9A23-617DCB2CC42B}"/>
                  </a:ext>
                </a:extLst>
              </p:cNvPr>
              <p:cNvSpPr/>
              <p:nvPr/>
            </p:nvSpPr>
            <p:spPr>
              <a:xfrm>
                <a:off x="0" y="3469185"/>
                <a:ext cx="8836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35FFBBA7-854B-B748-B093-1CE3952BB1BD}"/>
                  </a:ext>
                </a:extLst>
              </p:cNvPr>
              <p:cNvSpPr/>
              <p:nvPr/>
            </p:nvSpPr>
            <p:spPr>
              <a:xfrm>
                <a:off x="616810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0143330-49E8-4D4D-A683-BA5AC4536F35}"/>
                </a:ext>
              </a:extLst>
            </p:cNvPr>
            <p:cNvGrpSpPr/>
            <p:nvPr/>
          </p:nvGrpSpPr>
          <p:grpSpPr>
            <a:xfrm>
              <a:off x="0" y="2436300"/>
              <a:ext cx="1023436" cy="545364"/>
              <a:chOff x="0" y="2440184"/>
              <a:chExt cx="1023436" cy="545364"/>
            </a:xfrm>
            <a:grpFill/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8036A379-1707-5D4E-AAD8-4CD10718D475}"/>
                  </a:ext>
                </a:extLst>
              </p:cNvPr>
              <p:cNvSpPr/>
              <p:nvPr/>
            </p:nvSpPr>
            <p:spPr>
              <a:xfrm>
                <a:off x="0" y="2440184"/>
                <a:ext cx="74406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EB1666CD-BEF0-4D4B-BA70-902CCBD452A2}"/>
                  </a:ext>
                </a:extLst>
              </p:cNvPr>
              <p:cNvSpPr/>
              <p:nvPr/>
            </p:nvSpPr>
            <p:spPr>
              <a:xfrm>
                <a:off x="478072" y="2440184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6437A27-019B-564D-B996-C91C1F5CC2C9}"/>
                </a:ext>
              </a:extLst>
            </p:cNvPr>
            <p:cNvGrpSpPr/>
            <p:nvPr/>
          </p:nvGrpSpPr>
          <p:grpSpPr>
            <a:xfrm>
              <a:off x="876713" y="5534957"/>
              <a:ext cx="1674271" cy="545364"/>
              <a:chOff x="876236" y="5534957"/>
              <a:chExt cx="1674271" cy="545364"/>
            </a:xfrm>
            <a:grpFill/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A63EA5C-5E6E-BC4A-9E7A-94DE3B6280E8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7A0BB5E6-BAD7-3F49-A359-BE26A2F6BE4C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1C16252C-42E7-844C-86B3-C65D63364C8F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ADF5CA18-ACA9-2A42-A4F3-CA7027AC1183}"/>
                </a:ext>
              </a:extLst>
            </p:cNvPr>
            <p:cNvGrpSpPr/>
            <p:nvPr/>
          </p:nvGrpSpPr>
          <p:grpSpPr>
            <a:xfrm>
              <a:off x="1404844" y="4502072"/>
              <a:ext cx="1146140" cy="545364"/>
              <a:chOff x="1404367" y="4502072"/>
              <a:chExt cx="1146140" cy="545364"/>
            </a:xfrm>
            <a:grpFill/>
          </p:grpSpPr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EF9009F8-F40E-4142-9FD4-5F82D827183E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F656972E-4EE4-B440-BF3B-7C50C2F4AFD2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856FC643-92EC-5446-B635-5272B44ABBC4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7F13C1C-5A0B-E349-81D8-289CF597EFF6}"/>
                </a:ext>
              </a:extLst>
            </p:cNvPr>
            <p:cNvGrpSpPr/>
            <p:nvPr/>
          </p:nvGrpSpPr>
          <p:grpSpPr>
            <a:xfrm>
              <a:off x="1563753" y="3469185"/>
              <a:ext cx="987231" cy="545364"/>
              <a:chOff x="1560101" y="3469185"/>
              <a:chExt cx="987231" cy="545364"/>
            </a:xfrm>
            <a:grpFill/>
          </p:grpSpPr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B4037E36-7ECF-7242-B733-14F93EF6E7A7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13A075E0-B627-254E-A4FB-378B4E95EDE4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B2AE0DCE-94BE-7947-8768-92F78F9D7213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16D361C0-AC3B-D84D-9A88-5FC411D00470}"/>
                </a:ext>
              </a:extLst>
            </p:cNvPr>
            <p:cNvGrpSpPr/>
            <p:nvPr/>
          </p:nvGrpSpPr>
          <p:grpSpPr>
            <a:xfrm>
              <a:off x="1416321" y="2436300"/>
              <a:ext cx="1134663" cy="545364"/>
              <a:chOff x="1415887" y="2436300"/>
              <a:chExt cx="1134663" cy="545364"/>
            </a:xfrm>
            <a:grpFill/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1603488A-FE35-DC44-B59F-D73A4174124C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F562BC2A-8E8F-8F4A-AF64-D93514A83DE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45DA935B-E728-D449-B962-9C993F9194C3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37C5B5FC-28F8-6A43-9D03-F89AA5DADC09}"/>
                </a:ext>
              </a:extLst>
            </p:cNvPr>
            <p:cNvGrpSpPr/>
            <p:nvPr/>
          </p:nvGrpSpPr>
          <p:grpSpPr>
            <a:xfrm>
              <a:off x="898206" y="1403413"/>
              <a:ext cx="1652778" cy="545364"/>
              <a:chOff x="898206" y="1403413"/>
              <a:chExt cx="1652778" cy="545364"/>
            </a:xfrm>
            <a:grpFill/>
          </p:grpSpPr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B34D7784-E348-154F-80D9-BA83F6D4D68E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2849EC6B-F9A7-F742-813C-BBB1639B37A5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81DB5796-D137-AF40-AB92-A11E96841BD6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</p:grp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2606B288-B2E5-CB4F-9CD4-6304B4259D84}"/>
                </a:ext>
              </a:extLst>
            </p:cNvPr>
            <p:cNvSpPr/>
            <p:nvPr/>
          </p:nvSpPr>
          <p:spPr>
            <a:xfrm>
              <a:off x="1945" y="5534957"/>
              <a:ext cx="476127" cy="545364"/>
            </a:xfrm>
            <a:custGeom>
              <a:avLst/>
              <a:gdLst>
                <a:gd name="connsiteX0" fmla="*/ 0 w 476127"/>
                <a:gd name="connsiteY0" fmla="*/ 0 h 545364"/>
                <a:gd name="connsiteX1" fmla="*/ 197590 w 476127"/>
                <a:gd name="connsiteY1" fmla="*/ 0 h 545364"/>
                <a:gd name="connsiteX2" fmla="*/ 197590 w 476127"/>
                <a:gd name="connsiteY2" fmla="*/ 590 h 545364"/>
                <a:gd name="connsiteX3" fmla="*/ 203445 w 476127"/>
                <a:gd name="connsiteY3" fmla="*/ 0 h 545364"/>
                <a:gd name="connsiteX4" fmla="*/ 476127 w 476127"/>
                <a:gd name="connsiteY4" fmla="*/ 272682 h 545364"/>
                <a:gd name="connsiteX5" fmla="*/ 203445 w 476127"/>
                <a:gd name="connsiteY5" fmla="*/ 545364 h 545364"/>
                <a:gd name="connsiteX6" fmla="*/ 197590 w 476127"/>
                <a:gd name="connsiteY6" fmla="*/ 544774 h 545364"/>
                <a:gd name="connsiteX7" fmla="*/ 197590 w 476127"/>
                <a:gd name="connsiteY7" fmla="*/ 545364 h 545364"/>
                <a:gd name="connsiteX8" fmla="*/ 0 w 476127"/>
                <a:gd name="connsiteY8" fmla="*/ 545364 h 545364"/>
                <a:gd name="connsiteX9" fmla="*/ 0 w 476127"/>
                <a:gd name="connsiteY9" fmla="*/ 452614 h 545364"/>
                <a:gd name="connsiteX10" fmla="*/ 0 w 476127"/>
                <a:gd name="connsiteY10" fmla="*/ 92750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6127" h="545364">
                  <a:moveTo>
                    <a:pt x="0" y="0"/>
                  </a:moveTo>
                  <a:lnTo>
                    <a:pt x="197590" y="0"/>
                  </a:lnTo>
                  <a:lnTo>
                    <a:pt x="197590" y="590"/>
                  </a:lnTo>
                  <a:lnTo>
                    <a:pt x="203445" y="0"/>
                  </a:lnTo>
                  <a:cubicBezTo>
                    <a:pt x="354043" y="0"/>
                    <a:pt x="476127" y="122084"/>
                    <a:pt x="476127" y="272682"/>
                  </a:cubicBezTo>
                  <a:cubicBezTo>
                    <a:pt x="476127" y="423280"/>
                    <a:pt x="354043" y="545364"/>
                    <a:pt x="203445" y="545364"/>
                  </a:cubicBezTo>
                  <a:lnTo>
                    <a:pt x="197590" y="544774"/>
                  </a:lnTo>
                  <a:lnTo>
                    <a:pt x="197590" y="545364"/>
                  </a:lnTo>
                  <a:lnTo>
                    <a:pt x="0" y="545364"/>
                  </a:lnTo>
                  <a:lnTo>
                    <a:pt x="0" y="452614"/>
                  </a:lnTo>
                  <a:lnTo>
                    <a:pt x="0" y="927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18324F76-739D-5A41-8026-F96B96947F97}"/>
                </a:ext>
              </a:extLst>
            </p:cNvPr>
            <p:cNvSpPr/>
            <p:nvPr/>
          </p:nvSpPr>
          <p:spPr>
            <a:xfrm>
              <a:off x="0" y="1403413"/>
              <a:ext cx="501699" cy="545364"/>
            </a:xfrm>
            <a:custGeom>
              <a:avLst/>
              <a:gdLst>
                <a:gd name="connsiteX0" fmla="*/ 1 w 501699"/>
                <a:gd name="connsiteY0" fmla="*/ 0 h 545364"/>
                <a:gd name="connsiteX1" fmla="*/ 223169 w 501699"/>
                <a:gd name="connsiteY1" fmla="*/ 0 h 545364"/>
                <a:gd name="connsiteX2" fmla="*/ 223169 w 501699"/>
                <a:gd name="connsiteY2" fmla="*/ 590 h 545364"/>
                <a:gd name="connsiteX3" fmla="*/ 229017 w 501699"/>
                <a:gd name="connsiteY3" fmla="*/ 0 h 545364"/>
                <a:gd name="connsiteX4" fmla="*/ 501699 w 501699"/>
                <a:gd name="connsiteY4" fmla="*/ 272682 h 545364"/>
                <a:gd name="connsiteX5" fmla="*/ 229017 w 501699"/>
                <a:gd name="connsiteY5" fmla="*/ 545364 h 545364"/>
                <a:gd name="connsiteX6" fmla="*/ 223169 w 501699"/>
                <a:gd name="connsiteY6" fmla="*/ 544775 h 545364"/>
                <a:gd name="connsiteX7" fmla="*/ 223169 w 501699"/>
                <a:gd name="connsiteY7" fmla="*/ 545364 h 545364"/>
                <a:gd name="connsiteX8" fmla="*/ 1 w 501699"/>
                <a:gd name="connsiteY8" fmla="*/ 545364 h 545364"/>
                <a:gd name="connsiteX9" fmla="*/ 1 w 501699"/>
                <a:gd name="connsiteY9" fmla="*/ 419791 h 545364"/>
                <a:gd name="connsiteX10" fmla="*/ 0 w 501699"/>
                <a:gd name="connsiteY10" fmla="*/ 419789 h 545364"/>
                <a:gd name="connsiteX11" fmla="*/ 0 w 501699"/>
                <a:gd name="connsiteY11" fmla="*/ 125575 h 545364"/>
                <a:gd name="connsiteX12" fmla="*/ 1 w 501699"/>
                <a:gd name="connsiteY12" fmla="*/ 125573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1699" h="545364">
                  <a:moveTo>
                    <a:pt x="1" y="0"/>
                  </a:moveTo>
                  <a:lnTo>
                    <a:pt x="223169" y="0"/>
                  </a:lnTo>
                  <a:lnTo>
                    <a:pt x="223169" y="590"/>
                  </a:lnTo>
                  <a:lnTo>
                    <a:pt x="229017" y="0"/>
                  </a:lnTo>
                  <a:cubicBezTo>
                    <a:pt x="379615" y="0"/>
                    <a:pt x="501699" y="122084"/>
                    <a:pt x="501699" y="272682"/>
                  </a:cubicBezTo>
                  <a:cubicBezTo>
                    <a:pt x="501699" y="423280"/>
                    <a:pt x="379615" y="545364"/>
                    <a:pt x="229017" y="545364"/>
                  </a:cubicBezTo>
                  <a:lnTo>
                    <a:pt x="223169" y="544775"/>
                  </a:lnTo>
                  <a:lnTo>
                    <a:pt x="223169" y="545364"/>
                  </a:lnTo>
                  <a:lnTo>
                    <a:pt x="1" y="545364"/>
                  </a:lnTo>
                  <a:lnTo>
                    <a:pt x="1" y="419791"/>
                  </a:lnTo>
                  <a:lnTo>
                    <a:pt x="0" y="419789"/>
                  </a:lnTo>
                  <a:lnTo>
                    <a:pt x="0" y="125575"/>
                  </a:lnTo>
                  <a:lnTo>
                    <a:pt x="1" y="12557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</p:grpSp>
      <p:sp>
        <p:nvSpPr>
          <p:cNvPr id="60" name="Title 1">
            <a:extLst>
              <a:ext uri="{FF2B5EF4-FFF2-40B4-BE49-F238E27FC236}">
                <a16:creationId xmlns:a16="http://schemas.microsoft.com/office/drawing/2014/main" id="{99B32E9C-8531-8F42-88AC-648425B4B1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393370" y="1460563"/>
            <a:ext cx="7988504" cy="4676908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</a:t>
            </a:r>
            <a:br>
              <a:rPr lang="en-US" dirty="0"/>
            </a:br>
            <a:r>
              <a:rPr lang="en-US" dirty="0"/>
              <a:t>Arial Bold sentence case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DBE3E6C0-8C36-8B43-957E-48824B0A0BBC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9865176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2A39C3-F8A1-4AE0-95D3-50D7F3253E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2A39C3-F8A1-4AE0-95D3-50D7F3253E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3FF7B28-B627-49F4-8487-3B850103CDC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117F4479-AB2F-544F-914C-7C68ABE310F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036859" y="3208148"/>
            <a:ext cx="5588846" cy="2929323"/>
          </a:xfrm>
          <a:prstGeom prst="rect">
            <a:avLst/>
          </a:prstGeo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54864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82296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109728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1371600" indent="-27432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4pt bullet level 2</a:t>
            </a:r>
          </a:p>
          <a:p>
            <a:pPr lvl="2"/>
            <a:r>
              <a:rPr lang="en-US" dirty="0"/>
              <a:t>Arial 24pt bullet level 3</a:t>
            </a:r>
          </a:p>
          <a:p>
            <a:pPr lvl="3"/>
            <a:r>
              <a:rPr lang="en-US" dirty="0"/>
              <a:t>Arial 24pt bullet level 4</a:t>
            </a:r>
          </a:p>
          <a:p>
            <a:pPr lvl="4"/>
            <a:r>
              <a:rPr lang="en-US" dirty="0"/>
              <a:t>Arial 24pt bullet level 5</a:t>
            </a:r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77FA37B5-B8A2-E447-B5FC-531DD50C18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4320" y="1795534"/>
            <a:ext cx="7631698" cy="1174627"/>
          </a:xfrm>
          <a:prstGeom prst="rect">
            <a:avLst/>
          </a:prstGeo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Bold sentence cas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364B443-1067-8D4E-8347-69E3D88570DB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E23B4D94-914D-6A47-AF73-BDD6ABF78CB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 eaLnBrk="1"/>
              <a:endParaRPr lang="en-US" sz="1600" dirty="0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E941EA1A-7BCD-E547-9195-3AF3CBAB9DE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 eaLnBrk="1"/>
              <a:endParaRPr lang="en-US" sz="1600" dirty="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BF4E84-D8C8-3340-8821-E170F38BCB95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04358390-5EFC-484C-9E81-E6E1DFD520E7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</p:grpSp>
      <p:pic>
        <p:nvPicPr>
          <p:cNvPr id="17" name="Graphic 16">
            <a:extLst>
              <a:ext uri="{FF2B5EF4-FFF2-40B4-BE49-F238E27FC236}">
                <a16:creationId xmlns:a16="http://schemas.microsoft.com/office/drawing/2014/main" id="{C3CE7F56-934D-4EB6-BD9C-91227A7AEAD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0926644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D9F4A6-D775-4860-AA6E-F070A746E0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D9F4A6-D775-4860-AA6E-F070A746E0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Sticker Placeholder 12">
            <a:extLst>
              <a:ext uri="{FF2B5EF4-FFF2-40B4-BE49-F238E27FC236}">
                <a16:creationId xmlns:a16="http://schemas.microsoft.com/office/drawing/2014/main" id="{259D1F1E-3CAC-49FF-990A-1EF0491CEB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009" y="43374"/>
            <a:ext cx="11246237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tabLst>
                <a:tab pos="269875" algn="l"/>
              </a:tabLst>
              <a:defRPr sz="1200" b="1" cap="all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7" name="Note Placeholder 11">
            <a:extLst>
              <a:ext uri="{FF2B5EF4-FFF2-40B4-BE49-F238E27FC236}">
                <a16:creationId xmlns:a16="http://schemas.microsoft.com/office/drawing/2014/main" id="{E825C46F-2744-47EF-8BD6-DDF7C33756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7012" y="6118280"/>
            <a:ext cx="11246241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800">
                <a:latin typeface="Arial Narrow" panose="020B0606020202030204" pitchFamily="34" charset="0"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dirty="0"/>
              <a:t>Note</a:t>
            </a:r>
          </a:p>
        </p:txBody>
      </p:sp>
      <p:sp>
        <p:nvSpPr>
          <p:cNvPr id="5" name="Source Placeholder 10">
            <a:extLst>
              <a:ext uri="{FF2B5EF4-FFF2-40B4-BE49-F238E27FC236}">
                <a16:creationId xmlns:a16="http://schemas.microsoft.com/office/drawing/2014/main" id="{C8A771B2-EB7B-43E6-9833-2DF81417A86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013" y="6397157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77012" y="1124076"/>
            <a:ext cx="1124624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7012" y="237000"/>
            <a:ext cx="11246241" cy="773799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477013" y="6552000"/>
            <a:ext cx="7560000" cy="12311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26F1EEE-9EEF-41E7-B365-12BCB22BC5D0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23254" y="6555209"/>
            <a:ext cx="353088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CA8049D-9DF9-4090-8E23-3C1736BD40F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76299" y="6474454"/>
            <a:ext cx="1143000" cy="2159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0CA290F-A8F4-439E-8DD7-FCCB2DE2A4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2661" y="6397157"/>
            <a:ext cx="815498" cy="350521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286473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D9F4A6-D775-4860-AA6E-F070A746E0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D9F4A6-D775-4860-AA6E-F070A746E0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Sticker Placeholder 12">
            <a:extLst>
              <a:ext uri="{FF2B5EF4-FFF2-40B4-BE49-F238E27FC236}">
                <a16:creationId xmlns:a16="http://schemas.microsoft.com/office/drawing/2014/main" id="{259D1F1E-3CAC-49FF-990A-1EF0491CEB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009" y="43374"/>
            <a:ext cx="11246237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tabLst>
                <a:tab pos="269875" algn="l"/>
              </a:tabLst>
              <a:defRPr sz="1200" b="1" cap="all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77012" y="1124076"/>
            <a:ext cx="1124624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7012" y="237000"/>
            <a:ext cx="11246241" cy="773799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ACBEF1BD-E16D-4A09-91A7-C5C61E22A50D}"/>
              </a:ext>
            </a:extLst>
          </p:cNvPr>
          <p:cNvSpPr txBox="1">
            <a:spLocks/>
          </p:cNvSpPr>
          <p:nvPr userDrawn="1"/>
        </p:nvSpPr>
        <p:spPr>
          <a:xfrm>
            <a:off x="477013" y="6397157"/>
            <a:ext cx="9023824" cy="11080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51435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72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87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ource: IQVIA PMR (November 2020)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8308EC99-9017-456C-BCA9-5FA69CF70BCF}"/>
              </a:ext>
            </a:extLst>
          </p:cNvPr>
          <p:cNvSpPr txBox="1">
            <a:spLocks/>
          </p:cNvSpPr>
          <p:nvPr userDrawn="1"/>
        </p:nvSpPr>
        <p:spPr>
          <a:xfrm>
            <a:off x="477013" y="6555209"/>
            <a:ext cx="9023824" cy="11080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51435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72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87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QVIA •  Market Research on CML/ALL • December 2020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4E0C97F-F04A-48E6-95A4-D363C7139E3B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23254" y="6555209"/>
            <a:ext cx="353088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F4D197AC-F7A2-4D81-9805-FB4787B693C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76299" y="6474454"/>
            <a:ext cx="1143000" cy="2159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6BD795C-EB25-4A99-99E7-D6D9AA3729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2661" y="6397157"/>
            <a:ext cx="815498" cy="350521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451437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3CDC69C-006A-4392-B4B1-89F4D17DEFB0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23254" y="6555209"/>
            <a:ext cx="353088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6EF8ED5-69D9-4F8D-8DC9-DE328CDC47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474454"/>
            <a:ext cx="1143000" cy="2159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9FC7B64-0D40-400A-8844-4DE2D58534F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2661" y="6397157"/>
            <a:ext cx="815498" cy="350521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67739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vider Light Grey - IQVIA">
    <p:bg>
      <p:bgPr>
        <a:solidFill>
          <a:srgbClr val="F4F4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0C43E77-9D77-4E15-917E-58961F24F1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0C43E77-9D77-4E15-917E-58961F24F1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A54FBF-ED0A-4159-899D-88A2CE3202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0" name="Title 1">
            <a:extLst>
              <a:ext uri="{FF2B5EF4-FFF2-40B4-BE49-F238E27FC236}">
                <a16:creationId xmlns:a16="http://schemas.microsoft.com/office/drawing/2014/main" id="{B8567F05-315D-614C-B916-932362171A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1795535"/>
            <a:ext cx="5588846" cy="434193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s are 36pt Arial Bold sentence cas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58BFCDA-FC31-2A4E-97D4-B728D66FDDB6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BAD41B1-1630-BD43-A04E-438392C529EA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E44435BD-EEDE-4C41-A1F2-ABC0999A168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 eaLnBrk="1"/>
              <a:endParaRPr lang="en-US" sz="1600" dirty="0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1C4729E5-C07B-2441-A6B5-D4DA9E028AEC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 eaLnBrk="1"/>
              <a:endParaRPr lang="en-US" sz="1600" dirty="0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C3C7C95F-71E5-2D48-9ED1-A6A7A40FCE53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8D53D1E7-5120-0F4B-B38C-FAE533E99835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0E79E265-2154-49A6-BF30-3E534455B55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817829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 White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0979BF-0CEB-4B1B-863E-0521123DA5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0979BF-0CEB-4B1B-863E-0521123DA5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A3CF7A0-3297-4A68-AA67-4076332D01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AB75BD1-2507-44E0-91E4-42F78B5D2D49}"/>
              </a:ext>
            </a:extLst>
          </p:cNvPr>
          <p:cNvSpPr txBox="1"/>
          <p:nvPr/>
        </p:nvSpPr>
        <p:spPr bwMode="black">
          <a:xfrm>
            <a:off x="740422" y="6566113"/>
            <a:ext cx="7722832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0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73866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2405892"/>
            <a:ext cx="7921554" cy="110799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29175BC-552B-D64A-8152-E96EE8CE39AF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D370C788-BCB9-AA4B-83CC-830DE2532168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 eaLnBrk="1"/>
              <a:endParaRPr lang="en-US" sz="1600" dirty="0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86A666F2-61DC-1141-A28D-9C664CF9E0D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 eaLnBrk="1"/>
              <a:endParaRPr lang="en-US" sz="1600" dirty="0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B36DAFEC-9E33-D342-8F38-9280EB50249D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14487FF1-1618-4249-B143-BEFFD4E4E8FD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E4418D72-B986-414A-97FC-FCCE7B7F1B53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B4C17C8-380D-41B2-8F4E-B2A6A80204A7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D82C82-AD27-49A1-AB10-24272A1884F7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892F22A-88D4-4FFC-B5E9-6BA1C634847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1182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Blue 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48C880-B389-442D-A402-2D02A0DB72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48C880-B389-442D-A402-2D02A0DB72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EEFEC91-EAA3-4D33-994B-8D9E1222DD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43329" y="6566113"/>
            <a:ext cx="7722832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0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738664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2405892"/>
            <a:ext cx="7921554" cy="1107996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2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 eaLnBrk="1"/>
              <a:endParaRPr lang="en-US" sz="1600" dirty="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 eaLnBrk="1"/>
              <a:endParaRPr lang="en-US" sz="1600" dirty="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2A9B096-E6B4-42EB-9CCF-B379C7B9F51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198877"/>
      </p:ext>
    </p:extLst>
  </p:cSld>
  <p:clrMapOvr>
    <a:masterClrMapping/>
  </p:clrMapOvr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168D127-270C-4136-B89E-8C065C31F5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168D127-270C-4136-B89E-8C065C31F5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43B7ED4-1A34-4FB6-B7CB-9864519249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79424" y="238126"/>
            <a:ext cx="11243830" cy="783972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90000"/>
              </a:lnSpc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8" name="Sticker Placeholder 12">
            <a:extLst>
              <a:ext uri="{FF2B5EF4-FFF2-40B4-BE49-F238E27FC236}">
                <a16:creationId xmlns:a16="http://schemas.microsoft.com/office/drawing/2014/main" id="{B2182354-B223-4F2A-9AD4-7731E4F0DF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009" y="43374"/>
            <a:ext cx="11246237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buNone/>
              <a:tabLst>
                <a:tab pos="269875" algn="l"/>
              </a:tabLst>
              <a:defRPr sz="1200" b="1" cap="all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9" name="Note Placeholder 11">
            <a:extLst>
              <a:ext uri="{FF2B5EF4-FFF2-40B4-BE49-F238E27FC236}">
                <a16:creationId xmlns:a16="http://schemas.microsoft.com/office/drawing/2014/main" id="{5CC066C2-5E05-41AC-8EF0-6954628833B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7012" y="6118280"/>
            <a:ext cx="11246241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00">
                <a:latin typeface="Arial Narrow" panose="020B0606020202030204" pitchFamily="34" charset="0"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dirty="0"/>
              <a:t>No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6BFF978-FB11-4669-A230-3FDA7194CD2A}"/>
              </a:ext>
            </a:extLst>
          </p:cNvPr>
          <p:cNvSpPr txBox="1">
            <a:spLocks/>
          </p:cNvSpPr>
          <p:nvPr userDrawn="1"/>
        </p:nvSpPr>
        <p:spPr>
          <a:xfrm>
            <a:off x="477013" y="6397157"/>
            <a:ext cx="9023824" cy="11080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51435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72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87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ource: IQVIA PMR (November 2020)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13166C4-94A5-4F7C-A99A-52A15F6F9BA3}"/>
              </a:ext>
            </a:extLst>
          </p:cNvPr>
          <p:cNvSpPr txBox="1">
            <a:spLocks/>
          </p:cNvSpPr>
          <p:nvPr userDrawn="1"/>
        </p:nvSpPr>
        <p:spPr>
          <a:xfrm>
            <a:off x="477013" y="6555209"/>
            <a:ext cx="9023824" cy="11080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51435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72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87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QVIA •  Market Research on CML/ALL • December 2020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A3BA59CA-20B1-479F-85CC-32830CABE4F7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23254" y="6555209"/>
            <a:ext cx="353088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4D4A9EEB-B253-4743-8619-CA9D1A7C10C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376299" y="6474454"/>
            <a:ext cx="1143000" cy="2159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C7E46E9-65F1-48D4-88AE-A32D574B830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2661" y="6397157"/>
            <a:ext cx="815498" cy="350521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13740257"/>
      </p:ext>
    </p:extLst>
  </p:cSld>
  <p:clrMapOvr>
    <a:masterClrMapping/>
  </p:clrMapOvr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168D127-270C-4136-B89E-8C065C31F5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168D127-270C-4136-B89E-8C065C31F5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43B7ED4-1A34-4FB6-B7CB-9864519249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79424" y="238126"/>
            <a:ext cx="11243830" cy="783972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90000"/>
              </a:lnSpc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79422" y="6567520"/>
            <a:ext cx="9021415" cy="110800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l" eaLnBrk="1">
              <a:lnSpc>
                <a:spcPct val="90000"/>
              </a:lnSpc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Sticker Placeholder 12">
            <a:extLst>
              <a:ext uri="{FF2B5EF4-FFF2-40B4-BE49-F238E27FC236}">
                <a16:creationId xmlns:a16="http://schemas.microsoft.com/office/drawing/2014/main" id="{B2182354-B223-4F2A-9AD4-7731E4F0DF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009" y="43374"/>
            <a:ext cx="11246237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buNone/>
              <a:tabLst>
                <a:tab pos="269875" algn="l"/>
              </a:tabLst>
              <a:defRPr sz="1200" b="1" cap="all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9" name="Note Placeholder 11">
            <a:extLst>
              <a:ext uri="{FF2B5EF4-FFF2-40B4-BE49-F238E27FC236}">
                <a16:creationId xmlns:a16="http://schemas.microsoft.com/office/drawing/2014/main" id="{5CC066C2-5E05-41AC-8EF0-6954628833B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7012" y="6118280"/>
            <a:ext cx="11246241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00">
                <a:latin typeface="Arial Narrow" panose="020B0606020202030204" pitchFamily="34" charset="0"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dirty="0"/>
              <a:t>Note</a:t>
            </a:r>
          </a:p>
        </p:txBody>
      </p:sp>
      <p:sp>
        <p:nvSpPr>
          <p:cNvPr id="10" name="Source Placeholder 10">
            <a:extLst>
              <a:ext uri="{FF2B5EF4-FFF2-40B4-BE49-F238E27FC236}">
                <a16:creationId xmlns:a16="http://schemas.microsoft.com/office/drawing/2014/main" id="{065262B4-AFEC-4A88-A7CC-33531EAB04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7013" y="6397157"/>
            <a:ext cx="9023824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00"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1DFCB9B-59F6-4E19-98DC-8B4E6347932C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23254" y="6555209"/>
            <a:ext cx="353088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22CF448-B9C9-4678-9F81-5FE8781C35C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376299" y="6474454"/>
            <a:ext cx="1143000" cy="2159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234C1A8-9760-4BB7-BDBC-66A180F1748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2661" y="6397157"/>
            <a:ext cx="815498" cy="350521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78302275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Green - IQVIA">
    <p:bg>
      <p:bgPr>
        <a:gradFill>
          <a:gsLst>
            <a:gs pos="20000">
              <a:schemeClr val="accent4"/>
            </a:gs>
            <a:gs pos="80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F84D7C8-C85B-4E97-9097-C7459914CA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F84D7C8-C85B-4E97-9097-C7459914CA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5470CEE-6670-4A38-994E-E9D193E3B1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43329" y="6566113"/>
            <a:ext cx="7722832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A1D794"/>
                </a:solidFill>
                <a:ea typeface="Arial" charset="0"/>
                <a:cs typeface="Arial" charset="0"/>
              </a:rPr>
              <a:t>© 2020. All rights reserved. IQVIA</a:t>
            </a:r>
            <a:r>
              <a:rPr lang="en-US" sz="800" baseline="30000" dirty="0">
                <a:solidFill>
                  <a:srgbClr val="A1D794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A1D794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738664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D0EBCA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2405892"/>
            <a:ext cx="7921554" cy="1107996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4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 eaLnBrk="1"/>
              <a:endParaRPr lang="en-US" sz="1600" dirty="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 eaLnBrk="1"/>
              <a:endParaRPr lang="en-US" sz="1600" dirty="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5BD961A-16B3-4302-B3E7-B071DDDD0DA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882166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Orange - IQVIA">
    <p:bg>
      <p:bgPr>
        <a:gradFill>
          <a:gsLst>
            <a:gs pos="20000">
              <a:srgbClr val="FE8A12"/>
            </a:gs>
            <a:gs pos="80000">
              <a:srgbClr val="F4C65A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7069E94-4B4A-4FD2-BCCD-4FDD587FDF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7069E94-4B4A-4FD2-BCCD-4FDD587FDF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9750042-5C99-47DD-9F43-BAE4557DDF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43329" y="6566113"/>
            <a:ext cx="7722832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/>
                </a:solidFill>
                <a:ea typeface="Arial" charset="0"/>
                <a:cs typeface="Arial" charset="0"/>
              </a:rPr>
              <a:t>© 2020. All rights reserved. IQVIA</a:t>
            </a:r>
            <a:r>
              <a:rPr lang="en-US" sz="800" baseline="30000" dirty="0">
                <a:solidFill>
                  <a:schemeClr val="bg1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73866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FFE2C4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2405892"/>
            <a:ext cx="7921554" cy="110799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rgbClr val="FE8A12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 eaLnBrk="1"/>
              <a:endParaRPr lang="en-US" sz="1600" dirty="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 eaLnBrk="1"/>
              <a:endParaRPr lang="en-US" sz="1600" dirty="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83BD821C-E541-4270-A01F-E9691109B86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3062916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White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0979BF-0CEB-4B1B-863E-0521123DA5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0979BF-0CEB-4B1B-863E-0521123DA5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A3CF7A0-3297-4A68-AA67-4076332D01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AB75BD1-2507-44E0-91E4-42F78B5D2D49}"/>
              </a:ext>
            </a:extLst>
          </p:cNvPr>
          <p:cNvSpPr txBox="1"/>
          <p:nvPr/>
        </p:nvSpPr>
        <p:spPr bwMode="black">
          <a:xfrm>
            <a:off x="740422" y="6566113"/>
            <a:ext cx="7722832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0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73866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2405892"/>
            <a:ext cx="7921554" cy="110799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29175BC-552B-D64A-8152-E96EE8CE39AF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D370C788-BCB9-AA4B-83CC-830DE2532168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 eaLnBrk="1"/>
              <a:endParaRPr lang="en-US" sz="1600" dirty="0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86A666F2-61DC-1141-A28D-9C664CF9E0D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 eaLnBrk="1"/>
              <a:endParaRPr lang="en-US" sz="1600" dirty="0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B36DAFEC-9E33-D342-8F38-9280EB50249D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14487FF1-1618-4249-B143-BEFFD4E4E8FD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E4418D72-B986-414A-97FC-FCCE7B7F1B53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B4C17C8-380D-41B2-8F4E-B2A6A80204A7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D82C82-AD27-49A1-AB10-24272A1884F7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892F22A-88D4-4FFC-B5E9-6BA1C634847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081544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o-Brand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DCA3D51-534B-44F6-B3F6-3ABEEA242E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DCA3D51-534B-44F6-B3F6-3ABEEA242E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388AE04-8A48-43CB-8C14-AE60CCD1B1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AB75BD1-2507-44E0-91E4-42F78B5D2D49}"/>
              </a:ext>
            </a:extLst>
          </p:cNvPr>
          <p:cNvSpPr txBox="1"/>
          <p:nvPr/>
        </p:nvSpPr>
        <p:spPr bwMode="black">
          <a:xfrm>
            <a:off x="740422" y="6566114"/>
            <a:ext cx="7722832" cy="1231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0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738664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2405892"/>
            <a:ext cx="7921554" cy="1107996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E5C45F24-760D-4806-80BF-4B954EEA03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55299" y="4854606"/>
            <a:ext cx="2324100" cy="134175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lIns="72000" tIns="72000" rIns="72000" bIns="72000">
            <a:noAutofit/>
          </a:bodyPr>
          <a:lstStyle>
            <a:lvl1pPr marL="0" indent="0" algn="l">
              <a:lnSpc>
                <a:spcPct val="95000"/>
              </a:lnSpc>
              <a:spcBef>
                <a:spcPts val="0"/>
              </a:spcBef>
              <a:buNone/>
              <a:defRPr sz="1000" b="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Bid defense only: You may replace this box with a sponsor logo. Ensure the logo is on a white or transparent background and you have usage permission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l other presentations, or without sponsor logo: Please delete this box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2EC9C87-CE31-4CA8-933C-B8C7C252CA86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1BC71F-4BC2-47A4-96C7-2E221AFAC45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DEBD35E-79D5-4A08-BBFB-35E25D1D2A66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9C359E7-88C6-42D4-9B64-F7D5FE9CDBC5}"/>
              </a:ext>
            </a:extLst>
          </p:cNvPr>
          <p:cNvGrpSpPr/>
          <p:nvPr/>
        </p:nvGrpSpPr>
        <p:grpSpPr>
          <a:xfrm>
            <a:off x="9941531" y="3804028"/>
            <a:ext cx="2250469" cy="2651308"/>
            <a:chOff x="9941531" y="3804028"/>
            <a:chExt cx="2250469" cy="2651308"/>
          </a:xfrm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4384A34-21CA-42A4-8E46-1EEAC237500E}"/>
                </a:ext>
              </a:extLst>
            </p:cNvPr>
            <p:cNvSpPr/>
            <p:nvPr/>
          </p:nvSpPr>
          <p:spPr>
            <a:xfrm>
              <a:off x="10755844" y="5906186"/>
              <a:ext cx="1436156" cy="549150"/>
            </a:xfrm>
            <a:custGeom>
              <a:avLst/>
              <a:gdLst>
                <a:gd name="connsiteX0" fmla="*/ 274575 w 1436156"/>
                <a:gd name="connsiteY0" fmla="*/ 0 h 549150"/>
                <a:gd name="connsiteX1" fmla="*/ 276477 w 1436156"/>
                <a:gd name="connsiteY1" fmla="*/ 192 h 549150"/>
                <a:gd name="connsiteX2" fmla="*/ 276477 w 1436156"/>
                <a:gd name="connsiteY2" fmla="*/ 0 h 549150"/>
                <a:gd name="connsiteX3" fmla="*/ 1436156 w 1436156"/>
                <a:gd name="connsiteY3" fmla="*/ 0 h 549150"/>
                <a:gd name="connsiteX4" fmla="*/ 1436156 w 1436156"/>
                <a:gd name="connsiteY4" fmla="*/ 549150 h 549150"/>
                <a:gd name="connsiteX5" fmla="*/ 276477 w 1436156"/>
                <a:gd name="connsiteY5" fmla="*/ 549150 h 549150"/>
                <a:gd name="connsiteX6" fmla="*/ 276477 w 1436156"/>
                <a:gd name="connsiteY6" fmla="*/ 548959 h 549150"/>
                <a:gd name="connsiteX7" fmla="*/ 274575 w 1436156"/>
                <a:gd name="connsiteY7" fmla="*/ 549150 h 549150"/>
                <a:gd name="connsiteX8" fmla="*/ 0 w 1436156"/>
                <a:gd name="connsiteY8" fmla="*/ 274575 h 549150"/>
                <a:gd name="connsiteX9" fmla="*/ 274575 w 1436156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36156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1436156" y="0"/>
                  </a:lnTo>
                  <a:lnTo>
                    <a:pt x="1436156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 eaLnBrk="1"/>
              <a:endParaRPr lang="en-US" sz="1600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0C482A3-7472-489E-8622-A62D97CBD17C}"/>
                </a:ext>
              </a:extLst>
            </p:cNvPr>
            <p:cNvSpPr/>
            <p:nvPr/>
          </p:nvSpPr>
          <p:spPr>
            <a:xfrm>
              <a:off x="10356354" y="3804028"/>
              <a:ext cx="1835646" cy="549150"/>
            </a:xfrm>
            <a:custGeom>
              <a:avLst/>
              <a:gdLst>
                <a:gd name="connsiteX0" fmla="*/ 274073 w 1835646"/>
                <a:gd name="connsiteY0" fmla="*/ 0 h 549150"/>
                <a:gd name="connsiteX1" fmla="*/ 278104 w 1835646"/>
                <a:gd name="connsiteY1" fmla="*/ 407 h 549150"/>
                <a:gd name="connsiteX2" fmla="*/ 278104 w 1835646"/>
                <a:gd name="connsiteY2" fmla="*/ 0 h 549150"/>
                <a:gd name="connsiteX3" fmla="*/ 1835646 w 1835646"/>
                <a:gd name="connsiteY3" fmla="*/ 0 h 549150"/>
                <a:gd name="connsiteX4" fmla="*/ 1835646 w 1835646"/>
                <a:gd name="connsiteY4" fmla="*/ 549150 h 549150"/>
                <a:gd name="connsiteX5" fmla="*/ 278104 w 1835646"/>
                <a:gd name="connsiteY5" fmla="*/ 549150 h 549150"/>
                <a:gd name="connsiteX6" fmla="*/ 278104 w 1835646"/>
                <a:gd name="connsiteY6" fmla="*/ 547742 h 549150"/>
                <a:gd name="connsiteX7" fmla="*/ 274073 w 1835646"/>
                <a:gd name="connsiteY7" fmla="*/ 548148 h 549150"/>
                <a:gd name="connsiteX8" fmla="*/ 0 w 1835646"/>
                <a:gd name="connsiteY8" fmla="*/ 274074 h 549150"/>
                <a:gd name="connsiteX9" fmla="*/ 274073 w 1835646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35646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1835646" y="0"/>
                  </a:lnTo>
                  <a:lnTo>
                    <a:pt x="1835646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 eaLnBrk="1"/>
              <a:endParaRPr lang="en-US" sz="1600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4C68CD5-1D99-4C2F-8258-B69F780AC527}"/>
                </a:ext>
              </a:extLst>
            </p:cNvPr>
            <p:cNvSpPr/>
            <p:nvPr/>
          </p:nvSpPr>
          <p:spPr>
            <a:xfrm>
              <a:off x="9941531" y="4854606"/>
              <a:ext cx="2250469" cy="549150"/>
            </a:xfrm>
            <a:custGeom>
              <a:avLst/>
              <a:gdLst>
                <a:gd name="connsiteX0" fmla="*/ 299044 w 2250469"/>
                <a:gd name="connsiteY0" fmla="*/ 0 h 549150"/>
                <a:gd name="connsiteX1" fmla="*/ 300889 w 2250469"/>
                <a:gd name="connsiteY1" fmla="*/ 171 h 549150"/>
                <a:gd name="connsiteX2" fmla="*/ 300889 w 2250469"/>
                <a:gd name="connsiteY2" fmla="*/ 0 h 549150"/>
                <a:gd name="connsiteX3" fmla="*/ 2250469 w 2250469"/>
                <a:gd name="connsiteY3" fmla="*/ 0 h 549150"/>
                <a:gd name="connsiteX4" fmla="*/ 2250469 w 2250469"/>
                <a:gd name="connsiteY4" fmla="*/ 549150 h 549150"/>
                <a:gd name="connsiteX5" fmla="*/ 300889 w 2250469"/>
                <a:gd name="connsiteY5" fmla="*/ 549150 h 549150"/>
                <a:gd name="connsiteX6" fmla="*/ 300889 w 2250469"/>
                <a:gd name="connsiteY6" fmla="*/ 548980 h 549150"/>
                <a:gd name="connsiteX7" fmla="*/ 299044 w 2250469"/>
                <a:gd name="connsiteY7" fmla="*/ 549150 h 549150"/>
                <a:gd name="connsiteX8" fmla="*/ 0 w 2250469"/>
                <a:gd name="connsiteY8" fmla="*/ 274575 h 549150"/>
                <a:gd name="connsiteX9" fmla="*/ 299044 w 2250469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469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2250469" y="0"/>
                  </a:lnTo>
                  <a:lnTo>
                    <a:pt x="2250469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</p:grpSp>
      <p:pic>
        <p:nvPicPr>
          <p:cNvPr id="18" name="Graphic 17">
            <a:extLst>
              <a:ext uri="{FF2B5EF4-FFF2-40B4-BE49-F238E27FC236}">
                <a16:creationId xmlns:a16="http://schemas.microsoft.com/office/drawing/2014/main" id="{585649F2-9546-4E19-99F0-E3F67E559D9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946784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168D127-270C-4136-B89E-8C065C31F5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168D127-270C-4136-B89E-8C065C31F5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43B7ED4-1A34-4FB6-B7CB-9864519249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79424" y="238126"/>
            <a:ext cx="11243830" cy="783972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90000"/>
              </a:lnSpc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79422" y="6567520"/>
            <a:ext cx="9021415" cy="110800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l" eaLnBrk="1">
              <a:lnSpc>
                <a:spcPct val="90000"/>
              </a:lnSpc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Sticker Placeholder 12">
            <a:extLst>
              <a:ext uri="{FF2B5EF4-FFF2-40B4-BE49-F238E27FC236}">
                <a16:creationId xmlns:a16="http://schemas.microsoft.com/office/drawing/2014/main" id="{B2182354-B223-4F2A-9AD4-7731E4F0DF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009" y="43374"/>
            <a:ext cx="11246237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buNone/>
              <a:tabLst>
                <a:tab pos="269875" algn="l"/>
              </a:tabLst>
              <a:defRPr sz="1200" b="1" cap="all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9" name="Note Placeholder 11">
            <a:extLst>
              <a:ext uri="{FF2B5EF4-FFF2-40B4-BE49-F238E27FC236}">
                <a16:creationId xmlns:a16="http://schemas.microsoft.com/office/drawing/2014/main" id="{5CC066C2-5E05-41AC-8EF0-6954628833B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7012" y="6118280"/>
            <a:ext cx="11246241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00">
                <a:latin typeface="Arial Narrow" panose="020B0606020202030204" pitchFamily="34" charset="0"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dirty="0"/>
              <a:t>Note</a:t>
            </a:r>
          </a:p>
        </p:txBody>
      </p:sp>
      <p:sp>
        <p:nvSpPr>
          <p:cNvPr id="10" name="Source Placeholder 10">
            <a:extLst>
              <a:ext uri="{FF2B5EF4-FFF2-40B4-BE49-F238E27FC236}">
                <a16:creationId xmlns:a16="http://schemas.microsoft.com/office/drawing/2014/main" id="{065262B4-AFEC-4A88-A7CC-33531EAB04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7013" y="6397157"/>
            <a:ext cx="9023824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00"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D946BBB-BF76-4FEB-BF7D-1F928D5B9B5F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23254" y="6555209"/>
            <a:ext cx="353088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FA01A3E1-4047-4AED-924B-3270E411C35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376299" y="6474454"/>
            <a:ext cx="1143000" cy="2159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D4AC426-31BF-4CCF-AD68-808605DA157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2661" y="6397157"/>
            <a:ext cx="815498" cy="350521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17731047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65AA91-3C08-4B41-A05E-ADDAFA0601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3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65AA91-3C08-4B41-A05E-ADDAFA0601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79422" y="6555209"/>
            <a:ext cx="9021415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l" eaLnBrk="1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55209"/>
            <a:ext cx="353088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7254769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0A694CA-9737-4DE2-93B1-B9DF716B34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0A694CA-9737-4DE2-93B1-B9DF716B34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EA06E42-7913-408C-895B-C40E9D5EAE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dirty="0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>
            <a:normAutofit/>
          </a:bodyPr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 eaLnBrk="1"/>
                <a:endParaRPr lang="en-US" sz="1600" dirty="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eaLnBrk="1"/>
              <a:endParaRPr lang="en-US" sz="1600" dirty="0"/>
            </a:p>
          </p:txBody>
        </p:sp>
      </p:grp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71C62C72-9A5F-471C-8AB5-09E2000B3A0A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23254" y="6555209"/>
            <a:ext cx="353088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64D30E4C-95A5-472E-87F3-2F57522A7AE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376299" y="6474454"/>
            <a:ext cx="1143000" cy="2159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94619776-DF10-446F-9F9A-FD1338C84A6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2661" y="6397157"/>
            <a:ext cx="815498" cy="350521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5207111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7.vml"/><Relationship Id="rId13" Type="http://schemas.openxmlformats.org/officeDocument/2006/relationships/oleObject" Target="../embeddings/oleObject18.bin"/><Relationship Id="rId3" Type="http://schemas.openxmlformats.org/officeDocument/2006/relationships/slideLayout" Target="../slideLayouts/slideLayout18.xml"/><Relationship Id="rId7" Type="http://schemas.openxmlformats.org/officeDocument/2006/relationships/theme" Target="../theme/theme2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oleObject" Target="../embeddings/oleObject17.bin"/><Relationship Id="rId5" Type="http://schemas.openxmlformats.org/officeDocument/2006/relationships/slideLayout" Target="../slideLayouts/slideLayout20.xml"/><Relationship Id="rId10" Type="http://schemas.openxmlformats.org/officeDocument/2006/relationships/tags" Target="../tags/tag33.xml"/><Relationship Id="rId4" Type="http://schemas.openxmlformats.org/officeDocument/2006/relationships/slideLayout" Target="../slideLayouts/slideLayout19.xml"/><Relationship Id="rId9" Type="http://schemas.openxmlformats.org/officeDocument/2006/relationships/tags" Target="../tags/tag32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B0E97C9-93F4-4E1F-90C1-CA44CFAA4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think-cell Slide" r:id="rId20" imgW="216" imgH="216" progId="TCLayout.ActiveDocument.1">
                  <p:embed/>
                </p:oleObj>
              </mc:Choice>
              <mc:Fallback>
                <p:oleObj name="think-cell Slide" r:id="rId20" imgW="216" imgH="2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B0E97C9-93F4-4E1F-90C1-CA44CFAA4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93EA310-7AB1-4831-9CBD-4C12D0D8C0E7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79425" y="6556297"/>
            <a:ext cx="11245850" cy="132624"/>
          </a:xfrm>
          <a:prstGeom prst="rect">
            <a:avLst/>
          </a:prstGeom>
          <a:noFill/>
        </p:spPr>
        <p:txBody>
          <a:bodyPr vert="horz" lIns="0" tIns="0" rIns="0" bIns="0" rtlCol="0" anchor="b" anchorCtr="0"/>
          <a:lstStyle>
            <a:lvl1pPr algn="l" eaLnBrk="1">
              <a:lnSpc>
                <a:spcPct val="90000"/>
              </a:lnSpc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DC861044-95A1-2B49-A60B-B4999A56CF9B}"/>
              </a:ext>
            </a:extLst>
          </p:cNvPr>
          <p:cNvGrpSpPr/>
          <p:nvPr/>
        </p:nvGrpSpPr>
        <p:grpSpPr>
          <a:xfrm>
            <a:off x="12325585" y="41736"/>
            <a:ext cx="1568505" cy="4234899"/>
            <a:chOff x="12325585" y="41736"/>
            <a:chExt cx="1568505" cy="4234899"/>
          </a:xfrm>
        </p:grpSpPr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E52E4A4F-48AC-314F-832A-152FAA431290}"/>
                </a:ext>
              </a:extLst>
            </p:cNvPr>
            <p:cNvSpPr/>
            <p:nvPr/>
          </p:nvSpPr>
          <p:spPr bwMode="gray">
            <a:xfrm>
              <a:off x="12798661" y="253916"/>
              <a:ext cx="284385" cy="284385"/>
            </a:xfrm>
            <a:prstGeom prst="rect">
              <a:avLst/>
            </a:prstGeom>
            <a:solidFill>
              <a:srgbClr val="7FD1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4778FF28-E215-F743-9488-882D8EDD0511}"/>
                </a:ext>
              </a:extLst>
            </p:cNvPr>
            <p:cNvSpPr/>
            <p:nvPr/>
          </p:nvSpPr>
          <p:spPr bwMode="gray">
            <a:xfrm>
              <a:off x="12798661" y="590140"/>
              <a:ext cx="284385" cy="284385"/>
            </a:xfrm>
            <a:prstGeom prst="rect">
              <a:avLst/>
            </a:prstGeom>
            <a:solidFill>
              <a:srgbClr val="7FAA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B1618DEE-18B6-D745-8EED-3ED1371E9198}"/>
                </a:ext>
              </a:extLst>
            </p:cNvPr>
            <p:cNvSpPr/>
            <p:nvPr/>
          </p:nvSpPr>
          <p:spPr bwMode="gray">
            <a:xfrm>
              <a:off x="13135211" y="253916"/>
              <a:ext cx="284385" cy="284385"/>
            </a:xfrm>
            <a:prstGeom prst="rect">
              <a:avLst/>
            </a:prstGeom>
            <a:solidFill>
              <a:srgbClr val="40BA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423BB6E3-FAB2-5F4B-B1C5-ECC7E64739F2}"/>
                </a:ext>
              </a:extLst>
            </p:cNvPr>
            <p:cNvSpPr/>
            <p:nvPr/>
          </p:nvSpPr>
          <p:spPr bwMode="gray">
            <a:xfrm>
              <a:off x="13135211" y="590140"/>
              <a:ext cx="284385" cy="284385"/>
            </a:xfrm>
            <a:prstGeom prst="rect">
              <a:avLst/>
            </a:prstGeom>
            <a:solidFill>
              <a:srgbClr val="4080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7D336131-DE9C-4C4E-BD70-9A4AC3A2929D}"/>
                </a:ext>
              </a:extLst>
            </p:cNvPr>
            <p:cNvSpPr/>
            <p:nvPr/>
          </p:nvSpPr>
          <p:spPr bwMode="gray">
            <a:xfrm>
              <a:off x="13471761" y="253916"/>
              <a:ext cx="284385" cy="284385"/>
            </a:xfrm>
            <a:prstGeom prst="rect">
              <a:avLst/>
            </a:prstGeom>
            <a:solidFill>
              <a:srgbClr val="BFE8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1275795E-B071-FE47-9C29-B3F692BBC02B}"/>
                </a:ext>
              </a:extLst>
            </p:cNvPr>
            <p:cNvSpPr/>
            <p:nvPr/>
          </p:nvSpPr>
          <p:spPr bwMode="gray">
            <a:xfrm>
              <a:off x="13471761" y="590140"/>
              <a:ext cx="284385" cy="284385"/>
            </a:xfrm>
            <a:prstGeom prst="rect">
              <a:avLst/>
            </a:prstGeom>
            <a:solidFill>
              <a:srgbClr val="BFD4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383B52BA-0D9D-134E-BA96-0A4FDACC53AE}"/>
                </a:ext>
              </a:extLst>
            </p:cNvPr>
            <p:cNvSpPr/>
            <p:nvPr/>
          </p:nvSpPr>
          <p:spPr bwMode="gray">
            <a:xfrm>
              <a:off x="12462111" y="928669"/>
              <a:ext cx="284385" cy="28438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D5E5BC3B-0E3A-2449-8ACA-85F6A951CB01}"/>
                </a:ext>
              </a:extLst>
            </p:cNvPr>
            <p:cNvSpPr/>
            <p:nvPr/>
          </p:nvSpPr>
          <p:spPr bwMode="gray">
            <a:xfrm>
              <a:off x="12798661" y="1935420"/>
              <a:ext cx="284385" cy="284385"/>
            </a:xfrm>
            <a:prstGeom prst="rect">
              <a:avLst/>
            </a:prstGeom>
            <a:solidFill>
              <a:srgbClr val="F7D9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8EFF8B2C-FC11-CD46-9C8A-BD730900B2A6}"/>
                </a:ext>
              </a:extLst>
            </p:cNvPr>
            <p:cNvSpPr/>
            <p:nvPr/>
          </p:nvSpPr>
          <p:spPr bwMode="gray">
            <a:xfrm>
              <a:off x="13135211" y="1935420"/>
              <a:ext cx="284385" cy="284385"/>
            </a:xfrm>
            <a:prstGeom prst="rect">
              <a:avLst/>
            </a:prstGeom>
            <a:solidFill>
              <a:srgbClr val="F4C6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952D731D-63C4-7E42-B942-5ADF27F0ADA2}"/>
                </a:ext>
              </a:extLst>
            </p:cNvPr>
            <p:cNvSpPr/>
            <p:nvPr/>
          </p:nvSpPr>
          <p:spPr bwMode="gray">
            <a:xfrm>
              <a:off x="13471761" y="1935420"/>
              <a:ext cx="284385" cy="284385"/>
            </a:xfrm>
            <a:prstGeom prst="rect">
              <a:avLst/>
            </a:prstGeom>
            <a:solidFill>
              <a:srgbClr val="FBEC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6E19D061-2CCE-864A-AFCF-BA62ED98CF10}"/>
                </a:ext>
              </a:extLst>
            </p:cNvPr>
            <p:cNvSpPr/>
            <p:nvPr/>
          </p:nvSpPr>
          <p:spPr bwMode="gray">
            <a:xfrm>
              <a:off x="12462111" y="592349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2A251A5D-E834-5447-953F-4148EC11C9B8}"/>
                </a:ext>
              </a:extLst>
            </p:cNvPr>
            <p:cNvSpPr/>
            <p:nvPr/>
          </p:nvSpPr>
          <p:spPr bwMode="gray">
            <a:xfrm>
              <a:off x="12798661" y="2271740"/>
              <a:ext cx="284385" cy="284385"/>
            </a:xfrm>
            <a:prstGeom prst="rect">
              <a:avLst/>
            </a:prstGeom>
            <a:solidFill>
              <a:srgbClr val="FEC4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9B01F80C-8595-A74C-AF49-6359801C9784}"/>
                </a:ext>
              </a:extLst>
            </p:cNvPr>
            <p:cNvSpPr/>
            <p:nvPr/>
          </p:nvSpPr>
          <p:spPr bwMode="gray">
            <a:xfrm>
              <a:off x="13135211" y="2271740"/>
              <a:ext cx="284385" cy="284385"/>
            </a:xfrm>
            <a:prstGeom prst="rect">
              <a:avLst/>
            </a:prstGeom>
            <a:solidFill>
              <a:srgbClr val="FEA7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BC6370F1-26AD-E041-BA8A-F7DA8D95B8CA}"/>
                </a:ext>
              </a:extLst>
            </p:cNvPr>
            <p:cNvSpPr/>
            <p:nvPr/>
          </p:nvSpPr>
          <p:spPr bwMode="gray">
            <a:xfrm>
              <a:off x="13471761" y="2271740"/>
              <a:ext cx="284385" cy="284385"/>
            </a:xfrm>
            <a:prstGeom prst="rect">
              <a:avLst/>
            </a:prstGeom>
            <a:solidFill>
              <a:srgbClr val="FFE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EAB45CE9-BB6C-0149-80BA-31C7AE5626C4}"/>
                </a:ext>
              </a:extLst>
            </p:cNvPr>
            <p:cNvSpPr/>
            <p:nvPr/>
          </p:nvSpPr>
          <p:spPr bwMode="gray">
            <a:xfrm>
              <a:off x="12462111" y="253916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FFB35FDC-2232-864F-BADD-661D156158D6}"/>
                </a:ext>
              </a:extLst>
            </p:cNvPr>
            <p:cNvSpPr/>
            <p:nvPr/>
          </p:nvSpPr>
          <p:spPr bwMode="gray">
            <a:xfrm>
              <a:off x="12798661" y="1596891"/>
              <a:ext cx="284385" cy="284385"/>
            </a:xfrm>
            <a:prstGeom prst="rect">
              <a:avLst/>
            </a:prstGeom>
            <a:solidFill>
              <a:srgbClr val="7FD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87CB333C-9A58-F740-B08D-09FA1D104B15}"/>
                </a:ext>
              </a:extLst>
            </p:cNvPr>
            <p:cNvSpPr/>
            <p:nvPr/>
          </p:nvSpPr>
          <p:spPr bwMode="gray">
            <a:xfrm>
              <a:off x="13135211" y="1596891"/>
              <a:ext cx="284385" cy="284385"/>
            </a:xfrm>
            <a:prstGeom prst="rect">
              <a:avLst/>
            </a:prstGeom>
            <a:solidFill>
              <a:srgbClr val="40CFC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6C89D992-5C10-3A45-BF16-4384F7BA6828}"/>
                </a:ext>
              </a:extLst>
            </p:cNvPr>
            <p:cNvSpPr/>
            <p:nvPr/>
          </p:nvSpPr>
          <p:spPr bwMode="gray">
            <a:xfrm>
              <a:off x="13471761" y="1596891"/>
              <a:ext cx="284385" cy="284385"/>
            </a:xfrm>
            <a:prstGeom prst="rect">
              <a:avLst/>
            </a:prstGeom>
            <a:solidFill>
              <a:srgbClr val="BFEF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1E77EE0C-3660-884F-B742-095D504276D0}"/>
                </a:ext>
              </a:extLst>
            </p:cNvPr>
            <p:cNvSpPr/>
            <p:nvPr/>
          </p:nvSpPr>
          <p:spPr bwMode="gray">
            <a:xfrm>
              <a:off x="12462111" y="3533419"/>
              <a:ext cx="284385" cy="28438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2EEF83AE-8A27-C44A-9324-FA3A4896B8F4}"/>
                </a:ext>
              </a:extLst>
            </p:cNvPr>
            <p:cNvSpPr/>
            <p:nvPr/>
          </p:nvSpPr>
          <p:spPr bwMode="gray">
            <a:xfrm>
              <a:off x="13135211" y="3533419"/>
              <a:ext cx="284385" cy="28438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66F34DD6-075B-DD4E-91FD-7C3135028198}"/>
                </a:ext>
              </a:extLst>
            </p:cNvPr>
            <p:cNvSpPr/>
            <p:nvPr/>
          </p:nvSpPr>
          <p:spPr bwMode="gray">
            <a:xfrm>
              <a:off x="13471760" y="3533419"/>
              <a:ext cx="284385" cy="284385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7045834D-FFE6-DA41-B70D-07AFA78D8BEC}"/>
                </a:ext>
              </a:extLst>
            </p:cNvPr>
            <p:cNvSpPr/>
            <p:nvPr/>
          </p:nvSpPr>
          <p:spPr bwMode="gray">
            <a:xfrm>
              <a:off x="12798661" y="3533419"/>
              <a:ext cx="284385" cy="284385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93C60060-D439-1846-8187-6B3648AB779C}"/>
                </a:ext>
              </a:extLst>
            </p:cNvPr>
            <p:cNvSpPr/>
            <p:nvPr/>
          </p:nvSpPr>
          <p:spPr bwMode="gray">
            <a:xfrm>
              <a:off x="12462111" y="2610269"/>
              <a:ext cx="284385" cy="284385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194537A3-815B-654F-9405-8FC3B6F0C70F}"/>
                </a:ext>
              </a:extLst>
            </p:cNvPr>
            <p:cNvSpPr/>
            <p:nvPr/>
          </p:nvSpPr>
          <p:spPr bwMode="gray">
            <a:xfrm>
              <a:off x="12462111" y="1937629"/>
              <a:ext cx="284385" cy="28438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0B73106B-51C5-D541-9A87-B5CF0BC15FB3}"/>
                </a:ext>
              </a:extLst>
            </p:cNvPr>
            <p:cNvSpPr/>
            <p:nvPr/>
          </p:nvSpPr>
          <p:spPr bwMode="gray">
            <a:xfrm>
              <a:off x="12462111" y="227174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CD23B5AC-DE23-104B-8B31-0D484A7F8E82}"/>
                </a:ext>
              </a:extLst>
            </p:cNvPr>
            <p:cNvSpPr/>
            <p:nvPr/>
          </p:nvSpPr>
          <p:spPr bwMode="gray">
            <a:xfrm>
              <a:off x="12462111" y="1601309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04E537CA-716E-A04D-A674-A23B2F9F0641}"/>
                </a:ext>
              </a:extLst>
            </p:cNvPr>
            <p:cNvSpPr/>
            <p:nvPr/>
          </p:nvSpPr>
          <p:spPr bwMode="gray">
            <a:xfrm>
              <a:off x="12462111" y="1264989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0E022DD8-7E50-6B40-9A0A-BB12BA4CB6EA}"/>
                </a:ext>
              </a:extLst>
            </p:cNvPr>
            <p:cNvSpPr/>
            <p:nvPr/>
          </p:nvSpPr>
          <p:spPr bwMode="gray">
            <a:xfrm>
              <a:off x="12462111" y="3074588"/>
              <a:ext cx="284385" cy="284385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452789F3-816A-A644-BB73-0EBCDF25BAB5}"/>
                </a:ext>
              </a:extLst>
            </p:cNvPr>
            <p:cNvSpPr/>
            <p:nvPr/>
          </p:nvSpPr>
          <p:spPr bwMode="gray">
            <a:xfrm>
              <a:off x="12798661" y="2610269"/>
              <a:ext cx="284385" cy="284385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1398C4E5-4403-FC41-9A95-9A4D9240F6E5}"/>
                </a:ext>
              </a:extLst>
            </p:cNvPr>
            <p:cNvSpPr/>
            <p:nvPr/>
          </p:nvSpPr>
          <p:spPr bwMode="gray">
            <a:xfrm>
              <a:off x="12798661" y="1264989"/>
              <a:ext cx="284385" cy="284385"/>
            </a:xfrm>
            <a:prstGeom prst="rect">
              <a:avLst/>
            </a:prstGeom>
            <a:solidFill>
              <a:srgbClr val="80B8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894006C7-064B-7D49-916C-7FD52454F72C}"/>
                </a:ext>
              </a:extLst>
            </p:cNvPr>
            <p:cNvSpPr/>
            <p:nvPr/>
          </p:nvSpPr>
          <p:spPr bwMode="gray">
            <a:xfrm>
              <a:off x="12798661" y="928669"/>
              <a:ext cx="284385" cy="284385"/>
            </a:xfrm>
            <a:prstGeom prst="rect">
              <a:avLst/>
            </a:prstGeom>
            <a:solidFill>
              <a:srgbClr val="A1D7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D4188D44-56F8-0A4B-82CC-98A72AAAED7D}"/>
                </a:ext>
              </a:extLst>
            </p:cNvPr>
            <p:cNvSpPr/>
            <p:nvPr/>
          </p:nvSpPr>
          <p:spPr bwMode="gray">
            <a:xfrm>
              <a:off x="13135211" y="2610269"/>
              <a:ext cx="284385" cy="284385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3C36ECE3-857B-D44D-8E8A-B01F5907C1C0}"/>
                </a:ext>
              </a:extLst>
            </p:cNvPr>
            <p:cNvSpPr/>
            <p:nvPr/>
          </p:nvSpPr>
          <p:spPr bwMode="gray">
            <a:xfrm>
              <a:off x="13135211" y="1264989"/>
              <a:ext cx="284385" cy="284385"/>
            </a:xfrm>
            <a:prstGeom prst="rect">
              <a:avLst/>
            </a:prstGeom>
            <a:solidFill>
              <a:srgbClr val="4195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FF5D37CA-B7D6-B840-BB93-5B58E0D65FC5}"/>
                </a:ext>
              </a:extLst>
            </p:cNvPr>
            <p:cNvSpPr/>
            <p:nvPr/>
          </p:nvSpPr>
          <p:spPr bwMode="gray">
            <a:xfrm>
              <a:off x="13135211" y="928669"/>
              <a:ext cx="284385" cy="284385"/>
            </a:xfrm>
            <a:prstGeom prst="rect">
              <a:avLst/>
            </a:prstGeom>
            <a:solidFill>
              <a:srgbClr val="72C4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3A568378-A642-8843-ABE4-1D22617BABE9}"/>
                </a:ext>
              </a:extLst>
            </p:cNvPr>
            <p:cNvSpPr/>
            <p:nvPr/>
          </p:nvSpPr>
          <p:spPr bwMode="gray">
            <a:xfrm>
              <a:off x="13471761" y="2610269"/>
              <a:ext cx="284385" cy="284385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B2996DBD-9E22-D94C-8451-B43D1A1022A9}"/>
                </a:ext>
              </a:extLst>
            </p:cNvPr>
            <p:cNvSpPr/>
            <p:nvPr/>
          </p:nvSpPr>
          <p:spPr bwMode="gray">
            <a:xfrm>
              <a:off x="13471761" y="1264989"/>
              <a:ext cx="284385" cy="284385"/>
            </a:xfrm>
            <a:prstGeom prst="rect">
              <a:avLst/>
            </a:prstGeom>
            <a:solidFill>
              <a:srgbClr val="C0DC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BFA95D0E-D116-A94A-9C75-FF2794EFC7E5}"/>
                </a:ext>
              </a:extLst>
            </p:cNvPr>
            <p:cNvSpPr/>
            <p:nvPr/>
          </p:nvSpPr>
          <p:spPr bwMode="gray">
            <a:xfrm>
              <a:off x="13471761" y="928669"/>
              <a:ext cx="284385" cy="284385"/>
            </a:xfrm>
            <a:prstGeom prst="rect">
              <a:avLst/>
            </a:prstGeom>
            <a:solidFill>
              <a:srgbClr val="D0EB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10598390-A137-A449-B489-8A878F15F4DD}"/>
                </a:ext>
              </a:extLst>
            </p:cNvPr>
            <p:cNvSpPr txBox="1"/>
            <p:nvPr/>
          </p:nvSpPr>
          <p:spPr>
            <a:xfrm>
              <a:off x="12325585" y="41736"/>
              <a:ext cx="156850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</a:rPr>
                <a:t>100%  50%   75%   25%</a:t>
              </a: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680A1A6A-874F-134B-A8DD-3CD456B31D0B}"/>
                </a:ext>
              </a:extLst>
            </p:cNvPr>
            <p:cNvSpPr/>
            <p:nvPr/>
          </p:nvSpPr>
          <p:spPr bwMode="gray">
            <a:xfrm>
              <a:off x="12462110" y="3992250"/>
              <a:ext cx="284385" cy="284385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971869EA-DDF0-F64D-9255-984F57AD749E}"/>
                </a:ext>
              </a:extLst>
            </p:cNvPr>
            <p:cNvSpPr txBox="1"/>
            <p:nvPr/>
          </p:nvSpPr>
          <p:spPr>
            <a:xfrm>
              <a:off x="12759146" y="4026720"/>
              <a:ext cx="774571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5% Charcoal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3CC58985-6F6A-8540-ABC2-450EF4A8FB42}"/>
              </a:ext>
            </a:extLst>
          </p:cNvPr>
          <p:cNvSpPr txBox="1"/>
          <p:nvPr/>
        </p:nvSpPr>
        <p:spPr bwMode="black">
          <a:xfrm>
            <a:off x="5131676" y="7001589"/>
            <a:ext cx="7060325" cy="24622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0" i="0" u="none" strike="noStrike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IQVIA Template (V2.0.1)</a:t>
            </a:r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8D7EB301-8D8A-4810-BC6B-C2BBA9F98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38125"/>
            <a:ext cx="11249025" cy="781049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/>
              <a:t>Headlines Are 28pt Arial Bold Title Cas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1F5C4C-7A28-4319-B9AE-D6F0022602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6252" y="1657350"/>
            <a:ext cx="11249024" cy="43338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dirty="0"/>
              <a:t>Arial 14pt bullet level 1</a:t>
            </a:r>
          </a:p>
          <a:p>
            <a:pPr marL="342900" lvl="1" indent="-1714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</a:pPr>
            <a:r>
              <a:rPr lang="en-US" dirty="0"/>
              <a:t>Arial 14pt bullet level 2</a:t>
            </a:r>
          </a:p>
          <a:p>
            <a:pPr marL="571500" lvl="2" indent="-1714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</a:pPr>
            <a:r>
              <a:rPr lang="en-US" dirty="0"/>
              <a:t>Arial 14pt bullet level 3</a:t>
            </a:r>
          </a:p>
          <a:p>
            <a:pPr marL="742950" lvl="3" indent="-1714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</a:pPr>
            <a:r>
              <a:rPr lang="en-US" dirty="0"/>
              <a:t>Arial 14pt bullet level 4</a:t>
            </a:r>
          </a:p>
          <a:p>
            <a:pPr marL="914400" lvl="4" indent="-1714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US" dirty="0"/>
              <a:t>Arial 14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2190892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40" r:id="rId8"/>
    <p:sldLayoutId id="2147483841" r:id="rId9"/>
    <p:sldLayoutId id="2147483846" r:id="rId10"/>
    <p:sldLayoutId id="2147483847" r:id="rId11"/>
    <p:sldLayoutId id="2147483848" r:id="rId12"/>
    <p:sldLayoutId id="2147483849" r:id="rId13"/>
    <p:sldLayoutId id="2147483850" r:id="rId14"/>
    <p:sldLayoutId id="2147483887" r:id="rId1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4295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572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2870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0">
          <p15:clr>
            <a:srgbClr val="A4A3A4"/>
          </p15:clr>
        </p15:guide>
        <p15:guide id="2" pos="302">
          <p15:clr>
            <a:srgbClr val="A4A3A4"/>
          </p15:clr>
        </p15:guide>
        <p15:guide id="3" pos="7386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709">
          <p15:clr>
            <a:srgbClr val="A4A3A4"/>
          </p15:clr>
        </p15:guide>
        <p15:guide id="6" orient="horz" pos="3774">
          <p15:clr>
            <a:srgbClr val="A4A3A4"/>
          </p15:clr>
        </p15:guide>
        <p15:guide id="7" orient="horz" pos="3852">
          <p15:clr>
            <a:srgbClr val="A4A3A4"/>
          </p15:clr>
        </p15:guide>
        <p15:guide id="8" orient="horz" pos="888">
          <p15:clr>
            <a:srgbClr val="A4A3A4"/>
          </p15:clr>
        </p15:guide>
        <p15:guide id="9" orient="horz" pos="1038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EC991E-2207-47BC-B339-BE413C864654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2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EC991E-2207-47BC-B339-BE413C8646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77013" y="6556296"/>
            <a:ext cx="75600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 dirty="0"/>
              <a:t>IQVIA Confidential</a:t>
            </a:r>
          </a:p>
        </p:txBody>
      </p:sp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B8C81F4D-E582-4E02-9A09-0E57E71831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3" name="think-cell Slide" r:id="rId13" imgW="216" imgH="216" progId="TCLayout.ActiveDocument.1">
                  <p:embed/>
                </p:oleObj>
              </mc:Choice>
              <mc:Fallback>
                <p:oleObj name="think-cell Slide" r:id="rId13" imgW="216" imgH="216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B8C81F4D-E582-4E02-9A09-0E57E71831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65524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82" r:id="rId2"/>
    <p:sldLayoutId id="2147483883" r:id="rId3"/>
    <p:sldLayoutId id="2147483884" r:id="rId4"/>
    <p:sldLayoutId id="2147483886" r:id="rId5"/>
    <p:sldLayoutId id="2147483888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56.xml"/><Relationship Id="rId18" Type="http://schemas.openxmlformats.org/officeDocument/2006/relationships/tags" Target="../tags/tag61.xml"/><Relationship Id="rId26" Type="http://schemas.openxmlformats.org/officeDocument/2006/relationships/tags" Target="../tags/tag69.xml"/><Relationship Id="rId3" Type="http://schemas.openxmlformats.org/officeDocument/2006/relationships/tags" Target="../tags/tag46.xml"/><Relationship Id="rId21" Type="http://schemas.openxmlformats.org/officeDocument/2006/relationships/tags" Target="../tags/tag64.xml"/><Relationship Id="rId34" Type="http://schemas.microsoft.com/office/2007/relationships/diagramDrawing" Target="../diagrams/drawing1.xml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17" Type="http://schemas.openxmlformats.org/officeDocument/2006/relationships/tags" Target="../tags/tag60.xml"/><Relationship Id="rId25" Type="http://schemas.openxmlformats.org/officeDocument/2006/relationships/tags" Target="../tags/tag68.xml"/><Relationship Id="rId33" Type="http://schemas.openxmlformats.org/officeDocument/2006/relationships/diagramColors" Target="../diagrams/colors1.xml"/><Relationship Id="rId2" Type="http://schemas.openxmlformats.org/officeDocument/2006/relationships/tags" Target="../tags/tag45.xml"/><Relationship Id="rId16" Type="http://schemas.openxmlformats.org/officeDocument/2006/relationships/tags" Target="../tags/tag59.xml"/><Relationship Id="rId20" Type="http://schemas.openxmlformats.org/officeDocument/2006/relationships/tags" Target="../tags/tag63.xml"/><Relationship Id="rId29" Type="http://schemas.openxmlformats.org/officeDocument/2006/relationships/image" Target="../media/image1.emf"/><Relationship Id="rId1" Type="http://schemas.openxmlformats.org/officeDocument/2006/relationships/vmlDrawing" Target="../drawings/vmlDrawing24.v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24" Type="http://schemas.openxmlformats.org/officeDocument/2006/relationships/tags" Target="../tags/tag67.xml"/><Relationship Id="rId32" Type="http://schemas.openxmlformats.org/officeDocument/2006/relationships/diagramQuickStyle" Target="../diagrams/quickStyle1.xml"/><Relationship Id="rId5" Type="http://schemas.openxmlformats.org/officeDocument/2006/relationships/tags" Target="../tags/tag48.xml"/><Relationship Id="rId15" Type="http://schemas.openxmlformats.org/officeDocument/2006/relationships/tags" Target="../tags/tag58.xml"/><Relationship Id="rId23" Type="http://schemas.openxmlformats.org/officeDocument/2006/relationships/tags" Target="../tags/tag66.xml"/><Relationship Id="rId28" Type="http://schemas.openxmlformats.org/officeDocument/2006/relationships/oleObject" Target="../embeddings/oleObject25.bin"/><Relationship Id="rId10" Type="http://schemas.openxmlformats.org/officeDocument/2006/relationships/tags" Target="../tags/tag53.xml"/><Relationship Id="rId19" Type="http://schemas.openxmlformats.org/officeDocument/2006/relationships/tags" Target="../tags/tag62.xml"/><Relationship Id="rId31" Type="http://schemas.openxmlformats.org/officeDocument/2006/relationships/diagramLayout" Target="../diagrams/layout1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Relationship Id="rId22" Type="http://schemas.openxmlformats.org/officeDocument/2006/relationships/tags" Target="../tags/tag65.xml"/><Relationship Id="rId27" Type="http://schemas.openxmlformats.org/officeDocument/2006/relationships/slideLayout" Target="../slideLayouts/slideLayout20.xml"/><Relationship Id="rId30" Type="http://schemas.openxmlformats.org/officeDocument/2006/relationships/diagramData" Target="../diagrams/data1.xml"/><Relationship Id="rId35" Type="http://schemas.openxmlformats.org/officeDocument/2006/relationships/chart" Target="../charts/chart1.xml"/><Relationship Id="rId8" Type="http://schemas.openxmlformats.org/officeDocument/2006/relationships/tags" Target="../tags/tag51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81.xml"/><Relationship Id="rId18" Type="http://schemas.openxmlformats.org/officeDocument/2006/relationships/tags" Target="../tags/tag86.xml"/><Relationship Id="rId26" Type="http://schemas.openxmlformats.org/officeDocument/2006/relationships/tags" Target="../tags/tag94.xml"/><Relationship Id="rId39" Type="http://schemas.openxmlformats.org/officeDocument/2006/relationships/tags" Target="../tags/tag107.xml"/><Relationship Id="rId21" Type="http://schemas.openxmlformats.org/officeDocument/2006/relationships/tags" Target="../tags/tag89.xml"/><Relationship Id="rId34" Type="http://schemas.openxmlformats.org/officeDocument/2006/relationships/tags" Target="../tags/tag102.xml"/><Relationship Id="rId42" Type="http://schemas.openxmlformats.org/officeDocument/2006/relationships/tags" Target="../tags/tag110.xml"/><Relationship Id="rId47" Type="http://schemas.openxmlformats.org/officeDocument/2006/relationships/tags" Target="../tags/tag115.xml"/><Relationship Id="rId50" Type="http://schemas.openxmlformats.org/officeDocument/2006/relationships/tags" Target="../tags/tag118.xml"/><Relationship Id="rId7" Type="http://schemas.openxmlformats.org/officeDocument/2006/relationships/tags" Target="../tags/tag75.xml"/><Relationship Id="rId2" Type="http://schemas.openxmlformats.org/officeDocument/2006/relationships/tags" Target="../tags/tag70.xml"/><Relationship Id="rId16" Type="http://schemas.openxmlformats.org/officeDocument/2006/relationships/tags" Target="../tags/tag84.xml"/><Relationship Id="rId29" Type="http://schemas.openxmlformats.org/officeDocument/2006/relationships/tags" Target="../tags/tag97.xml"/><Relationship Id="rId11" Type="http://schemas.openxmlformats.org/officeDocument/2006/relationships/tags" Target="../tags/tag79.xml"/><Relationship Id="rId24" Type="http://schemas.openxmlformats.org/officeDocument/2006/relationships/tags" Target="../tags/tag92.xml"/><Relationship Id="rId32" Type="http://schemas.openxmlformats.org/officeDocument/2006/relationships/tags" Target="../tags/tag100.xml"/><Relationship Id="rId37" Type="http://schemas.openxmlformats.org/officeDocument/2006/relationships/tags" Target="../tags/tag105.xml"/><Relationship Id="rId40" Type="http://schemas.openxmlformats.org/officeDocument/2006/relationships/tags" Target="../tags/tag108.xml"/><Relationship Id="rId45" Type="http://schemas.openxmlformats.org/officeDocument/2006/relationships/tags" Target="../tags/tag113.xml"/><Relationship Id="rId53" Type="http://schemas.openxmlformats.org/officeDocument/2006/relationships/image" Target="../media/image1.emf"/><Relationship Id="rId5" Type="http://schemas.openxmlformats.org/officeDocument/2006/relationships/tags" Target="../tags/tag73.xml"/><Relationship Id="rId10" Type="http://schemas.openxmlformats.org/officeDocument/2006/relationships/tags" Target="../tags/tag78.xml"/><Relationship Id="rId19" Type="http://schemas.openxmlformats.org/officeDocument/2006/relationships/tags" Target="../tags/tag87.xml"/><Relationship Id="rId31" Type="http://schemas.openxmlformats.org/officeDocument/2006/relationships/tags" Target="../tags/tag99.xml"/><Relationship Id="rId44" Type="http://schemas.openxmlformats.org/officeDocument/2006/relationships/tags" Target="../tags/tag112.xml"/><Relationship Id="rId52" Type="http://schemas.openxmlformats.org/officeDocument/2006/relationships/oleObject" Target="../embeddings/oleObject26.bin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Relationship Id="rId22" Type="http://schemas.openxmlformats.org/officeDocument/2006/relationships/tags" Target="../tags/tag90.xml"/><Relationship Id="rId27" Type="http://schemas.openxmlformats.org/officeDocument/2006/relationships/tags" Target="../tags/tag95.xml"/><Relationship Id="rId30" Type="http://schemas.openxmlformats.org/officeDocument/2006/relationships/tags" Target="../tags/tag98.xml"/><Relationship Id="rId35" Type="http://schemas.openxmlformats.org/officeDocument/2006/relationships/tags" Target="../tags/tag103.xml"/><Relationship Id="rId43" Type="http://schemas.openxmlformats.org/officeDocument/2006/relationships/tags" Target="../tags/tag111.xml"/><Relationship Id="rId48" Type="http://schemas.openxmlformats.org/officeDocument/2006/relationships/tags" Target="../tags/tag116.xml"/><Relationship Id="rId8" Type="http://schemas.openxmlformats.org/officeDocument/2006/relationships/tags" Target="../tags/tag76.xml"/><Relationship Id="rId51" Type="http://schemas.openxmlformats.org/officeDocument/2006/relationships/slideLayout" Target="../slideLayouts/slideLayout21.xml"/><Relationship Id="rId3" Type="http://schemas.openxmlformats.org/officeDocument/2006/relationships/tags" Target="../tags/tag71.xml"/><Relationship Id="rId12" Type="http://schemas.openxmlformats.org/officeDocument/2006/relationships/tags" Target="../tags/tag80.xml"/><Relationship Id="rId17" Type="http://schemas.openxmlformats.org/officeDocument/2006/relationships/tags" Target="../tags/tag85.xml"/><Relationship Id="rId25" Type="http://schemas.openxmlformats.org/officeDocument/2006/relationships/tags" Target="../tags/tag93.xml"/><Relationship Id="rId33" Type="http://schemas.openxmlformats.org/officeDocument/2006/relationships/tags" Target="../tags/tag101.xml"/><Relationship Id="rId38" Type="http://schemas.openxmlformats.org/officeDocument/2006/relationships/tags" Target="../tags/tag106.xml"/><Relationship Id="rId46" Type="http://schemas.openxmlformats.org/officeDocument/2006/relationships/tags" Target="../tags/tag114.xml"/><Relationship Id="rId20" Type="http://schemas.openxmlformats.org/officeDocument/2006/relationships/tags" Target="../tags/tag88.xml"/><Relationship Id="rId41" Type="http://schemas.openxmlformats.org/officeDocument/2006/relationships/tags" Target="../tags/tag109.xml"/><Relationship Id="rId54" Type="http://schemas.openxmlformats.org/officeDocument/2006/relationships/chart" Target="../charts/chart2.xml"/><Relationship Id="rId1" Type="http://schemas.openxmlformats.org/officeDocument/2006/relationships/vmlDrawing" Target="../drawings/vmlDrawing25.vml"/><Relationship Id="rId6" Type="http://schemas.openxmlformats.org/officeDocument/2006/relationships/tags" Target="../tags/tag74.xml"/><Relationship Id="rId15" Type="http://schemas.openxmlformats.org/officeDocument/2006/relationships/tags" Target="../tags/tag83.xml"/><Relationship Id="rId23" Type="http://schemas.openxmlformats.org/officeDocument/2006/relationships/tags" Target="../tags/tag91.xml"/><Relationship Id="rId28" Type="http://schemas.openxmlformats.org/officeDocument/2006/relationships/tags" Target="../tags/tag96.xml"/><Relationship Id="rId36" Type="http://schemas.openxmlformats.org/officeDocument/2006/relationships/tags" Target="../tags/tag104.xml"/><Relationship Id="rId49" Type="http://schemas.openxmlformats.org/officeDocument/2006/relationships/tags" Target="../tags/tag117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30.xml"/><Relationship Id="rId18" Type="http://schemas.openxmlformats.org/officeDocument/2006/relationships/tags" Target="../tags/tag135.xml"/><Relationship Id="rId26" Type="http://schemas.openxmlformats.org/officeDocument/2006/relationships/tags" Target="../tags/tag143.xml"/><Relationship Id="rId39" Type="http://schemas.openxmlformats.org/officeDocument/2006/relationships/slideLayout" Target="../slideLayouts/slideLayout20.xml"/><Relationship Id="rId21" Type="http://schemas.openxmlformats.org/officeDocument/2006/relationships/tags" Target="../tags/tag138.xml"/><Relationship Id="rId34" Type="http://schemas.openxmlformats.org/officeDocument/2006/relationships/tags" Target="../tags/tag151.xml"/><Relationship Id="rId42" Type="http://schemas.openxmlformats.org/officeDocument/2006/relationships/chart" Target="../charts/chart3.xml"/><Relationship Id="rId7" Type="http://schemas.openxmlformats.org/officeDocument/2006/relationships/tags" Target="../tags/tag124.xml"/><Relationship Id="rId2" Type="http://schemas.openxmlformats.org/officeDocument/2006/relationships/tags" Target="../tags/tag119.xml"/><Relationship Id="rId16" Type="http://schemas.openxmlformats.org/officeDocument/2006/relationships/tags" Target="../tags/tag133.xml"/><Relationship Id="rId20" Type="http://schemas.openxmlformats.org/officeDocument/2006/relationships/tags" Target="../tags/tag137.xml"/><Relationship Id="rId29" Type="http://schemas.openxmlformats.org/officeDocument/2006/relationships/tags" Target="../tags/tag146.xml"/><Relationship Id="rId41" Type="http://schemas.openxmlformats.org/officeDocument/2006/relationships/image" Target="../media/image1.emf"/><Relationship Id="rId1" Type="http://schemas.openxmlformats.org/officeDocument/2006/relationships/vmlDrawing" Target="../drawings/vmlDrawing26.vml"/><Relationship Id="rId6" Type="http://schemas.openxmlformats.org/officeDocument/2006/relationships/tags" Target="../tags/tag123.xml"/><Relationship Id="rId11" Type="http://schemas.openxmlformats.org/officeDocument/2006/relationships/tags" Target="../tags/tag128.xml"/><Relationship Id="rId24" Type="http://schemas.openxmlformats.org/officeDocument/2006/relationships/tags" Target="../tags/tag141.xml"/><Relationship Id="rId32" Type="http://schemas.openxmlformats.org/officeDocument/2006/relationships/tags" Target="../tags/tag149.xml"/><Relationship Id="rId37" Type="http://schemas.openxmlformats.org/officeDocument/2006/relationships/tags" Target="../tags/tag154.xml"/><Relationship Id="rId40" Type="http://schemas.openxmlformats.org/officeDocument/2006/relationships/oleObject" Target="../embeddings/oleObject27.bin"/><Relationship Id="rId5" Type="http://schemas.openxmlformats.org/officeDocument/2006/relationships/tags" Target="../tags/tag122.xml"/><Relationship Id="rId15" Type="http://schemas.openxmlformats.org/officeDocument/2006/relationships/tags" Target="../tags/tag132.xml"/><Relationship Id="rId23" Type="http://schemas.openxmlformats.org/officeDocument/2006/relationships/tags" Target="../tags/tag140.xml"/><Relationship Id="rId28" Type="http://schemas.openxmlformats.org/officeDocument/2006/relationships/tags" Target="../tags/tag145.xml"/><Relationship Id="rId36" Type="http://schemas.openxmlformats.org/officeDocument/2006/relationships/tags" Target="../tags/tag153.xml"/><Relationship Id="rId10" Type="http://schemas.openxmlformats.org/officeDocument/2006/relationships/tags" Target="../tags/tag127.xml"/><Relationship Id="rId19" Type="http://schemas.openxmlformats.org/officeDocument/2006/relationships/tags" Target="../tags/tag136.xml"/><Relationship Id="rId31" Type="http://schemas.openxmlformats.org/officeDocument/2006/relationships/tags" Target="../tags/tag148.xml"/><Relationship Id="rId4" Type="http://schemas.openxmlformats.org/officeDocument/2006/relationships/tags" Target="../tags/tag121.xml"/><Relationship Id="rId9" Type="http://schemas.openxmlformats.org/officeDocument/2006/relationships/tags" Target="../tags/tag126.xml"/><Relationship Id="rId14" Type="http://schemas.openxmlformats.org/officeDocument/2006/relationships/tags" Target="../tags/tag131.xml"/><Relationship Id="rId22" Type="http://schemas.openxmlformats.org/officeDocument/2006/relationships/tags" Target="../tags/tag139.xml"/><Relationship Id="rId27" Type="http://schemas.openxmlformats.org/officeDocument/2006/relationships/tags" Target="../tags/tag144.xml"/><Relationship Id="rId30" Type="http://schemas.openxmlformats.org/officeDocument/2006/relationships/tags" Target="../tags/tag147.xml"/><Relationship Id="rId35" Type="http://schemas.openxmlformats.org/officeDocument/2006/relationships/tags" Target="../tags/tag152.xml"/><Relationship Id="rId8" Type="http://schemas.openxmlformats.org/officeDocument/2006/relationships/tags" Target="../tags/tag125.xml"/><Relationship Id="rId3" Type="http://schemas.openxmlformats.org/officeDocument/2006/relationships/tags" Target="../tags/tag120.xml"/><Relationship Id="rId12" Type="http://schemas.openxmlformats.org/officeDocument/2006/relationships/tags" Target="../tags/tag129.xml"/><Relationship Id="rId17" Type="http://schemas.openxmlformats.org/officeDocument/2006/relationships/tags" Target="../tags/tag134.xml"/><Relationship Id="rId25" Type="http://schemas.openxmlformats.org/officeDocument/2006/relationships/tags" Target="../tags/tag142.xml"/><Relationship Id="rId33" Type="http://schemas.openxmlformats.org/officeDocument/2006/relationships/tags" Target="../tags/tag150.xml"/><Relationship Id="rId38" Type="http://schemas.openxmlformats.org/officeDocument/2006/relationships/tags" Target="../tags/tag155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67.xml"/><Relationship Id="rId18" Type="http://schemas.openxmlformats.org/officeDocument/2006/relationships/tags" Target="../tags/tag172.xml"/><Relationship Id="rId26" Type="http://schemas.openxmlformats.org/officeDocument/2006/relationships/tags" Target="../tags/tag180.xml"/><Relationship Id="rId39" Type="http://schemas.openxmlformats.org/officeDocument/2006/relationships/tags" Target="../tags/tag193.xml"/><Relationship Id="rId21" Type="http://schemas.openxmlformats.org/officeDocument/2006/relationships/tags" Target="../tags/tag175.xml"/><Relationship Id="rId34" Type="http://schemas.openxmlformats.org/officeDocument/2006/relationships/tags" Target="../tags/tag188.xml"/><Relationship Id="rId42" Type="http://schemas.openxmlformats.org/officeDocument/2006/relationships/tags" Target="../tags/tag196.xml"/><Relationship Id="rId47" Type="http://schemas.openxmlformats.org/officeDocument/2006/relationships/tags" Target="../tags/tag201.xml"/><Relationship Id="rId50" Type="http://schemas.openxmlformats.org/officeDocument/2006/relationships/slideLayout" Target="../slideLayouts/slideLayout20.xml"/><Relationship Id="rId7" Type="http://schemas.openxmlformats.org/officeDocument/2006/relationships/tags" Target="../tags/tag161.xml"/><Relationship Id="rId2" Type="http://schemas.openxmlformats.org/officeDocument/2006/relationships/tags" Target="../tags/tag156.xml"/><Relationship Id="rId16" Type="http://schemas.openxmlformats.org/officeDocument/2006/relationships/tags" Target="../tags/tag170.xml"/><Relationship Id="rId29" Type="http://schemas.openxmlformats.org/officeDocument/2006/relationships/tags" Target="../tags/tag183.xml"/><Relationship Id="rId11" Type="http://schemas.openxmlformats.org/officeDocument/2006/relationships/tags" Target="../tags/tag165.xml"/><Relationship Id="rId24" Type="http://schemas.openxmlformats.org/officeDocument/2006/relationships/tags" Target="../tags/tag178.xml"/><Relationship Id="rId32" Type="http://schemas.openxmlformats.org/officeDocument/2006/relationships/tags" Target="../tags/tag186.xml"/><Relationship Id="rId37" Type="http://schemas.openxmlformats.org/officeDocument/2006/relationships/tags" Target="../tags/tag191.xml"/><Relationship Id="rId40" Type="http://schemas.openxmlformats.org/officeDocument/2006/relationships/tags" Target="../tags/tag194.xml"/><Relationship Id="rId45" Type="http://schemas.openxmlformats.org/officeDocument/2006/relationships/tags" Target="../tags/tag199.xml"/><Relationship Id="rId53" Type="http://schemas.openxmlformats.org/officeDocument/2006/relationships/chart" Target="../charts/chart4.xml"/><Relationship Id="rId5" Type="http://schemas.openxmlformats.org/officeDocument/2006/relationships/tags" Target="../tags/tag159.xml"/><Relationship Id="rId10" Type="http://schemas.openxmlformats.org/officeDocument/2006/relationships/tags" Target="../tags/tag164.xml"/><Relationship Id="rId19" Type="http://schemas.openxmlformats.org/officeDocument/2006/relationships/tags" Target="../tags/tag173.xml"/><Relationship Id="rId31" Type="http://schemas.openxmlformats.org/officeDocument/2006/relationships/tags" Target="../tags/tag185.xml"/><Relationship Id="rId44" Type="http://schemas.openxmlformats.org/officeDocument/2006/relationships/tags" Target="../tags/tag198.xml"/><Relationship Id="rId52" Type="http://schemas.openxmlformats.org/officeDocument/2006/relationships/image" Target="../media/image1.emf"/><Relationship Id="rId4" Type="http://schemas.openxmlformats.org/officeDocument/2006/relationships/tags" Target="../tags/tag158.xml"/><Relationship Id="rId9" Type="http://schemas.openxmlformats.org/officeDocument/2006/relationships/tags" Target="../tags/tag163.xml"/><Relationship Id="rId14" Type="http://schemas.openxmlformats.org/officeDocument/2006/relationships/tags" Target="../tags/tag168.xml"/><Relationship Id="rId22" Type="http://schemas.openxmlformats.org/officeDocument/2006/relationships/tags" Target="../tags/tag176.xml"/><Relationship Id="rId27" Type="http://schemas.openxmlformats.org/officeDocument/2006/relationships/tags" Target="../tags/tag181.xml"/><Relationship Id="rId30" Type="http://schemas.openxmlformats.org/officeDocument/2006/relationships/tags" Target="../tags/tag184.xml"/><Relationship Id="rId35" Type="http://schemas.openxmlformats.org/officeDocument/2006/relationships/tags" Target="../tags/tag189.xml"/><Relationship Id="rId43" Type="http://schemas.openxmlformats.org/officeDocument/2006/relationships/tags" Target="../tags/tag197.xml"/><Relationship Id="rId48" Type="http://schemas.openxmlformats.org/officeDocument/2006/relationships/tags" Target="../tags/tag202.xml"/><Relationship Id="rId8" Type="http://schemas.openxmlformats.org/officeDocument/2006/relationships/tags" Target="../tags/tag162.xml"/><Relationship Id="rId51" Type="http://schemas.openxmlformats.org/officeDocument/2006/relationships/oleObject" Target="../embeddings/oleObject28.bin"/><Relationship Id="rId3" Type="http://schemas.openxmlformats.org/officeDocument/2006/relationships/tags" Target="../tags/tag157.xml"/><Relationship Id="rId12" Type="http://schemas.openxmlformats.org/officeDocument/2006/relationships/tags" Target="../tags/tag166.xml"/><Relationship Id="rId17" Type="http://schemas.openxmlformats.org/officeDocument/2006/relationships/tags" Target="../tags/tag171.xml"/><Relationship Id="rId25" Type="http://schemas.openxmlformats.org/officeDocument/2006/relationships/tags" Target="../tags/tag179.xml"/><Relationship Id="rId33" Type="http://schemas.openxmlformats.org/officeDocument/2006/relationships/tags" Target="../tags/tag187.xml"/><Relationship Id="rId38" Type="http://schemas.openxmlformats.org/officeDocument/2006/relationships/tags" Target="../tags/tag192.xml"/><Relationship Id="rId46" Type="http://schemas.openxmlformats.org/officeDocument/2006/relationships/tags" Target="../tags/tag200.xml"/><Relationship Id="rId20" Type="http://schemas.openxmlformats.org/officeDocument/2006/relationships/tags" Target="../tags/tag174.xml"/><Relationship Id="rId41" Type="http://schemas.openxmlformats.org/officeDocument/2006/relationships/tags" Target="../tags/tag195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60.xml"/><Relationship Id="rId15" Type="http://schemas.openxmlformats.org/officeDocument/2006/relationships/tags" Target="../tags/tag169.xml"/><Relationship Id="rId23" Type="http://schemas.openxmlformats.org/officeDocument/2006/relationships/tags" Target="../tags/tag177.xml"/><Relationship Id="rId28" Type="http://schemas.openxmlformats.org/officeDocument/2006/relationships/tags" Target="../tags/tag182.xml"/><Relationship Id="rId36" Type="http://schemas.openxmlformats.org/officeDocument/2006/relationships/tags" Target="../tags/tag190.xml"/><Relationship Id="rId49" Type="http://schemas.openxmlformats.org/officeDocument/2006/relationships/tags" Target="../tags/tag20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13" Type="http://schemas.openxmlformats.org/officeDocument/2006/relationships/tags" Target="../tags/tag215.xml"/><Relationship Id="rId18" Type="http://schemas.openxmlformats.org/officeDocument/2006/relationships/tags" Target="../tags/tag220.xml"/><Relationship Id="rId26" Type="http://schemas.openxmlformats.org/officeDocument/2006/relationships/tags" Target="../tags/tag228.xml"/><Relationship Id="rId3" Type="http://schemas.openxmlformats.org/officeDocument/2006/relationships/tags" Target="../tags/tag205.xml"/><Relationship Id="rId21" Type="http://schemas.openxmlformats.org/officeDocument/2006/relationships/tags" Target="../tags/tag223.xml"/><Relationship Id="rId7" Type="http://schemas.openxmlformats.org/officeDocument/2006/relationships/tags" Target="../tags/tag209.xml"/><Relationship Id="rId12" Type="http://schemas.openxmlformats.org/officeDocument/2006/relationships/tags" Target="../tags/tag214.xml"/><Relationship Id="rId17" Type="http://schemas.openxmlformats.org/officeDocument/2006/relationships/tags" Target="../tags/tag219.xml"/><Relationship Id="rId25" Type="http://schemas.openxmlformats.org/officeDocument/2006/relationships/tags" Target="../tags/tag227.xml"/><Relationship Id="rId2" Type="http://schemas.openxmlformats.org/officeDocument/2006/relationships/tags" Target="../tags/tag204.xml"/><Relationship Id="rId16" Type="http://schemas.openxmlformats.org/officeDocument/2006/relationships/tags" Target="../tags/tag218.xml"/><Relationship Id="rId20" Type="http://schemas.openxmlformats.org/officeDocument/2006/relationships/tags" Target="../tags/tag222.xml"/><Relationship Id="rId29" Type="http://schemas.openxmlformats.org/officeDocument/2006/relationships/slideLayout" Target="../slideLayouts/slideLayout20.xml"/><Relationship Id="rId1" Type="http://schemas.openxmlformats.org/officeDocument/2006/relationships/vmlDrawing" Target="../drawings/vmlDrawing28.v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24" Type="http://schemas.openxmlformats.org/officeDocument/2006/relationships/tags" Target="../tags/tag226.xml"/><Relationship Id="rId32" Type="http://schemas.openxmlformats.org/officeDocument/2006/relationships/chart" Target="../charts/chart5.xml"/><Relationship Id="rId5" Type="http://schemas.openxmlformats.org/officeDocument/2006/relationships/tags" Target="../tags/tag207.xml"/><Relationship Id="rId15" Type="http://schemas.openxmlformats.org/officeDocument/2006/relationships/tags" Target="../tags/tag217.xml"/><Relationship Id="rId23" Type="http://schemas.openxmlformats.org/officeDocument/2006/relationships/tags" Target="../tags/tag225.xml"/><Relationship Id="rId28" Type="http://schemas.openxmlformats.org/officeDocument/2006/relationships/tags" Target="../tags/tag230.xml"/><Relationship Id="rId10" Type="http://schemas.openxmlformats.org/officeDocument/2006/relationships/tags" Target="../tags/tag212.xml"/><Relationship Id="rId19" Type="http://schemas.openxmlformats.org/officeDocument/2006/relationships/tags" Target="../tags/tag221.xml"/><Relationship Id="rId31" Type="http://schemas.openxmlformats.org/officeDocument/2006/relationships/image" Target="../media/image1.emf"/><Relationship Id="rId4" Type="http://schemas.openxmlformats.org/officeDocument/2006/relationships/tags" Target="../tags/tag206.xml"/><Relationship Id="rId9" Type="http://schemas.openxmlformats.org/officeDocument/2006/relationships/tags" Target="../tags/tag211.xml"/><Relationship Id="rId14" Type="http://schemas.openxmlformats.org/officeDocument/2006/relationships/tags" Target="../tags/tag216.xml"/><Relationship Id="rId22" Type="http://schemas.openxmlformats.org/officeDocument/2006/relationships/tags" Target="../tags/tag224.xml"/><Relationship Id="rId27" Type="http://schemas.openxmlformats.org/officeDocument/2006/relationships/tags" Target="../tags/tag229.xml"/><Relationship Id="rId30" Type="http://schemas.openxmlformats.org/officeDocument/2006/relationships/oleObject" Target="../embeddings/oleObject29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37.xml"/><Relationship Id="rId13" Type="http://schemas.openxmlformats.org/officeDocument/2006/relationships/tags" Target="../tags/tag242.xml"/><Relationship Id="rId18" Type="http://schemas.openxmlformats.org/officeDocument/2006/relationships/tags" Target="../tags/tag247.xml"/><Relationship Id="rId26" Type="http://schemas.openxmlformats.org/officeDocument/2006/relationships/image" Target="../media/image13.png"/><Relationship Id="rId3" Type="http://schemas.openxmlformats.org/officeDocument/2006/relationships/tags" Target="../tags/tag232.xml"/><Relationship Id="rId21" Type="http://schemas.openxmlformats.org/officeDocument/2006/relationships/tags" Target="../tags/tag250.xml"/><Relationship Id="rId7" Type="http://schemas.openxmlformats.org/officeDocument/2006/relationships/tags" Target="../tags/tag236.xml"/><Relationship Id="rId12" Type="http://schemas.openxmlformats.org/officeDocument/2006/relationships/tags" Target="../tags/tag241.xml"/><Relationship Id="rId17" Type="http://schemas.openxmlformats.org/officeDocument/2006/relationships/tags" Target="../tags/tag246.xml"/><Relationship Id="rId25" Type="http://schemas.openxmlformats.org/officeDocument/2006/relationships/image" Target="../media/image1.emf"/><Relationship Id="rId2" Type="http://schemas.openxmlformats.org/officeDocument/2006/relationships/tags" Target="../tags/tag231.xml"/><Relationship Id="rId16" Type="http://schemas.openxmlformats.org/officeDocument/2006/relationships/tags" Target="../tags/tag245.xml"/><Relationship Id="rId20" Type="http://schemas.openxmlformats.org/officeDocument/2006/relationships/tags" Target="../tags/tag249.xml"/><Relationship Id="rId1" Type="http://schemas.openxmlformats.org/officeDocument/2006/relationships/vmlDrawing" Target="../drawings/vmlDrawing29.vml"/><Relationship Id="rId6" Type="http://schemas.openxmlformats.org/officeDocument/2006/relationships/tags" Target="../tags/tag235.xml"/><Relationship Id="rId11" Type="http://schemas.openxmlformats.org/officeDocument/2006/relationships/tags" Target="../tags/tag240.xml"/><Relationship Id="rId24" Type="http://schemas.openxmlformats.org/officeDocument/2006/relationships/oleObject" Target="../embeddings/oleObject30.bin"/><Relationship Id="rId5" Type="http://schemas.openxmlformats.org/officeDocument/2006/relationships/tags" Target="../tags/tag234.xml"/><Relationship Id="rId15" Type="http://schemas.openxmlformats.org/officeDocument/2006/relationships/tags" Target="../tags/tag244.xml"/><Relationship Id="rId23" Type="http://schemas.openxmlformats.org/officeDocument/2006/relationships/slideLayout" Target="../slideLayouts/slideLayout20.xml"/><Relationship Id="rId28" Type="http://schemas.openxmlformats.org/officeDocument/2006/relationships/chart" Target="../charts/chart7.xml"/><Relationship Id="rId10" Type="http://schemas.openxmlformats.org/officeDocument/2006/relationships/tags" Target="../tags/tag239.xml"/><Relationship Id="rId19" Type="http://schemas.openxmlformats.org/officeDocument/2006/relationships/tags" Target="../tags/tag248.xml"/><Relationship Id="rId4" Type="http://schemas.openxmlformats.org/officeDocument/2006/relationships/tags" Target="../tags/tag233.xml"/><Relationship Id="rId9" Type="http://schemas.openxmlformats.org/officeDocument/2006/relationships/tags" Target="../tags/tag238.xml"/><Relationship Id="rId14" Type="http://schemas.openxmlformats.org/officeDocument/2006/relationships/tags" Target="../tags/tag243.xml"/><Relationship Id="rId22" Type="http://schemas.openxmlformats.org/officeDocument/2006/relationships/tags" Target="../tags/tag251.xml"/><Relationship Id="rId27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263.xml"/><Relationship Id="rId18" Type="http://schemas.openxmlformats.org/officeDocument/2006/relationships/tags" Target="../tags/tag268.xml"/><Relationship Id="rId26" Type="http://schemas.openxmlformats.org/officeDocument/2006/relationships/tags" Target="../tags/tag276.xml"/><Relationship Id="rId39" Type="http://schemas.openxmlformats.org/officeDocument/2006/relationships/chart" Target="../charts/chart8.xml"/><Relationship Id="rId21" Type="http://schemas.openxmlformats.org/officeDocument/2006/relationships/tags" Target="../tags/tag271.xml"/><Relationship Id="rId34" Type="http://schemas.openxmlformats.org/officeDocument/2006/relationships/tags" Target="../tags/tag284.xml"/><Relationship Id="rId7" Type="http://schemas.openxmlformats.org/officeDocument/2006/relationships/tags" Target="../tags/tag257.xml"/><Relationship Id="rId12" Type="http://schemas.openxmlformats.org/officeDocument/2006/relationships/tags" Target="../tags/tag262.xml"/><Relationship Id="rId17" Type="http://schemas.openxmlformats.org/officeDocument/2006/relationships/tags" Target="../tags/tag267.xml"/><Relationship Id="rId25" Type="http://schemas.openxmlformats.org/officeDocument/2006/relationships/tags" Target="../tags/tag275.xml"/><Relationship Id="rId33" Type="http://schemas.openxmlformats.org/officeDocument/2006/relationships/tags" Target="../tags/tag283.xml"/><Relationship Id="rId38" Type="http://schemas.openxmlformats.org/officeDocument/2006/relationships/image" Target="../media/image1.emf"/><Relationship Id="rId2" Type="http://schemas.openxmlformats.org/officeDocument/2006/relationships/tags" Target="../tags/tag252.xml"/><Relationship Id="rId16" Type="http://schemas.openxmlformats.org/officeDocument/2006/relationships/tags" Target="../tags/tag266.xml"/><Relationship Id="rId20" Type="http://schemas.openxmlformats.org/officeDocument/2006/relationships/tags" Target="../tags/tag270.xml"/><Relationship Id="rId29" Type="http://schemas.openxmlformats.org/officeDocument/2006/relationships/tags" Target="../tags/tag279.xml"/><Relationship Id="rId1" Type="http://schemas.openxmlformats.org/officeDocument/2006/relationships/vmlDrawing" Target="../drawings/vmlDrawing30.vml"/><Relationship Id="rId6" Type="http://schemas.openxmlformats.org/officeDocument/2006/relationships/tags" Target="../tags/tag256.xml"/><Relationship Id="rId11" Type="http://schemas.openxmlformats.org/officeDocument/2006/relationships/tags" Target="../tags/tag261.xml"/><Relationship Id="rId24" Type="http://schemas.openxmlformats.org/officeDocument/2006/relationships/tags" Target="../tags/tag274.xml"/><Relationship Id="rId32" Type="http://schemas.openxmlformats.org/officeDocument/2006/relationships/tags" Target="../tags/tag282.xml"/><Relationship Id="rId37" Type="http://schemas.openxmlformats.org/officeDocument/2006/relationships/oleObject" Target="../embeddings/oleObject31.bin"/><Relationship Id="rId5" Type="http://schemas.openxmlformats.org/officeDocument/2006/relationships/tags" Target="../tags/tag255.xml"/><Relationship Id="rId15" Type="http://schemas.openxmlformats.org/officeDocument/2006/relationships/tags" Target="../tags/tag265.xml"/><Relationship Id="rId23" Type="http://schemas.openxmlformats.org/officeDocument/2006/relationships/tags" Target="../tags/tag273.xml"/><Relationship Id="rId28" Type="http://schemas.openxmlformats.org/officeDocument/2006/relationships/tags" Target="../tags/tag278.xml"/><Relationship Id="rId36" Type="http://schemas.openxmlformats.org/officeDocument/2006/relationships/slideLayout" Target="../slideLayouts/slideLayout20.xml"/><Relationship Id="rId10" Type="http://schemas.openxmlformats.org/officeDocument/2006/relationships/tags" Target="../tags/tag260.xml"/><Relationship Id="rId19" Type="http://schemas.openxmlformats.org/officeDocument/2006/relationships/tags" Target="../tags/tag269.xml"/><Relationship Id="rId31" Type="http://schemas.openxmlformats.org/officeDocument/2006/relationships/tags" Target="../tags/tag281.xml"/><Relationship Id="rId4" Type="http://schemas.openxmlformats.org/officeDocument/2006/relationships/tags" Target="../tags/tag254.xml"/><Relationship Id="rId9" Type="http://schemas.openxmlformats.org/officeDocument/2006/relationships/tags" Target="../tags/tag259.xml"/><Relationship Id="rId14" Type="http://schemas.openxmlformats.org/officeDocument/2006/relationships/tags" Target="../tags/tag264.xml"/><Relationship Id="rId22" Type="http://schemas.openxmlformats.org/officeDocument/2006/relationships/tags" Target="../tags/tag272.xml"/><Relationship Id="rId27" Type="http://schemas.openxmlformats.org/officeDocument/2006/relationships/tags" Target="../tags/tag277.xml"/><Relationship Id="rId30" Type="http://schemas.openxmlformats.org/officeDocument/2006/relationships/tags" Target="../tags/tag280.xml"/><Relationship Id="rId35" Type="http://schemas.openxmlformats.org/officeDocument/2006/relationships/tags" Target="../tags/tag285.xml"/><Relationship Id="rId8" Type="http://schemas.openxmlformats.org/officeDocument/2006/relationships/tags" Target="../tags/tag258.xml"/><Relationship Id="rId3" Type="http://schemas.openxmlformats.org/officeDocument/2006/relationships/tags" Target="../tags/tag253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297.xml"/><Relationship Id="rId18" Type="http://schemas.openxmlformats.org/officeDocument/2006/relationships/tags" Target="../tags/tag302.xml"/><Relationship Id="rId26" Type="http://schemas.openxmlformats.org/officeDocument/2006/relationships/tags" Target="../tags/tag310.xml"/><Relationship Id="rId21" Type="http://schemas.openxmlformats.org/officeDocument/2006/relationships/tags" Target="../tags/tag305.xml"/><Relationship Id="rId34" Type="http://schemas.openxmlformats.org/officeDocument/2006/relationships/image" Target="../media/image1.emf"/><Relationship Id="rId7" Type="http://schemas.openxmlformats.org/officeDocument/2006/relationships/tags" Target="../tags/tag291.xml"/><Relationship Id="rId12" Type="http://schemas.openxmlformats.org/officeDocument/2006/relationships/tags" Target="../tags/tag296.xml"/><Relationship Id="rId17" Type="http://schemas.openxmlformats.org/officeDocument/2006/relationships/tags" Target="../tags/tag301.xml"/><Relationship Id="rId25" Type="http://schemas.openxmlformats.org/officeDocument/2006/relationships/tags" Target="../tags/tag309.xml"/><Relationship Id="rId33" Type="http://schemas.openxmlformats.org/officeDocument/2006/relationships/oleObject" Target="../embeddings/oleObject32.bin"/><Relationship Id="rId2" Type="http://schemas.openxmlformats.org/officeDocument/2006/relationships/tags" Target="../tags/tag286.xml"/><Relationship Id="rId16" Type="http://schemas.openxmlformats.org/officeDocument/2006/relationships/tags" Target="../tags/tag300.xml"/><Relationship Id="rId20" Type="http://schemas.openxmlformats.org/officeDocument/2006/relationships/tags" Target="../tags/tag304.xml"/><Relationship Id="rId29" Type="http://schemas.openxmlformats.org/officeDocument/2006/relationships/tags" Target="../tags/tag313.xml"/><Relationship Id="rId1" Type="http://schemas.openxmlformats.org/officeDocument/2006/relationships/vmlDrawing" Target="../drawings/vmlDrawing31.vml"/><Relationship Id="rId6" Type="http://schemas.openxmlformats.org/officeDocument/2006/relationships/tags" Target="../tags/tag290.xml"/><Relationship Id="rId11" Type="http://schemas.openxmlformats.org/officeDocument/2006/relationships/tags" Target="../tags/tag295.xml"/><Relationship Id="rId24" Type="http://schemas.openxmlformats.org/officeDocument/2006/relationships/tags" Target="../tags/tag308.xml"/><Relationship Id="rId32" Type="http://schemas.openxmlformats.org/officeDocument/2006/relationships/slideLayout" Target="../slideLayouts/slideLayout20.xml"/><Relationship Id="rId37" Type="http://schemas.openxmlformats.org/officeDocument/2006/relationships/image" Target="../media/image14.png"/><Relationship Id="rId5" Type="http://schemas.openxmlformats.org/officeDocument/2006/relationships/tags" Target="../tags/tag289.xml"/><Relationship Id="rId15" Type="http://schemas.openxmlformats.org/officeDocument/2006/relationships/tags" Target="../tags/tag299.xml"/><Relationship Id="rId23" Type="http://schemas.openxmlformats.org/officeDocument/2006/relationships/tags" Target="../tags/tag307.xml"/><Relationship Id="rId28" Type="http://schemas.openxmlformats.org/officeDocument/2006/relationships/tags" Target="../tags/tag312.xml"/><Relationship Id="rId36" Type="http://schemas.openxmlformats.org/officeDocument/2006/relationships/chart" Target="../charts/chart10.xml"/><Relationship Id="rId10" Type="http://schemas.openxmlformats.org/officeDocument/2006/relationships/tags" Target="../tags/tag294.xml"/><Relationship Id="rId19" Type="http://schemas.openxmlformats.org/officeDocument/2006/relationships/tags" Target="../tags/tag303.xml"/><Relationship Id="rId31" Type="http://schemas.openxmlformats.org/officeDocument/2006/relationships/tags" Target="../tags/tag315.xml"/><Relationship Id="rId4" Type="http://schemas.openxmlformats.org/officeDocument/2006/relationships/tags" Target="../tags/tag288.xml"/><Relationship Id="rId9" Type="http://schemas.openxmlformats.org/officeDocument/2006/relationships/tags" Target="../tags/tag293.xml"/><Relationship Id="rId14" Type="http://schemas.openxmlformats.org/officeDocument/2006/relationships/tags" Target="../tags/tag298.xml"/><Relationship Id="rId22" Type="http://schemas.openxmlformats.org/officeDocument/2006/relationships/tags" Target="../tags/tag306.xml"/><Relationship Id="rId27" Type="http://schemas.openxmlformats.org/officeDocument/2006/relationships/tags" Target="../tags/tag311.xml"/><Relationship Id="rId30" Type="http://schemas.openxmlformats.org/officeDocument/2006/relationships/tags" Target="../tags/tag314.xml"/><Relationship Id="rId35" Type="http://schemas.openxmlformats.org/officeDocument/2006/relationships/chart" Target="../charts/chart9.xml"/><Relationship Id="rId8" Type="http://schemas.openxmlformats.org/officeDocument/2006/relationships/tags" Target="../tags/tag292.xml"/><Relationship Id="rId3" Type="http://schemas.openxmlformats.org/officeDocument/2006/relationships/tags" Target="../tags/tag28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7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46" name="Table 145"/>
          <p:cNvGraphicFramePr>
            <a:graphicFrameLocks noGrp="1"/>
          </p:cNvGraphicFramePr>
          <p:nvPr/>
        </p:nvGraphicFramePr>
        <p:xfrm>
          <a:off x="2959506" y="4801933"/>
          <a:ext cx="1902799" cy="432073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9027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1007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Π.Γ.Ν. ΠΑΤΡΩΝ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1007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Γ.Ν.ΠΑΤΡΩΝ ΑΓΙΟΣ ΑΝΔΡΕΑΣ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0059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ΠΓΝ ΗΡΑΚΛΕΙΟΥ ΠΑΓΝΗ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26E747-FD94-4552-8F91-A7D37DB875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ource: IQVIA PMR (November 2020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Geographic allocation of hospitals participated in the survey</a:t>
            </a:r>
            <a:endParaRPr lang="el-GR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77012" y="237000"/>
            <a:ext cx="11519518" cy="773799"/>
          </a:xfrm>
        </p:spPr>
        <p:txBody>
          <a:bodyPr/>
          <a:lstStyle/>
          <a:p>
            <a:r>
              <a:rPr lang="en-US" dirty="0"/>
              <a:t>27 hospitals participated in the survey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77013" y="6564311"/>
            <a:ext cx="7560000" cy="110800"/>
          </a:xfrm>
        </p:spPr>
        <p:txBody>
          <a:bodyPr/>
          <a:lstStyle/>
          <a:p>
            <a:r>
              <a:rPr lang="en-US" dirty="0"/>
              <a:t>IQVIA •  Market Research on CML/ALL • December 2020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3968263" y="1848311"/>
            <a:ext cx="4167541" cy="4193622"/>
            <a:chOff x="5260052" y="2400300"/>
            <a:chExt cx="2717890" cy="2698946"/>
          </a:xfrm>
        </p:grpSpPr>
        <p:sp>
          <p:nvSpPr>
            <p:cNvPr id="41" name="Freeform 9"/>
            <p:cNvSpPr>
              <a:spLocks noChangeAspect="1"/>
            </p:cNvSpPr>
            <p:nvPr/>
          </p:nvSpPr>
          <p:spPr bwMode="gray">
            <a:xfrm rot="355651">
              <a:off x="6453188" y="4733925"/>
              <a:ext cx="304692" cy="207599"/>
            </a:xfrm>
            <a:custGeom>
              <a:avLst/>
              <a:gdLst/>
              <a:ahLst/>
              <a:cxnLst>
                <a:cxn ang="0">
                  <a:pos x="431" y="61"/>
                </a:cxn>
                <a:cxn ang="0">
                  <a:pos x="392" y="247"/>
                </a:cxn>
                <a:cxn ang="0">
                  <a:pos x="356" y="398"/>
                </a:cxn>
                <a:cxn ang="0">
                  <a:pos x="307" y="465"/>
                </a:cxn>
                <a:cxn ang="0">
                  <a:pos x="258" y="477"/>
                </a:cxn>
                <a:cxn ang="0">
                  <a:pos x="231" y="455"/>
                </a:cxn>
                <a:cxn ang="0">
                  <a:pos x="206" y="389"/>
                </a:cxn>
                <a:cxn ang="0">
                  <a:pos x="120" y="323"/>
                </a:cxn>
                <a:cxn ang="0">
                  <a:pos x="83" y="325"/>
                </a:cxn>
                <a:cxn ang="0">
                  <a:pos x="68" y="366"/>
                </a:cxn>
                <a:cxn ang="0">
                  <a:pos x="79" y="383"/>
                </a:cxn>
                <a:cxn ang="0">
                  <a:pos x="92" y="417"/>
                </a:cxn>
                <a:cxn ang="0">
                  <a:pos x="84" y="516"/>
                </a:cxn>
                <a:cxn ang="0">
                  <a:pos x="45" y="593"/>
                </a:cxn>
                <a:cxn ang="0">
                  <a:pos x="2" y="668"/>
                </a:cxn>
                <a:cxn ang="0">
                  <a:pos x="10" y="725"/>
                </a:cxn>
                <a:cxn ang="0">
                  <a:pos x="57" y="805"/>
                </a:cxn>
                <a:cxn ang="0">
                  <a:pos x="104" y="989"/>
                </a:cxn>
                <a:cxn ang="0">
                  <a:pos x="162" y="1077"/>
                </a:cxn>
                <a:cxn ang="0">
                  <a:pos x="226" y="1158"/>
                </a:cxn>
                <a:cxn ang="0">
                  <a:pos x="261" y="1171"/>
                </a:cxn>
                <a:cxn ang="0">
                  <a:pos x="322" y="1120"/>
                </a:cxn>
                <a:cxn ang="0">
                  <a:pos x="384" y="1085"/>
                </a:cxn>
                <a:cxn ang="0">
                  <a:pos x="465" y="1086"/>
                </a:cxn>
                <a:cxn ang="0">
                  <a:pos x="621" y="1125"/>
                </a:cxn>
                <a:cxn ang="0">
                  <a:pos x="900" y="1160"/>
                </a:cxn>
                <a:cxn ang="0">
                  <a:pos x="1039" y="1206"/>
                </a:cxn>
                <a:cxn ang="0">
                  <a:pos x="1085" y="1240"/>
                </a:cxn>
                <a:cxn ang="0">
                  <a:pos x="1212" y="1242"/>
                </a:cxn>
                <a:cxn ang="0">
                  <a:pos x="1378" y="1225"/>
                </a:cxn>
                <a:cxn ang="0">
                  <a:pos x="1390" y="1264"/>
                </a:cxn>
                <a:cxn ang="0">
                  <a:pos x="1423" y="1282"/>
                </a:cxn>
                <a:cxn ang="0">
                  <a:pos x="1516" y="1279"/>
                </a:cxn>
                <a:cxn ang="0">
                  <a:pos x="1563" y="1205"/>
                </a:cxn>
                <a:cxn ang="0">
                  <a:pos x="1544" y="1123"/>
                </a:cxn>
                <a:cxn ang="0">
                  <a:pos x="1548" y="1065"/>
                </a:cxn>
                <a:cxn ang="0">
                  <a:pos x="1560" y="1013"/>
                </a:cxn>
                <a:cxn ang="0">
                  <a:pos x="1570" y="993"/>
                </a:cxn>
                <a:cxn ang="0">
                  <a:pos x="1582" y="963"/>
                </a:cxn>
                <a:cxn ang="0">
                  <a:pos x="1592" y="931"/>
                </a:cxn>
                <a:cxn ang="0">
                  <a:pos x="1609" y="898"/>
                </a:cxn>
                <a:cxn ang="0">
                  <a:pos x="1622" y="878"/>
                </a:cxn>
                <a:cxn ang="0">
                  <a:pos x="1662" y="846"/>
                </a:cxn>
                <a:cxn ang="0">
                  <a:pos x="1582" y="796"/>
                </a:cxn>
                <a:cxn ang="0">
                  <a:pos x="1440" y="749"/>
                </a:cxn>
                <a:cxn ang="0">
                  <a:pos x="1438" y="581"/>
                </a:cxn>
                <a:cxn ang="0">
                  <a:pos x="1419" y="549"/>
                </a:cxn>
                <a:cxn ang="0">
                  <a:pos x="1355" y="546"/>
                </a:cxn>
                <a:cxn ang="0">
                  <a:pos x="1196" y="573"/>
                </a:cxn>
                <a:cxn ang="0">
                  <a:pos x="1181" y="468"/>
                </a:cxn>
                <a:cxn ang="0">
                  <a:pos x="1221" y="425"/>
                </a:cxn>
                <a:cxn ang="0">
                  <a:pos x="1341" y="315"/>
                </a:cxn>
                <a:cxn ang="0">
                  <a:pos x="1182" y="278"/>
                </a:cxn>
                <a:cxn ang="0">
                  <a:pos x="1003" y="367"/>
                </a:cxn>
                <a:cxn ang="0">
                  <a:pos x="833" y="423"/>
                </a:cxn>
                <a:cxn ang="0">
                  <a:pos x="722" y="429"/>
                </a:cxn>
                <a:cxn ang="0">
                  <a:pos x="633" y="389"/>
                </a:cxn>
                <a:cxn ang="0">
                  <a:pos x="568" y="290"/>
                </a:cxn>
                <a:cxn ang="0">
                  <a:pos x="534" y="118"/>
                </a:cxn>
                <a:cxn ang="0">
                  <a:pos x="506" y="4"/>
                </a:cxn>
                <a:cxn ang="0">
                  <a:pos x="450" y="35"/>
                </a:cxn>
              </a:cxnLst>
              <a:rect l="0" t="0" r="r" b="b"/>
              <a:pathLst>
                <a:path w="1667" h="1286">
                  <a:moveTo>
                    <a:pt x="450" y="35"/>
                  </a:moveTo>
                  <a:lnTo>
                    <a:pt x="447" y="35"/>
                  </a:lnTo>
                  <a:lnTo>
                    <a:pt x="444" y="37"/>
                  </a:lnTo>
                  <a:lnTo>
                    <a:pt x="441" y="41"/>
                  </a:lnTo>
                  <a:lnTo>
                    <a:pt x="438" y="47"/>
                  </a:lnTo>
                  <a:lnTo>
                    <a:pt x="431" y="61"/>
                  </a:lnTo>
                  <a:lnTo>
                    <a:pt x="424" y="80"/>
                  </a:lnTo>
                  <a:lnTo>
                    <a:pt x="419" y="104"/>
                  </a:lnTo>
                  <a:lnTo>
                    <a:pt x="412" y="129"/>
                  </a:lnTo>
                  <a:lnTo>
                    <a:pt x="407" y="157"/>
                  </a:lnTo>
                  <a:lnTo>
                    <a:pt x="401" y="186"/>
                  </a:lnTo>
                  <a:lnTo>
                    <a:pt x="392" y="247"/>
                  </a:lnTo>
                  <a:lnTo>
                    <a:pt x="384" y="302"/>
                  </a:lnTo>
                  <a:lnTo>
                    <a:pt x="379" y="347"/>
                  </a:lnTo>
                  <a:lnTo>
                    <a:pt x="377" y="377"/>
                  </a:lnTo>
                  <a:lnTo>
                    <a:pt x="373" y="379"/>
                  </a:lnTo>
                  <a:lnTo>
                    <a:pt x="366" y="387"/>
                  </a:lnTo>
                  <a:lnTo>
                    <a:pt x="356" y="398"/>
                  </a:lnTo>
                  <a:lnTo>
                    <a:pt x="346" y="412"/>
                  </a:lnTo>
                  <a:lnTo>
                    <a:pt x="327" y="439"/>
                  </a:lnTo>
                  <a:lnTo>
                    <a:pt x="315" y="455"/>
                  </a:lnTo>
                  <a:lnTo>
                    <a:pt x="314" y="459"/>
                  </a:lnTo>
                  <a:lnTo>
                    <a:pt x="311" y="462"/>
                  </a:lnTo>
                  <a:lnTo>
                    <a:pt x="307" y="465"/>
                  </a:lnTo>
                  <a:lnTo>
                    <a:pt x="302" y="468"/>
                  </a:lnTo>
                  <a:lnTo>
                    <a:pt x="290" y="473"/>
                  </a:lnTo>
                  <a:lnTo>
                    <a:pt x="277" y="477"/>
                  </a:lnTo>
                  <a:lnTo>
                    <a:pt x="270" y="478"/>
                  </a:lnTo>
                  <a:lnTo>
                    <a:pt x="264" y="478"/>
                  </a:lnTo>
                  <a:lnTo>
                    <a:pt x="258" y="477"/>
                  </a:lnTo>
                  <a:lnTo>
                    <a:pt x="254" y="474"/>
                  </a:lnTo>
                  <a:lnTo>
                    <a:pt x="249" y="471"/>
                  </a:lnTo>
                  <a:lnTo>
                    <a:pt x="246" y="468"/>
                  </a:lnTo>
                  <a:lnTo>
                    <a:pt x="244" y="462"/>
                  </a:lnTo>
                  <a:lnTo>
                    <a:pt x="242" y="455"/>
                  </a:lnTo>
                  <a:lnTo>
                    <a:pt x="231" y="455"/>
                  </a:lnTo>
                  <a:lnTo>
                    <a:pt x="231" y="448"/>
                  </a:lnTo>
                  <a:lnTo>
                    <a:pt x="229" y="440"/>
                  </a:lnTo>
                  <a:lnTo>
                    <a:pt x="227" y="431"/>
                  </a:lnTo>
                  <a:lnTo>
                    <a:pt x="225" y="423"/>
                  </a:lnTo>
                  <a:lnTo>
                    <a:pt x="216" y="406"/>
                  </a:lnTo>
                  <a:lnTo>
                    <a:pt x="206" y="389"/>
                  </a:lnTo>
                  <a:lnTo>
                    <a:pt x="193" y="375"/>
                  </a:lnTo>
                  <a:lnTo>
                    <a:pt x="180" y="360"/>
                  </a:lnTo>
                  <a:lnTo>
                    <a:pt x="165" y="347"/>
                  </a:lnTo>
                  <a:lnTo>
                    <a:pt x="150" y="337"/>
                  </a:lnTo>
                  <a:lnTo>
                    <a:pt x="134" y="328"/>
                  </a:lnTo>
                  <a:lnTo>
                    <a:pt x="120" y="323"/>
                  </a:lnTo>
                  <a:lnTo>
                    <a:pt x="113" y="320"/>
                  </a:lnTo>
                  <a:lnTo>
                    <a:pt x="106" y="319"/>
                  </a:lnTo>
                  <a:lnTo>
                    <a:pt x="100" y="319"/>
                  </a:lnTo>
                  <a:lnTo>
                    <a:pt x="94" y="320"/>
                  </a:lnTo>
                  <a:lnTo>
                    <a:pt x="88" y="323"/>
                  </a:lnTo>
                  <a:lnTo>
                    <a:pt x="83" y="325"/>
                  </a:lnTo>
                  <a:lnTo>
                    <a:pt x="79" y="329"/>
                  </a:lnTo>
                  <a:lnTo>
                    <a:pt x="75" y="334"/>
                  </a:lnTo>
                  <a:lnTo>
                    <a:pt x="73" y="339"/>
                  </a:lnTo>
                  <a:lnTo>
                    <a:pt x="70" y="347"/>
                  </a:lnTo>
                  <a:lnTo>
                    <a:pt x="68" y="356"/>
                  </a:lnTo>
                  <a:lnTo>
                    <a:pt x="68" y="366"/>
                  </a:lnTo>
                  <a:lnTo>
                    <a:pt x="72" y="366"/>
                  </a:lnTo>
                  <a:lnTo>
                    <a:pt x="75" y="367"/>
                  </a:lnTo>
                  <a:lnTo>
                    <a:pt x="77" y="369"/>
                  </a:lnTo>
                  <a:lnTo>
                    <a:pt x="78" y="372"/>
                  </a:lnTo>
                  <a:lnTo>
                    <a:pt x="79" y="377"/>
                  </a:lnTo>
                  <a:lnTo>
                    <a:pt x="79" y="383"/>
                  </a:lnTo>
                  <a:lnTo>
                    <a:pt x="83" y="383"/>
                  </a:lnTo>
                  <a:lnTo>
                    <a:pt x="85" y="385"/>
                  </a:lnTo>
                  <a:lnTo>
                    <a:pt x="87" y="388"/>
                  </a:lnTo>
                  <a:lnTo>
                    <a:pt x="88" y="393"/>
                  </a:lnTo>
                  <a:lnTo>
                    <a:pt x="91" y="404"/>
                  </a:lnTo>
                  <a:lnTo>
                    <a:pt x="92" y="417"/>
                  </a:lnTo>
                  <a:lnTo>
                    <a:pt x="92" y="444"/>
                  </a:lnTo>
                  <a:lnTo>
                    <a:pt x="91" y="461"/>
                  </a:lnTo>
                  <a:lnTo>
                    <a:pt x="91" y="475"/>
                  </a:lnTo>
                  <a:lnTo>
                    <a:pt x="89" y="490"/>
                  </a:lnTo>
                  <a:lnTo>
                    <a:pt x="87" y="503"/>
                  </a:lnTo>
                  <a:lnTo>
                    <a:pt x="84" y="516"/>
                  </a:lnTo>
                  <a:lnTo>
                    <a:pt x="81" y="527"/>
                  </a:lnTo>
                  <a:lnTo>
                    <a:pt x="76" y="538"/>
                  </a:lnTo>
                  <a:lnTo>
                    <a:pt x="72" y="548"/>
                  </a:lnTo>
                  <a:lnTo>
                    <a:pt x="67" y="558"/>
                  </a:lnTo>
                  <a:lnTo>
                    <a:pt x="56" y="576"/>
                  </a:lnTo>
                  <a:lnTo>
                    <a:pt x="45" y="593"/>
                  </a:lnTo>
                  <a:lnTo>
                    <a:pt x="34" y="607"/>
                  </a:lnTo>
                  <a:lnTo>
                    <a:pt x="24" y="623"/>
                  </a:lnTo>
                  <a:lnTo>
                    <a:pt x="14" y="637"/>
                  </a:lnTo>
                  <a:lnTo>
                    <a:pt x="7" y="653"/>
                  </a:lnTo>
                  <a:lnTo>
                    <a:pt x="4" y="661"/>
                  </a:lnTo>
                  <a:lnTo>
                    <a:pt x="2" y="668"/>
                  </a:lnTo>
                  <a:lnTo>
                    <a:pt x="1" y="676"/>
                  </a:lnTo>
                  <a:lnTo>
                    <a:pt x="0" y="685"/>
                  </a:lnTo>
                  <a:lnTo>
                    <a:pt x="1" y="694"/>
                  </a:lnTo>
                  <a:lnTo>
                    <a:pt x="4" y="704"/>
                  </a:lnTo>
                  <a:lnTo>
                    <a:pt x="6" y="714"/>
                  </a:lnTo>
                  <a:lnTo>
                    <a:pt x="10" y="725"/>
                  </a:lnTo>
                  <a:lnTo>
                    <a:pt x="16" y="737"/>
                  </a:lnTo>
                  <a:lnTo>
                    <a:pt x="22" y="749"/>
                  </a:lnTo>
                  <a:lnTo>
                    <a:pt x="30" y="762"/>
                  </a:lnTo>
                  <a:lnTo>
                    <a:pt x="40" y="776"/>
                  </a:lnTo>
                  <a:lnTo>
                    <a:pt x="49" y="789"/>
                  </a:lnTo>
                  <a:lnTo>
                    <a:pt x="57" y="805"/>
                  </a:lnTo>
                  <a:lnTo>
                    <a:pt x="64" y="821"/>
                  </a:lnTo>
                  <a:lnTo>
                    <a:pt x="69" y="839"/>
                  </a:lnTo>
                  <a:lnTo>
                    <a:pt x="79" y="877"/>
                  </a:lnTo>
                  <a:lnTo>
                    <a:pt x="87" y="916"/>
                  </a:lnTo>
                  <a:lnTo>
                    <a:pt x="95" y="954"/>
                  </a:lnTo>
                  <a:lnTo>
                    <a:pt x="104" y="989"/>
                  </a:lnTo>
                  <a:lnTo>
                    <a:pt x="110" y="1004"/>
                  </a:lnTo>
                  <a:lnTo>
                    <a:pt x="115" y="1018"/>
                  </a:lnTo>
                  <a:lnTo>
                    <a:pt x="122" y="1030"/>
                  </a:lnTo>
                  <a:lnTo>
                    <a:pt x="130" y="1040"/>
                  </a:lnTo>
                  <a:lnTo>
                    <a:pt x="146" y="1058"/>
                  </a:lnTo>
                  <a:lnTo>
                    <a:pt x="162" y="1077"/>
                  </a:lnTo>
                  <a:lnTo>
                    <a:pt x="178" y="1096"/>
                  </a:lnTo>
                  <a:lnTo>
                    <a:pt x="191" y="1115"/>
                  </a:lnTo>
                  <a:lnTo>
                    <a:pt x="203" y="1133"/>
                  </a:lnTo>
                  <a:lnTo>
                    <a:pt x="216" y="1147"/>
                  </a:lnTo>
                  <a:lnTo>
                    <a:pt x="220" y="1154"/>
                  </a:lnTo>
                  <a:lnTo>
                    <a:pt x="226" y="1158"/>
                  </a:lnTo>
                  <a:lnTo>
                    <a:pt x="230" y="1163"/>
                  </a:lnTo>
                  <a:lnTo>
                    <a:pt x="235" y="1165"/>
                  </a:lnTo>
                  <a:lnTo>
                    <a:pt x="242" y="1168"/>
                  </a:lnTo>
                  <a:lnTo>
                    <a:pt x="249" y="1171"/>
                  </a:lnTo>
                  <a:lnTo>
                    <a:pt x="256" y="1171"/>
                  </a:lnTo>
                  <a:lnTo>
                    <a:pt x="261" y="1171"/>
                  </a:lnTo>
                  <a:lnTo>
                    <a:pt x="267" y="1170"/>
                  </a:lnTo>
                  <a:lnTo>
                    <a:pt x="273" y="1167"/>
                  </a:lnTo>
                  <a:lnTo>
                    <a:pt x="277" y="1165"/>
                  </a:lnTo>
                  <a:lnTo>
                    <a:pt x="281" y="1162"/>
                  </a:lnTo>
                  <a:lnTo>
                    <a:pt x="300" y="1143"/>
                  </a:lnTo>
                  <a:lnTo>
                    <a:pt x="322" y="1120"/>
                  </a:lnTo>
                  <a:lnTo>
                    <a:pt x="334" y="1109"/>
                  </a:lnTo>
                  <a:lnTo>
                    <a:pt x="347" y="1099"/>
                  </a:lnTo>
                  <a:lnTo>
                    <a:pt x="355" y="1095"/>
                  </a:lnTo>
                  <a:lnTo>
                    <a:pt x="364" y="1090"/>
                  </a:lnTo>
                  <a:lnTo>
                    <a:pt x="374" y="1087"/>
                  </a:lnTo>
                  <a:lnTo>
                    <a:pt x="384" y="1085"/>
                  </a:lnTo>
                  <a:lnTo>
                    <a:pt x="395" y="1083"/>
                  </a:lnTo>
                  <a:lnTo>
                    <a:pt x="407" y="1081"/>
                  </a:lnTo>
                  <a:lnTo>
                    <a:pt x="420" y="1080"/>
                  </a:lnTo>
                  <a:lnTo>
                    <a:pt x="433" y="1081"/>
                  </a:lnTo>
                  <a:lnTo>
                    <a:pt x="449" y="1084"/>
                  </a:lnTo>
                  <a:lnTo>
                    <a:pt x="465" y="1086"/>
                  </a:lnTo>
                  <a:lnTo>
                    <a:pt x="482" y="1090"/>
                  </a:lnTo>
                  <a:lnTo>
                    <a:pt x="501" y="1096"/>
                  </a:lnTo>
                  <a:lnTo>
                    <a:pt x="528" y="1104"/>
                  </a:lnTo>
                  <a:lnTo>
                    <a:pt x="557" y="1112"/>
                  </a:lnTo>
                  <a:lnTo>
                    <a:pt x="588" y="1118"/>
                  </a:lnTo>
                  <a:lnTo>
                    <a:pt x="621" y="1125"/>
                  </a:lnTo>
                  <a:lnTo>
                    <a:pt x="654" y="1132"/>
                  </a:lnTo>
                  <a:lnTo>
                    <a:pt x="688" y="1137"/>
                  </a:lnTo>
                  <a:lnTo>
                    <a:pt x="724" y="1142"/>
                  </a:lnTo>
                  <a:lnTo>
                    <a:pt x="758" y="1146"/>
                  </a:lnTo>
                  <a:lnTo>
                    <a:pt x="830" y="1154"/>
                  </a:lnTo>
                  <a:lnTo>
                    <a:pt x="900" y="1160"/>
                  </a:lnTo>
                  <a:lnTo>
                    <a:pt x="967" y="1162"/>
                  </a:lnTo>
                  <a:lnTo>
                    <a:pt x="1029" y="1163"/>
                  </a:lnTo>
                  <a:lnTo>
                    <a:pt x="1029" y="1176"/>
                  </a:lnTo>
                  <a:lnTo>
                    <a:pt x="1032" y="1187"/>
                  </a:lnTo>
                  <a:lnTo>
                    <a:pt x="1035" y="1198"/>
                  </a:lnTo>
                  <a:lnTo>
                    <a:pt x="1039" y="1206"/>
                  </a:lnTo>
                  <a:lnTo>
                    <a:pt x="1044" y="1214"/>
                  </a:lnTo>
                  <a:lnTo>
                    <a:pt x="1051" y="1221"/>
                  </a:lnTo>
                  <a:lnTo>
                    <a:pt x="1058" y="1227"/>
                  </a:lnTo>
                  <a:lnTo>
                    <a:pt x="1066" y="1232"/>
                  </a:lnTo>
                  <a:lnTo>
                    <a:pt x="1075" y="1237"/>
                  </a:lnTo>
                  <a:lnTo>
                    <a:pt x="1085" y="1240"/>
                  </a:lnTo>
                  <a:lnTo>
                    <a:pt x="1095" y="1242"/>
                  </a:lnTo>
                  <a:lnTo>
                    <a:pt x="1106" y="1244"/>
                  </a:lnTo>
                  <a:lnTo>
                    <a:pt x="1131" y="1247"/>
                  </a:lnTo>
                  <a:lnTo>
                    <a:pt x="1157" y="1247"/>
                  </a:lnTo>
                  <a:lnTo>
                    <a:pt x="1185" y="1245"/>
                  </a:lnTo>
                  <a:lnTo>
                    <a:pt x="1212" y="1242"/>
                  </a:lnTo>
                  <a:lnTo>
                    <a:pt x="1242" y="1239"/>
                  </a:lnTo>
                  <a:lnTo>
                    <a:pt x="1271" y="1235"/>
                  </a:lnTo>
                  <a:lnTo>
                    <a:pt x="1300" y="1231"/>
                  </a:lnTo>
                  <a:lnTo>
                    <a:pt x="1327" y="1228"/>
                  </a:lnTo>
                  <a:lnTo>
                    <a:pt x="1353" y="1225"/>
                  </a:lnTo>
                  <a:lnTo>
                    <a:pt x="1378" y="1225"/>
                  </a:lnTo>
                  <a:lnTo>
                    <a:pt x="1378" y="1233"/>
                  </a:lnTo>
                  <a:lnTo>
                    <a:pt x="1379" y="1241"/>
                  </a:lnTo>
                  <a:lnTo>
                    <a:pt x="1381" y="1248"/>
                  </a:lnTo>
                  <a:lnTo>
                    <a:pt x="1383" y="1254"/>
                  </a:lnTo>
                  <a:lnTo>
                    <a:pt x="1387" y="1260"/>
                  </a:lnTo>
                  <a:lnTo>
                    <a:pt x="1390" y="1264"/>
                  </a:lnTo>
                  <a:lnTo>
                    <a:pt x="1394" y="1269"/>
                  </a:lnTo>
                  <a:lnTo>
                    <a:pt x="1399" y="1272"/>
                  </a:lnTo>
                  <a:lnTo>
                    <a:pt x="1404" y="1276"/>
                  </a:lnTo>
                  <a:lnTo>
                    <a:pt x="1410" y="1279"/>
                  </a:lnTo>
                  <a:lnTo>
                    <a:pt x="1417" y="1280"/>
                  </a:lnTo>
                  <a:lnTo>
                    <a:pt x="1423" y="1282"/>
                  </a:lnTo>
                  <a:lnTo>
                    <a:pt x="1437" y="1285"/>
                  </a:lnTo>
                  <a:lnTo>
                    <a:pt x="1452" y="1286"/>
                  </a:lnTo>
                  <a:lnTo>
                    <a:pt x="1468" y="1285"/>
                  </a:lnTo>
                  <a:lnTo>
                    <a:pt x="1484" y="1283"/>
                  </a:lnTo>
                  <a:lnTo>
                    <a:pt x="1500" y="1281"/>
                  </a:lnTo>
                  <a:lnTo>
                    <a:pt x="1516" y="1279"/>
                  </a:lnTo>
                  <a:lnTo>
                    <a:pt x="1547" y="1272"/>
                  </a:lnTo>
                  <a:lnTo>
                    <a:pt x="1574" y="1267"/>
                  </a:lnTo>
                  <a:lnTo>
                    <a:pt x="1572" y="1243"/>
                  </a:lnTo>
                  <a:lnTo>
                    <a:pt x="1569" y="1223"/>
                  </a:lnTo>
                  <a:lnTo>
                    <a:pt x="1565" y="1213"/>
                  </a:lnTo>
                  <a:lnTo>
                    <a:pt x="1563" y="1205"/>
                  </a:lnTo>
                  <a:lnTo>
                    <a:pt x="1560" y="1198"/>
                  </a:lnTo>
                  <a:lnTo>
                    <a:pt x="1555" y="1191"/>
                  </a:lnTo>
                  <a:lnTo>
                    <a:pt x="1553" y="1182"/>
                  </a:lnTo>
                  <a:lnTo>
                    <a:pt x="1550" y="1166"/>
                  </a:lnTo>
                  <a:lnTo>
                    <a:pt x="1546" y="1145"/>
                  </a:lnTo>
                  <a:lnTo>
                    <a:pt x="1544" y="1123"/>
                  </a:lnTo>
                  <a:lnTo>
                    <a:pt x="1543" y="1102"/>
                  </a:lnTo>
                  <a:lnTo>
                    <a:pt x="1543" y="1083"/>
                  </a:lnTo>
                  <a:lnTo>
                    <a:pt x="1544" y="1075"/>
                  </a:lnTo>
                  <a:lnTo>
                    <a:pt x="1545" y="1069"/>
                  </a:lnTo>
                  <a:lnTo>
                    <a:pt x="1546" y="1066"/>
                  </a:lnTo>
                  <a:lnTo>
                    <a:pt x="1548" y="1065"/>
                  </a:lnTo>
                  <a:lnTo>
                    <a:pt x="1550" y="1055"/>
                  </a:lnTo>
                  <a:lnTo>
                    <a:pt x="1551" y="1046"/>
                  </a:lnTo>
                  <a:lnTo>
                    <a:pt x="1553" y="1037"/>
                  </a:lnTo>
                  <a:lnTo>
                    <a:pt x="1555" y="1029"/>
                  </a:lnTo>
                  <a:lnTo>
                    <a:pt x="1557" y="1021"/>
                  </a:lnTo>
                  <a:lnTo>
                    <a:pt x="1560" y="1013"/>
                  </a:lnTo>
                  <a:lnTo>
                    <a:pt x="1562" y="1006"/>
                  </a:lnTo>
                  <a:lnTo>
                    <a:pt x="1562" y="998"/>
                  </a:lnTo>
                  <a:lnTo>
                    <a:pt x="1564" y="998"/>
                  </a:lnTo>
                  <a:lnTo>
                    <a:pt x="1566" y="997"/>
                  </a:lnTo>
                  <a:lnTo>
                    <a:pt x="1569" y="995"/>
                  </a:lnTo>
                  <a:lnTo>
                    <a:pt x="1570" y="993"/>
                  </a:lnTo>
                  <a:lnTo>
                    <a:pt x="1572" y="989"/>
                  </a:lnTo>
                  <a:lnTo>
                    <a:pt x="1574" y="983"/>
                  </a:lnTo>
                  <a:lnTo>
                    <a:pt x="1575" y="972"/>
                  </a:lnTo>
                  <a:lnTo>
                    <a:pt x="1575" y="964"/>
                  </a:lnTo>
                  <a:lnTo>
                    <a:pt x="1579" y="964"/>
                  </a:lnTo>
                  <a:lnTo>
                    <a:pt x="1582" y="963"/>
                  </a:lnTo>
                  <a:lnTo>
                    <a:pt x="1583" y="961"/>
                  </a:lnTo>
                  <a:lnTo>
                    <a:pt x="1585" y="959"/>
                  </a:lnTo>
                  <a:lnTo>
                    <a:pt x="1588" y="952"/>
                  </a:lnTo>
                  <a:lnTo>
                    <a:pt x="1589" y="944"/>
                  </a:lnTo>
                  <a:lnTo>
                    <a:pt x="1590" y="937"/>
                  </a:lnTo>
                  <a:lnTo>
                    <a:pt x="1592" y="931"/>
                  </a:lnTo>
                  <a:lnTo>
                    <a:pt x="1594" y="929"/>
                  </a:lnTo>
                  <a:lnTo>
                    <a:pt x="1596" y="926"/>
                  </a:lnTo>
                  <a:lnTo>
                    <a:pt x="1599" y="925"/>
                  </a:lnTo>
                  <a:lnTo>
                    <a:pt x="1602" y="924"/>
                  </a:lnTo>
                  <a:lnTo>
                    <a:pt x="1605" y="911"/>
                  </a:lnTo>
                  <a:lnTo>
                    <a:pt x="1609" y="898"/>
                  </a:lnTo>
                  <a:lnTo>
                    <a:pt x="1611" y="897"/>
                  </a:lnTo>
                  <a:lnTo>
                    <a:pt x="1613" y="896"/>
                  </a:lnTo>
                  <a:lnTo>
                    <a:pt x="1615" y="893"/>
                  </a:lnTo>
                  <a:lnTo>
                    <a:pt x="1618" y="891"/>
                  </a:lnTo>
                  <a:lnTo>
                    <a:pt x="1621" y="884"/>
                  </a:lnTo>
                  <a:lnTo>
                    <a:pt x="1622" y="878"/>
                  </a:lnTo>
                  <a:lnTo>
                    <a:pt x="1629" y="872"/>
                  </a:lnTo>
                  <a:lnTo>
                    <a:pt x="1636" y="865"/>
                  </a:lnTo>
                  <a:lnTo>
                    <a:pt x="1642" y="858"/>
                  </a:lnTo>
                  <a:lnTo>
                    <a:pt x="1656" y="858"/>
                  </a:lnTo>
                  <a:lnTo>
                    <a:pt x="1662" y="852"/>
                  </a:lnTo>
                  <a:lnTo>
                    <a:pt x="1662" y="846"/>
                  </a:lnTo>
                  <a:lnTo>
                    <a:pt x="1665" y="834"/>
                  </a:lnTo>
                  <a:lnTo>
                    <a:pt x="1666" y="816"/>
                  </a:lnTo>
                  <a:lnTo>
                    <a:pt x="1667" y="798"/>
                  </a:lnTo>
                  <a:lnTo>
                    <a:pt x="1638" y="797"/>
                  </a:lnTo>
                  <a:lnTo>
                    <a:pt x="1610" y="796"/>
                  </a:lnTo>
                  <a:lnTo>
                    <a:pt x="1582" y="796"/>
                  </a:lnTo>
                  <a:lnTo>
                    <a:pt x="1553" y="795"/>
                  </a:lnTo>
                  <a:lnTo>
                    <a:pt x="1525" y="793"/>
                  </a:lnTo>
                  <a:lnTo>
                    <a:pt x="1496" y="793"/>
                  </a:lnTo>
                  <a:lnTo>
                    <a:pt x="1468" y="792"/>
                  </a:lnTo>
                  <a:lnTo>
                    <a:pt x="1439" y="792"/>
                  </a:lnTo>
                  <a:lnTo>
                    <a:pt x="1440" y="749"/>
                  </a:lnTo>
                  <a:lnTo>
                    <a:pt x="1440" y="710"/>
                  </a:lnTo>
                  <a:lnTo>
                    <a:pt x="1441" y="674"/>
                  </a:lnTo>
                  <a:lnTo>
                    <a:pt x="1442" y="642"/>
                  </a:lnTo>
                  <a:lnTo>
                    <a:pt x="1441" y="615"/>
                  </a:lnTo>
                  <a:lnTo>
                    <a:pt x="1440" y="591"/>
                  </a:lnTo>
                  <a:lnTo>
                    <a:pt x="1438" y="581"/>
                  </a:lnTo>
                  <a:lnTo>
                    <a:pt x="1436" y="574"/>
                  </a:lnTo>
                  <a:lnTo>
                    <a:pt x="1434" y="566"/>
                  </a:lnTo>
                  <a:lnTo>
                    <a:pt x="1430" y="560"/>
                  </a:lnTo>
                  <a:lnTo>
                    <a:pt x="1427" y="556"/>
                  </a:lnTo>
                  <a:lnTo>
                    <a:pt x="1423" y="552"/>
                  </a:lnTo>
                  <a:lnTo>
                    <a:pt x="1419" y="549"/>
                  </a:lnTo>
                  <a:lnTo>
                    <a:pt x="1416" y="547"/>
                  </a:lnTo>
                  <a:lnTo>
                    <a:pt x="1406" y="543"/>
                  </a:lnTo>
                  <a:lnTo>
                    <a:pt x="1396" y="541"/>
                  </a:lnTo>
                  <a:lnTo>
                    <a:pt x="1383" y="541"/>
                  </a:lnTo>
                  <a:lnTo>
                    <a:pt x="1370" y="542"/>
                  </a:lnTo>
                  <a:lnTo>
                    <a:pt x="1355" y="546"/>
                  </a:lnTo>
                  <a:lnTo>
                    <a:pt x="1340" y="548"/>
                  </a:lnTo>
                  <a:lnTo>
                    <a:pt x="1305" y="556"/>
                  </a:lnTo>
                  <a:lnTo>
                    <a:pt x="1265" y="565"/>
                  </a:lnTo>
                  <a:lnTo>
                    <a:pt x="1243" y="568"/>
                  </a:lnTo>
                  <a:lnTo>
                    <a:pt x="1219" y="570"/>
                  </a:lnTo>
                  <a:lnTo>
                    <a:pt x="1196" y="573"/>
                  </a:lnTo>
                  <a:lnTo>
                    <a:pt x="1170" y="574"/>
                  </a:lnTo>
                  <a:lnTo>
                    <a:pt x="1170" y="539"/>
                  </a:lnTo>
                  <a:lnTo>
                    <a:pt x="1172" y="508"/>
                  </a:lnTo>
                  <a:lnTo>
                    <a:pt x="1173" y="493"/>
                  </a:lnTo>
                  <a:lnTo>
                    <a:pt x="1177" y="480"/>
                  </a:lnTo>
                  <a:lnTo>
                    <a:pt x="1181" y="468"/>
                  </a:lnTo>
                  <a:lnTo>
                    <a:pt x="1187" y="456"/>
                  </a:lnTo>
                  <a:lnTo>
                    <a:pt x="1195" y="446"/>
                  </a:lnTo>
                  <a:lnTo>
                    <a:pt x="1204" y="436"/>
                  </a:lnTo>
                  <a:lnTo>
                    <a:pt x="1209" y="433"/>
                  </a:lnTo>
                  <a:lnTo>
                    <a:pt x="1215" y="429"/>
                  </a:lnTo>
                  <a:lnTo>
                    <a:pt x="1221" y="425"/>
                  </a:lnTo>
                  <a:lnTo>
                    <a:pt x="1229" y="423"/>
                  </a:lnTo>
                  <a:lnTo>
                    <a:pt x="1245" y="417"/>
                  </a:lnTo>
                  <a:lnTo>
                    <a:pt x="1264" y="414"/>
                  </a:lnTo>
                  <a:lnTo>
                    <a:pt x="1285" y="411"/>
                  </a:lnTo>
                  <a:lnTo>
                    <a:pt x="1310" y="411"/>
                  </a:lnTo>
                  <a:lnTo>
                    <a:pt x="1341" y="315"/>
                  </a:lnTo>
                  <a:lnTo>
                    <a:pt x="1304" y="253"/>
                  </a:lnTo>
                  <a:lnTo>
                    <a:pt x="1279" y="254"/>
                  </a:lnTo>
                  <a:lnTo>
                    <a:pt x="1255" y="258"/>
                  </a:lnTo>
                  <a:lnTo>
                    <a:pt x="1230" y="263"/>
                  </a:lnTo>
                  <a:lnTo>
                    <a:pt x="1206" y="270"/>
                  </a:lnTo>
                  <a:lnTo>
                    <a:pt x="1182" y="278"/>
                  </a:lnTo>
                  <a:lnTo>
                    <a:pt x="1159" y="288"/>
                  </a:lnTo>
                  <a:lnTo>
                    <a:pt x="1137" y="298"/>
                  </a:lnTo>
                  <a:lnTo>
                    <a:pt x="1113" y="309"/>
                  </a:lnTo>
                  <a:lnTo>
                    <a:pt x="1068" y="333"/>
                  </a:lnTo>
                  <a:lnTo>
                    <a:pt x="1024" y="356"/>
                  </a:lnTo>
                  <a:lnTo>
                    <a:pt x="1003" y="367"/>
                  </a:lnTo>
                  <a:lnTo>
                    <a:pt x="980" y="377"/>
                  </a:lnTo>
                  <a:lnTo>
                    <a:pt x="959" y="386"/>
                  </a:lnTo>
                  <a:lnTo>
                    <a:pt x="938" y="394"/>
                  </a:lnTo>
                  <a:lnTo>
                    <a:pt x="894" y="407"/>
                  </a:lnTo>
                  <a:lnTo>
                    <a:pt x="853" y="418"/>
                  </a:lnTo>
                  <a:lnTo>
                    <a:pt x="833" y="423"/>
                  </a:lnTo>
                  <a:lnTo>
                    <a:pt x="814" y="426"/>
                  </a:lnTo>
                  <a:lnTo>
                    <a:pt x="794" y="429"/>
                  </a:lnTo>
                  <a:lnTo>
                    <a:pt x="776" y="431"/>
                  </a:lnTo>
                  <a:lnTo>
                    <a:pt x="757" y="431"/>
                  </a:lnTo>
                  <a:lnTo>
                    <a:pt x="740" y="431"/>
                  </a:lnTo>
                  <a:lnTo>
                    <a:pt x="722" y="429"/>
                  </a:lnTo>
                  <a:lnTo>
                    <a:pt x="706" y="425"/>
                  </a:lnTo>
                  <a:lnTo>
                    <a:pt x="690" y="421"/>
                  </a:lnTo>
                  <a:lnTo>
                    <a:pt x="674" y="415"/>
                  </a:lnTo>
                  <a:lnTo>
                    <a:pt x="660" y="408"/>
                  </a:lnTo>
                  <a:lnTo>
                    <a:pt x="647" y="400"/>
                  </a:lnTo>
                  <a:lnTo>
                    <a:pt x="633" y="389"/>
                  </a:lnTo>
                  <a:lnTo>
                    <a:pt x="620" y="377"/>
                  </a:lnTo>
                  <a:lnTo>
                    <a:pt x="609" y="364"/>
                  </a:lnTo>
                  <a:lnTo>
                    <a:pt x="597" y="348"/>
                  </a:lnTo>
                  <a:lnTo>
                    <a:pt x="586" y="330"/>
                  </a:lnTo>
                  <a:lnTo>
                    <a:pt x="577" y="311"/>
                  </a:lnTo>
                  <a:lnTo>
                    <a:pt x="568" y="290"/>
                  </a:lnTo>
                  <a:lnTo>
                    <a:pt x="561" y="267"/>
                  </a:lnTo>
                  <a:lnTo>
                    <a:pt x="553" y="242"/>
                  </a:lnTo>
                  <a:lnTo>
                    <a:pt x="547" y="214"/>
                  </a:lnTo>
                  <a:lnTo>
                    <a:pt x="542" y="185"/>
                  </a:lnTo>
                  <a:lnTo>
                    <a:pt x="537" y="153"/>
                  </a:lnTo>
                  <a:lnTo>
                    <a:pt x="534" y="118"/>
                  </a:lnTo>
                  <a:lnTo>
                    <a:pt x="532" y="81"/>
                  </a:lnTo>
                  <a:lnTo>
                    <a:pt x="529" y="42"/>
                  </a:lnTo>
                  <a:lnTo>
                    <a:pt x="529" y="0"/>
                  </a:lnTo>
                  <a:lnTo>
                    <a:pt x="520" y="1"/>
                  </a:lnTo>
                  <a:lnTo>
                    <a:pt x="514" y="2"/>
                  </a:lnTo>
                  <a:lnTo>
                    <a:pt x="506" y="4"/>
                  </a:lnTo>
                  <a:lnTo>
                    <a:pt x="499" y="6"/>
                  </a:lnTo>
                  <a:lnTo>
                    <a:pt x="488" y="10"/>
                  </a:lnTo>
                  <a:lnTo>
                    <a:pt x="478" y="11"/>
                  </a:lnTo>
                  <a:lnTo>
                    <a:pt x="478" y="28"/>
                  </a:lnTo>
                  <a:lnTo>
                    <a:pt x="467" y="31"/>
                  </a:lnTo>
                  <a:lnTo>
                    <a:pt x="450" y="35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42" name="Freeform 10"/>
            <p:cNvSpPr>
              <a:spLocks noChangeAspect="1"/>
            </p:cNvSpPr>
            <p:nvPr/>
          </p:nvSpPr>
          <p:spPr bwMode="gray">
            <a:xfrm rot="355651">
              <a:off x="6727437" y="4856163"/>
              <a:ext cx="232750" cy="163949"/>
            </a:xfrm>
            <a:custGeom>
              <a:avLst/>
              <a:gdLst/>
              <a:ahLst/>
              <a:cxnLst>
                <a:cxn ang="0">
                  <a:pos x="71" y="675"/>
                </a:cxn>
                <a:cxn ang="0">
                  <a:pos x="240" y="719"/>
                </a:cxn>
                <a:cxn ang="0">
                  <a:pos x="444" y="799"/>
                </a:cxn>
                <a:cxn ang="0">
                  <a:pos x="525" y="851"/>
                </a:cxn>
                <a:cxn ang="0">
                  <a:pos x="560" y="882"/>
                </a:cxn>
                <a:cxn ang="0">
                  <a:pos x="676" y="901"/>
                </a:cxn>
                <a:cxn ang="0">
                  <a:pos x="838" y="960"/>
                </a:cxn>
                <a:cxn ang="0">
                  <a:pos x="922" y="1011"/>
                </a:cxn>
                <a:cxn ang="0">
                  <a:pos x="964" y="964"/>
                </a:cxn>
                <a:cxn ang="0">
                  <a:pos x="995" y="949"/>
                </a:cxn>
                <a:cxn ang="0">
                  <a:pos x="1019" y="923"/>
                </a:cxn>
                <a:cxn ang="0">
                  <a:pos x="999" y="851"/>
                </a:cxn>
                <a:cxn ang="0">
                  <a:pos x="959" y="784"/>
                </a:cxn>
                <a:cxn ang="0">
                  <a:pos x="969" y="749"/>
                </a:cxn>
                <a:cxn ang="0">
                  <a:pos x="984" y="742"/>
                </a:cxn>
                <a:cxn ang="0">
                  <a:pos x="998" y="736"/>
                </a:cxn>
                <a:cxn ang="0">
                  <a:pos x="1053" y="736"/>
                </a:cxn>
                <a:cxn ang="0">
                  <a:pos x="1073" y="746"/>
                </a:cxn>
                <a:cxn ang="0">
                  <a:pos x="1111" y="762"/>
                </a:cxn>
                <a:cxn ang="0">
                  <a:pos x="1136" y="780"/>
                </a:cxn>
                <a:cxn ang="0">
                  <a:pos x="1159" y="798"/>
                </a:cxn>
                <a:cxn ang="0">
                  <a:pos x="1192" y="808"/>
                </a:cxn>
                <a:cxn ang="0">
                  <a:pos x="1273" y="798"/>
                </a:cxn>
                <a:cxn ang="0">
                  <a:pos x="1268" y="735"/>
                </a:cxn>
                <a:cxn ang="0">
                  <a:pos x="1274" y="616"/>
                </a:cxn>
                <a:cxn ang="0">
                  <a:pos x="1275" y="527"/>
                </a:cxn>
                <a:cxn ang="0">
                  <a:pos x="1269" y="514"/>
                </a:cxn>
                <a:cxn ang="0">
                  <a:pos x="1252" y="489"/>
                </a:cxn>
                <a:cxn ang="0">
                  <a:pos x="1204" y="430"/>
                </a:cxn>
                <a:cxn ang="0">
                  <a:pos x="1207" y="406"/>
                </a:cxn>
                <a:cxn ang="0">
                  <a:pos x="1231" y="376"/>
                </a:cxn>
                <a:cxn ang="0">
                  <a:pos x="1242" y="361"/>
                </a:cxn>
                <a:cxn ang="0">
                  <a:pos x="1262" y="334"/>
                </a:cxn>
                <a:cxn ang="0">
                  <a:pos x="1262" y="303"/>
                </a:cxn>
                <a:cxn ang="0">
                  <a:pos x="1232" y="266"/>
                </a:cxn>
                <a:cxn ang="0">
                  <a:pos x="1228" y="252"/>
                </a:cxn>
                <a:cxn ang="0">
                  <a:pos x="1223" y="240"/>
                </a:cxn>
                <a:cxn ang="0">
                  <a:pos x="1218" y="181"/>
                </a:cxn>
                <a:cxn ang="0">
                  <a:pos x="1207" y="143"/>
                </a:cxn>
                <a:cxn ang="0">
                  <a:pos x="1125" y="73"/>
                </a:cxn>
                <a:cxn ang="0">
                  <a:pos x="1044" y="74"/>
                </a:cxn>
                <a:cxn ang="0">
                  <a:pos x="932" y="39"/>
                </a:cxn>
                <a:cxn ang="0">
                  <a:pos x="842" y="4"/>
                </a:cxn>
                <a:cxn ang="0">
                  <a:pos x="767" y="11"/>
                </a:cxn>
                <a:cxn ang="0">
                  <a:pos x="633" y="105"/>
                </a:cxn>
                <a:cxn ang="0">
                  <a:pos x="538" y="174"/>
                </a:cxn>
                <a:cxn ang="0">
                  <a:pos x="480" y="198"/>
                </a:cxn>
                <a:cxn ang="0">
                  <a:pos x="258" y="220"/>
                </a:cxn>
                <a:cxn ang="0">
                  <a:pos x="122" y="255"/>
                </a:cxn>
                <a:cxn ang="0">
                  <a:pos x="93" y="286"/>
                </a:cxn>
                <a:cxn ang="0">
                  <a:pos x="72" y="314"/>
                </a:cxn>
                <a:cxn ang="0">
                  <a:pos x="59" y="345"/>
                </a:cxn>
                <a:cxn ang="0">
                  <a:pos x="47" y="358"/>
                </a:cxn>
                <a:cxn ang="0">
                  <a:pos x="39" y="384"/>
                </a:cxn>
                <a:cxn ang="0">
                  <a:pos x="29" y="410"/>
                </a:cxn>
                <a:cxn ang="0">
                  <a:pos x="19" y="419"/>
                </a:cxn>
                <a:cxn ang="0">
                  <a:pos x="10" y="458"/>
                </a:cxn>
                <a:cxn ang="0">
                  <a:pos x="2" y="490"/>
                </a:cxn>
                <a:cxn ang="0">
                  <a:pos x="3" y="566"/>
                </a:cxn>
                <a:cxn ang="0">
                  <a:pos x="20" y="626"/>
                </a:cxn>
              </a:cxnLst>
              <a:rect l="0" t="0" r="r" b="b"/>
              <a:pathLst>
                <a:path w="1277" h="1011">
                  <a:moveTo>
                    <a:pt x="31" y="688"/>
                  </a:moveTo>
                  <a:lnTo>
                    <a:pt x="43" y="687"/>
                  </a:lnTo>
                  <a:lnTo>
                    <a:pt x="53" y="685"/>
                  </a:lnTo>
                  <a:lnTo>
                    <a:pt x="53" y="674"/>
                  </a:lnTo>
                  <a:lnTo>
                    <a:pt x="71" y="675"/>
                  </a:lnTo>
                  <a:lnTo>
                    <a:pt x="96" y="680"/>
                  </a:lnTo>
                  <a:lnTo>
                    <a:pt x="126" y="687"/>
                  </a:lnTo>
                  <a:lnTo>
                    <a:pt x="161" y="696"/>
                  </a:lnTo>
                  <a:lnTo>
                    <a:pt x="200" y="707"/>
                  </a:lnTo>
                  <a:lnTo>
                    <a:pt x="240" y="719"/>
                  </a:lnTo>
                  <a:lnTo>
                    <a:pt x="282" y="733"/>
                  </a:lnTo>
                  <a:lnTo>
                    <a:pt x="326" y="749"/>
                  </a:lnTo>
                  <a:lnTo>
                    <a:pt x="367" y="765"/>
                  </a:lnTo>
                  <a:lnTo>
                    <a:pt x="407" y="781"/>
                  </a:lnTo>
                  <a:lnTo>
                    <a:pt x="444" y="799"/>
                  </a:lnTo>
                  <a:lnTo>
                    <a:pt x="477" y="816"/>
                  </a:lnTo>
                  <a:lnTo>
                    <a:pt x="491" y="825"/>
                  </a:lnTo>
                  <a:lnTo>
                    <a:pt x="503" y="834"/>
                  </a:lnTo>
                  <a:lnTo>
                    <a:pt x="515" y="842"/>
                  </a:lnTo>
                  <a:lnTo>
                    <a:pt x="525" y="851"/>
                  </a:lnTo>
                  <a:lnTo>
                    <a:pt x="532" y="858"/>
                  </a:lnTo>
                  <a:lnTo>
                    <a:pt x="538" y="866"/>
                  </a:lnTo>
                  <a:lnTo>
                    <a:pt x="541" y="874"/>
                  </a:lnTo>
                  <a:lnTo>
                    <a:pt x="542" y="882"/>
                  </a:lnTo>
                  <a:lnTo>
                    <a:pt x="560" y="882"/>
                  </a:lnTo>
                  <a:lnTo>
                    <a:pt x="577" y="883"/>
                  </a:lnTo>
                  <a:lnTo>
                    <a:pt x="594" y="885"/>
                  </a:lnTo>
                  <a:lnTo>
                    <a:pt x="611" y="887"/>
                  </a:lnTo>
                  <a:lnTo>
                    <a:pt x="644" y="893"/>
                  </a:lnTo>
                  <a:lnTo>
                    <a:pt x="676" y="901"/>
                  </a:lnTo>
                  <a:lnTo>
                    <a:pt x="708" y="910"/>
                  </a:lnTo>
                  <a:lnTo>
                    <a:pt x="737" y="920"/>
                  </a:lnTo>
                  <a:lnTo>
                    <a:pt x="766" y="930"/>
                  </a:lnTo>
                  <a:lnTo>
                    <a:pt x="794" y="941"/>
                  </a:lnTo>
                  <a:lnTo>
                    <a:pt x="838" y="960"/>
                  </a:lnTo>
                  <a:lnTo>
                    <a:pt x="874" y="978"/>
                  </a:lnTo>
                  <a:lnTo>
                    <a:pt x="890" y="987"/>
                  </a:lnTo>
                  <a:lnTo>
                    <a:pt x="902" y="995"/>
                  </a:lnTo>
                  <a:lnTo>
                    <a:pt x="913" y="1004"/>
                  </a:lnTo>
                  <a:lnTo>
                    <a:pt x="922" y="1011"/>
                  </a:lnTo>
                  <a:lnTo>
                    <a:pt x="938" y="995"/>
                  </a:lnTo>
                  <a:lnTo>
                    <a:pt x="949" y="980"/>
                  </a:lnTo>
                  <a:lnTo>
                    <a:pt x="957" y="971"/>
                  </a:lnTo>
                  <a:lnTo>
                    <a:pt x="959" y="966"/>
                  </a:lnTo>
                  <a:lnTo>
                    <a:pt x="964" y="964"/>
                  </a:lnTo>
                  <a:lnTo>
                    <a:pt x="969" y="964"/>
                  </a:lnTo>
                  <a:lnTo>
                    <a:pt x="973" y="962"/>
                  </a:lnTo>
                  <a:lnTo>
                    <a:pt x="978" y="960"/>
                  </a:lnTo>
                  <a:lnTo>
                    <a:pt x="987" y="954"/>
                  </a:lnTo>
                  <a:lnTo>
                    <a:pt x="995" y="949"/>
                  </a:lnTo>
                  <a:lnTo>
                    <a:pt x="1001" y="942"/>
                  </a:lnTo>
                  <a:lnTo>
                    <a:pt x="1008" y="938"/>
                  </a:lnTo>
                  <a:lnTo>
                    <a:pt x="1014" y="933"/>
                  </a:lnTo>
                  <a:lnTo>
                    <a:pt x="1019" y="932"/>
                  </a:lnTo>
                  <a:lnTo>
                    <a:pt x="1019" y="923"/>
                  </a:lnTo>
                  <a:lnTo>
                    <a:pt x="1017" y="913"/>
                  </a:lnTo>
                  <a:lnTo>
                    <a:pt x="1016" y="903"/>
                  </a:lnTo>
                  <a:lnTo>
                    <a:pt x="1012" y="892"/>
                  </a:lnTo>
                  <a:lnTo>
                    <a:pt x="1007" y="871"/>
                  </a:lnTo>
                  <a:lnTo>
                    <a:pt x="999" y="851"/>
                  </a:lnTo>
                  <a:lnTo>
                    <a:pt x="986" y="816"/>
                  </a:lnTo>
                  <a:lnTo>
                    <a:pt x="979" y="798"/>
                  </a:lnTo>
                  <a:lnTo>
                    <a:pt x="966" y="798"/>
                  </a:lnTo>
                  <a:lnTo>
                    <a:pt x="963" y="795"/>
                  </a:lnTo>
                  <a:lnTo>
                    <a:pt x="959" y="784"/>
                  </a:lnTo>
                  <a:lnTo>
                    <a:pt x="954" y="770"/>
                  </a:lnTo>
                  <a:lnTo>
                    <a:pt x="952" y="759"/>
                  </a:lnTo>
                  <a:lnTo>
                    <a:pt x="966" y="759"/>
                  </a:lnTo>
                  <a:lnTo>
                    <a:pt x="967" y="752"/>
                  </a:lnTo>
                  <a:lnTo>
                    <a:pt x="969" y="749"/>
                  </a:lnTo>
                  <a:lnTo>
                    <a:pt x="972" y="747"/>
                  </a:lnTo>
                  <a:lnTo>
                    <a:pt x="976" y="746"/>
                  </a:lnTo>
                  <a:lnTo>
                    <a:pt x="979" y="746"/>
                  </a:lnTo>
                  <a:lnTo>
                    <a:pt x="982" y="745"/>
                  </a:lnTo>
                  <a:lnTo>
                    <a:pt x="984" y="742"/>
                  </a:lnTo>
                  <a:lnTo>
                    <a:pt x="986" y="739"/>
                  </a:lnTo>
                  <a:lnTo>
                    <a:pt x="990" y="739"/>
                  </a:lnTo>
                  <a:lnTo>
                    <a:pt x="995" y="738"/>
                  </a:lnTo>
                  <a:lnTo>
                    <a:pt x="997" y="737"/>
                  </a:lnTo>
                  <a:lnTo>
                    <a:pt x="998" y="736"/>
                  </a:lnTo>
                  <a:lnTo>
                    <a:pt x="999" y="735"/>
                  </a:lnTo>
                  <a:lnTo>
                    <a:pt x="999" y="732"/>
                  </a:lnTo>
                  <a:lnTo>
                    <a:pt x="1016" y="732"/>
                  </a:lnTo>
                  <a:lnTo>
                    <a:pt x="1040" y="733"/>
                  </a:lnTo>
                  <a:lnTo>
                    <a:pt x="1053" y="736"/>
                  </a:lnTo>
                  <a:lnTo>
                    <a:pt x="1063" y="738"/>
                  </a:lnTo>
                  <a:lnTo>
                    <a:pt x="1067" y="739"/>
                  </a:lnTo>
                  <a:lnTo>
                    <a:pt x="1069" y="741"/>
                  </a:lnTo>
                  <a:lnTo>
                    <a:pt x="1072" y="744"/>
                  </a:lnTo>
                  <a:lnTo>
                    <a:pt x="1073" y="746"/>
                  </a:lnTo>
                  <a:lnTo>
                    <a:pt x="1082" y="748"/>
                  </a:lnTo>
                  <a:lnTo>
                    <a:pt x="1095" y="752"/>
                  </a:lnTo>
                  <a:lnTo>
                    <a:pt x="1102" y="756"/>
                  </a:lnTo>
                  <a:lnTo>
                    <a:pt x="1107" y="759"/>
                  </a:lnTo>
                  <a:lnTo>
                    <a:pt x="1111" y="762"/>
                  </a:lnTo>
                  <a:lnTo>
                    <a:pt x="1113" y="766"/>
                  </a:lnTo>
                  <a:lnTo>
                    <a:pt x="1125" y="766"/>
                  </a:lnTo>
                  <a:lnTo>
                    <a:pt x="1127" y="770"/>
                  </a:lnTo>
                  <a:lnTo>
                    <a:pt x="1131" y="776"/>
                  </a:lnTo>
                  <a:lnTo>
                    <a:pt x="1136" y="780"/>
                  </a:lnTo>
                  <a:lnTo>
                    <a:pt x="1142" y="785"/>
                  </a:lnTo>
                  <a:lnTo>
                    <a:pt x="1149" y="789"/>
                  </a:lnTo>
                  <a:lnTo>
                    <a:pt x="1154" y="793"/>
                  </a:lnTo>
                  <a:lnTo>
                    <a:pt x="1158" y="796"/>
                  </a:lnTo>
                  <a:lnTo>
                    <a:pt x="1159" y="798"/>
                  </a:lnTo>
                  <a:lnTo>
                    <a:pt x="1179" y="798"/>
                  </a:lnTo>
                  <a:lnTo>
                    <a:pt x="1180" y="803"/>
                  </a:lnTo>
                  <a:lnTo>
                    <a:pt x="1183" y="805"/>
                  </a:lnTo>
                  <a:lnTo>
                    <a:pt x="1187" y="807"/>
                  </a:lnTo>
                  <a:lnTo>
                    <a:pt x="1192" y="808"/>
                  </a:lnTo>
                  <a:lnTo>
                    <a:pt x="1207" y="809"/>
                  </a:lnTo>
                  <a:lnTo>
                    <a:pt x="1222" y="809"/>
                  </a:lnTo>
                  <a:lnTo>
                    <a:pt x="1252" y="807"/>
                  </a:lnTo>
                  <a:lnTo>
                    <a:pt x="1266" y="805"/>
                  </a:lnTo>
                  <a:lnTo>
                    <a:pt x="1273" y="798"/>
                  </a:lnTo>
                  <a:lnTo>
                    <a:pt x="1273" y="786"/>
                  </a:lnTo>
                  <a:lnTo>
                    <a:pt x="1271" y="762"/>
                  </a:lnTo>
                  <a:lnTo>
                    <a:pt x="1270" y="751"/>
                  </a:lnTo>
                  <a:lnTo>
                    <a:pt x="1269" y="741"/>
                  </a:lnTo>
                  <a:lnTo>
                    <a:pt x="1268" y="735"/>
                  </a:lnTo>
                  <a:lnTo>
                    <a:pt x="1266" y="732"/>
                  </a:lnTo>
                  <a:lnTo>
                    <a:pt x="1267" y="713"/>
                  </a:lnTo>
                  <a:lnTo>
                    <a:pt x="1268" y="685"/>
                  </a:lnTo>
                  <a:lnTo>
                    <a:pt x="1271" y="652"/>
                  </a:lnTo>
                  <a:lnTo>
                    <a:pt x="1274" y="616"/>
                  </a:lnTo>
                  <a:lnTo>
                    <a:pt x="1276" y="582"/>
                  </a:lnTo>
                  <a:lnTo>
                    <a:pt x="1277" y="553"/>
                  </a:lnTo>
                  <a:lnTo>
                    <a:pt x="1277" y="541"/>
                  </a:lnTo>
                  <a:lnTo>
                    <a:pt x="1276" y="533"/>
                  </a:lnTo>
                  <a:lnTo>
                    <a:pt x="1275" y="527"/>
                  </a:lnTo>
                  <a:lnTo>
                    <a:pt x="1273" y="526"/>
                  </a:lnTo>
                  <a:lnTo>
                    <a:pt x="1273" y="520"/>
                  </a:lnTo>
                  <a:lnTo>
                    <a:pt x="1271" y="516"/>
                  </a:lnTo>
                  <a:lnTo>
                    <a:pt x="1270" y="515"/>
                  </a:lnTo>
                  <a:lnTo>
                    <a:pt x="1269" y="514"/>
                  </a:lnTo>
                  <a:lnTo>
                    <a:pt x="1268" y="512"/>
                  </a:lnTo>
                  <a:lnTo>
                    <a:pt x="1266" y="512"/>
                  </a:lnTo>
                  <a:lnTo>
                    <a:pt x="1266" y="499"/>
                  </a:lnTo>
                  <a:lnTo>
                    <a:pt x="1261" y="496"/>
                  </a:lnTo>
                  <a:lnTo>
                    <a:pt x="1252" y="489"/>
                  </a:lnTo>
                  <a:lnTo>
                    <a:pt x="1241" y="479"/>
                  </a:lnTo>
                  <a:lnTo>
                    <a:pt x="1230" y="466"/>
                  </a:lnTo>
                  <a:lnTo>
                    <a:pt x="1218" y="451"/>
                  </a:lnTo>
                  <a:lnTo>
                    <a:pt x="1209" y="437"/>
                  </a:lnTo>
                  <a:lnTo>
                    <a:pt x="1204" y="430"/>
                  </a:lnTo>
                  <a:lnTo>
                    <a:pt x="1201" y="423"/>
                  </a:lnTo>
                  <a:lnTo>
                    <a:pt x="1200" y="418"/>
                  </a:lnTo>
                  <a:lnTo>
                    <a:pt x="1199" y="412"/>
                  </a:lnTo>
                  <a:lnTo>
                    <a:pt x="1202" y="411"/>
                  </a:lnTo>
                  <a:lnTo>
                    <a:pt x="1207" y="406"/>
                  </a:lnTo>
                  <a:lnTo>
                    <a:pt x="1211" y="400"/>
                  </a:lnTo>
                  <a:lnTo>
                    <a:pt x="1217" y="392"/>
                  </a:lnTo>
                  <a:lnTo>
                    <a:pt x="1222" y="385"/>
                  </a:lnTo>
                  <a:lnTo>
                    <a:pt x="1228" y="379"/>
                  </a:lnTo>
                  <a:lnTo>
                    <a:pt x="1231" y="376"/>
                  </a:lnTo>
                  <a:lnTo>
                    <a:pt x="1233" y="374"/>
                  </a:lnTo>
                  <a:lnTo>
                    <a:pt x="1237" y="373"/>
                  </a:lnTo>
                  <a:lnTo>
                    <a:pt x="1239" y="372"/>
                  </a:lnTo>
                  <a:lnTo>
                    <a:pt x="1240" y="366"/>
                  </a:lnTo>
                  <a:lnTo>
                    <a:pt x="1242" y="361"/>
                  </a:lnTo>
                  <a:lnTo>
                    <a:pt x="1246" y="354"/>
                  </a:lnTo>
                  <a:lnTo>
                    <a:pt x="1250" y="347"/>
                  </a:lnTo>
                  <a:lnTo>
                    <a:pt x="1255" y="342"/>
                  </a:lnTo>
                  <a:lnTo>
                    <a:pt x="1259" y="336"/>
                  </a:lnTo>
                  <a:lnTo>
                    <a:pt x="1262" y="334"/>
                  </a:lnTo>
                  <a:lnTo>
                    <a:pt x="1266" y="332"/>
                  </a:lnTo>
                  <a:lnTo>
                    <a:pt x="1266" y="324"/>
                  </a:lnTo>
                  <a:lnTo>
                    <a:pt x="1265" y="313"/>
                  </a:lnTo>
                  <a:lnTo>
                    <a:pt x="1264" y="307"/>
                  </a:lnTo>
                  <a:lnTo>
                    <a:pt x="1262" y="303"/>
                  </a:lnTo>
                  <a:lnTo>
                    <a:pt x="1261" y="300"/>
                  </a:lnTo>
                  <a:lnTo>
                    <a:pt x="1259" y="299"/>
                  </a:lnTo>
                  <a:lnTo>
                    <a:pt x="1259" y="286"/>
                  </a:lnTo>
                  <a:lnTo>
                    <a:pt x="1246" y="276"/>
                  </a:lnTo>
                  <a:lnTo>
                    <a:pt x="1232" y="266"/>
                  </a:lnTo>
                  <a:lnTo>
                    <a:pt x="1232" y="260"/>
                  </a:lnTo>
                  <a:lnTo>
                    <a:pt x="1231" y="257"/>
                  </a:lnTo>
                  <a:lnTo>
                    <a:pt x="1231" y="255"/>
                  </a:lnTo>
                  <a:lnTo>
                    <a:pt x="1229" y="254"/>
                  </a:lnTo>
                  <a:lnTo>
                    <a:pt x="1228" y="252"/>
                  </a:lnTo>
                  <a:lnTo>
                    <a:pt x="1226" y="252"/>
                  </a:lnTo>
                  <a:lnTo>
                    <a:pt x="1226" y="247"/>
                  </a:lnTo>
                  <a:lnTo>
                    <a:pt x="1225" y="244"/>
                  </a:lnTo>
                  <a:lnTo>
                    <a:pt x="1225" y="241"/>
                  </a:lnTo>
                  <a:lnTo>
                    <a:pt x="1223" y="240"/>
                  </a:lnTo>
                  <a:lnTo>
                    <a:pt x="1221" y="239"/>
                  </a:lnTo>
                  <a:lnTo>
                    <a:pt x="1219" y="239"/>
                  </a:lnTo>
                  <a:lnTo>
                    <a:pt x="1219" y="221"/>
                  </a:lnTo>
                  <a:lnTo>
                    <a:pt x="1218" y="194"/>
                  </a:lnTo>
                  <a:lnTo>
                    <a:pt x="1218" y="181"/>
                  </a:lnTo>
                  <a:lnTo>
                    <a:pt x="1217" y="170"/>
                  </a:lnTo>
                  <a:lnTo>
                    <a:pt x="1214" y="162"/>
                  </a:lnTo>
                  <a:lnTo>
                    <a:pt x="1212" y="159"/>
                  </a:lnTo>
                  <a:lnTo>
                    <a:pt x="1211" y="152"/>
                  </a:lnTo>
                  <a:lnTo>
                    <a:pt x="1207" y="143"/>
                  </a:lnTo>
                  <a:lnTo>
                    <a:pt x="1201" y="132"/>
                  </a:lnTo>
                  <a:lnTo>
                    <a:pt x="1194" y="120"/>
                  </a:lnTo>
                  <a:lnTo>
                    <a:pt x="1177" y="93"/>
                  </a:lnTo>
                  <a:lnTo>
                    <a:pt x="1158" y="68"/>
                  </a:lnTo>
                  <a:lnTo>
                    <a:pt x="1125" y="73"/>
                  </a:lnTo>
                  <a:lnTo>
                    <a:pt x="1095" y="75"/>
                  </a:lnTo>
                  <a:lnTo>
                    <a:pt x="1082" y="75"/>
                  </a:lnTo>
                  <a:lnTo>
                    <a:pt x="1068" y="75"/>
                  </a:lnTo>
                  <a:lnTo>
                    <a:pt x="1055" y="75"/>
                  </a:lnTo>
                  <a:lnTo>
                    <a:pt x="1044" y="74"/>
                  </a:lnTo>
                  <a:lnTo>
                    <a:pt x="1024" y="71"/>
                  </a:lnTo>
                  <a:lnTo>
                    <a:pt x="1003" y="65"/>
                  </a:lnTo>
                  <a:lnTo>
                    <a:pt x="984" y="59"/>
                  </a:lnTo>
                  <a:lnTo>
                    <a:pt x="967" y="54"/>
                  </a:lnTo>
                  <a:lnTo>
                    <a:pt x="932" y="39"/>
                  </a:lnTo>
                  <a:lnTo>
                    <a:pt x="901" y="25"/>
                  </a:lnTo>
                  <a:lnTo>
                    <a:pt x="885" y="19"/>
                  </a:lnTo>
                  <a:lnTo>
                    <a:pt x="871" y="12"/>
                  </a:lnTo>
                  <a:lnTo>
                    <a:pt x="856" y="8"/>
                  </a:lnTo>
                  <a:lnTo>
                    <a:pt x="842" y="4"/>
                  </a:lnTo>
                  <a:lnTo>
                    <a:pt x="828" y="1"/>
                  </a:lnTo>
                  <a:lnTo>
                    <a:pt x="814" y="0"/>
                  </a:lnTo>
                  <a:lnTo>
                    <a:pt x="800" y="1"/>
                  </a:lnTo>
                  <a:lnTo>
                    <a:pt x="787" y="5"/>
                  </a:lnTo>
                  <a:lnTo>
                    <a:pt x="767" y="11"/>
                  </a:lnTo>
                  <a:lnTo>
                    <a:pt x="747" y="21"/>
                  </a:lnTo>
                  <a:lnTo>
                    <a:pt x="728" y="33"/>
                  </a:lnTo>
                  <a:lnTo>
                    <a:pt x="709" y="45"/>
                  </a:lnTo>
                  <a:lnTo>
                    <a:pt x="671" y="74"/>
                  </a:lnTo>
                  <a:lnTo>
                    <a:pt x="633" y="105"/>
                  </a:lnTo>
                  <a:lnTo>
                    <a:pt x="614" y="121"/>
                  </a:lnTo>
                  <a:lnTo>
                    <a:pt x="595" y="135"/>
                  </a:lnTo>
                  <a:lnTo>
                    <a:pt x="576" y="150"/>
                  </a:lnTo>
                  <a:lnTo>
                    <a:pt x="557" y="163"/>
                  </a:lnTo>
                  <a:lnTo>
                    <a:pt x="538" y="174"/>
                  </a:lnTo>
                  <a:lnTo>
                    <a:pt x="519" y="184"/>
                  </a:lnTo>
                  <a:lnTo>
                    <a:pt x="509" y="189"/>
                  </a:lnTo>
                  <a:lnTo>
                    <a:pt x="499" y="192"/>
                  </a:lnTo>
                  <a:lnTo>
                    <a:pt x="490" y="196"/>
                  </a:lnTo>
                  <a:lnTo>
                    <a:pt x="480" y="198"/>
                  </a:lnTo>
                  <a:lnTo>
                    <a:pt x="435" y="206"/>
                  </a:lnTo>
                  <a:lnTo>
                    <a:pt x="391" y="211"/>
                  </a:lnTo>
                  <a:lnTo>
                    <a:pt x="346" y="216"/>
                  </a:lnTo>
                  <a:lnTo>
                    <a:pt x="302" y="219"/>
                  </a:lnTo>
                  <a:lnTo>
                    <a:pt x="258" y="220"/>
                  </a:lnTo>
                  <a:lnTo>
                    <a:pt x="213" y="220"/>
                  </a:lnTo>
                  <a:lnTo>
                    <a:pt x="168" y="220"/>
                  </a:lnTo>
                  <a:lnTo>
                    <a:pt x="124" y="219"/>
                  </a:lnTo>
                  <a:lnTo>
                    <a:pt x="123" y="237"/>
                  </a:lnTo>
                  <a:lnTo>
                    <a:pt x="122" y="255"/>
                  </a:lnTo>
                  <a:lnTo>
                    <a:pt x="119" y="267"/>
                  </a:lnTo>
                  <a:lnTo>
                    <a:pt x="119" y="273"/>
                  </a:lnTo>
                  <a:lnTo>
                    <a:pt x="113" y="279"/>
                  </a:lnTo>
                  <a:lnTo>
                    <a:pt x="99" y="279"/>
                  </a:lnTo>
                  <a:lnTo>
                    <a:pt x="93" y="286"/>
                  </a:lnTo>
                  <a:lnTo>
                    <a:pt x="86" y="293"/>
                  </a:lnTo>
                  <a:lnTo>
                    <a:pt x="79" y="299"/>
                  </a:lnTo>
                  <a:lnTo>
                    <a:pt x="78" y="305"/>
                  </a:lnTo>
                  <a:lnTo>
                    <a:pt x="75" y="312"/>
                  </a:lnTo>
                  <a:lnTo>
                    <a:pt x="72" y="314"/>
                  </a:lnTo>
                  <a:lnTo>
                    <a:pt x="70" y="317"/>
                  </a:lnTo>
                  <a:lnTo>
                    <a:pt x="68" y="318"/>
                  </a:lnTo>
                  <a:lnTo>
                    <a:pt x="66" y="319"/>
                  </a:lnTo>
                  <a:lnTo>
                    <a:pt x="62" y="332"/>
                  </a:lnTo>
                  <a:lnTo>
                    <a:pt x="59" y="345"/>
                  </a:lnTo>
                  <a:lnTo>
                    <a:pt x="56" y="346"/>
                  </a:lnTo>
                  <a:lnTo>
                    <a:pt x="53" y="347"/>
                  </a:lnTo>
                  <a:lnTo>
                    <a:pt x="51" y="350"/>
                  </a:lnTo>
                  <a:lnTo>
                    <a:pt x="49" y="352"/>
                  </a:lnTo>
                  <a:lnTo>
                    <a:pt x="47" y="358"/>
                  </a:lnTo>
                  <a:lnTo>
                    <a:pt x="46" y="365"/>
                  </a:lnTo>
                  <a:lnTo>
                    <a:pt x="45" y="373"/>
                  </a:lnTo>
                  <a:lnTo>
                    <a:pt x="42" y="380"/>
                  </a:lnTo>
                  <a:lnTo>
                    <a:pt x="40" y="382"/>
                  </a:lnTo>
                  <a:lnTo>
                    <a:pt x="39" y="384"/>
                  </a:lnTo>
                  <a:lnTo>
                    <a:pt x="36" y="385"/>
                  </a:lnTo>
                  <a:lnTo>
                    <a:pt x="32" y="385"/>
                  </a:lnTo>
                  <a:lnTo>
                    <a:pt x="32" y="393"/>
                  </a:lnTo>
                  <a:lnTo>
                    <a:pt x="31" y="404"/>
                  </a:lnTo>
                  <a:lnTo>
                    <a:pt x="29" y="410"/>
                  </a:lnTo>
                  <a:lnTo>
                    <a:pt x="27" y="414"/>
                  </a:lnTo>
                  <a:lnTo>
                    <a:pt x="26" y="416"/>
                  </a:lnTo>
                  <a:lnTo>
                    <a:pt x="23" y="418"/>
                  </a:lnTo>
                  <a:lnTo>
                    <a:pt x="21" y="419"/>
                  </a:lnTo>
                  <a:lnTo>
                    <a:pt x="19" y="419"/>
                  </a:lnTo>
                  <a:lnTo>
                    <a:pt x="19" y="427"/>
                  </a:lnTo>
                  <a:lnTo>
                    <a:pt x="17" y="434"/>
                  </a:lnTo>
                  <a:lnTo>
                    <a:pt x="14" y="442"/>
                  </a:lnTo>
                  <a:lnTo>
                    <a:pt x="12" y="450"/>
                  </a:lnTo>
                  <a:lnTo>
                    <a:pt x="10" y="458"/>
                  </a:lnTo>
                  <a:lnTo>
                    <a:pt x="8" y="467"/>
                  </a:lnTo>
                  <a:lnTo>
                    <a:pt x="7" y="476"/>
                  </a:lnTo>
                  <a:lnTo>
                    <a:pt x="5" y="486"/>
                  </a:lnTo>
                  <a:lnTo>
                    <a:pt x="3" y="487"/>
                  </a:lnTo>
                  <a:lnTo>
                    <a:pt x="2" y="490"/>
                  </a:lnTo>
                  <a:lnTo>
                    <a:pt x="1" y="496"/>
                  </a:lnTo>
                  <a:lnTo>
                    <a:pt x="0" y="504"/>
                  </a:lnTo>
                  <a:lnTo>
                    <a:pt x="0" y="523"/>
                  </a:lnTo>
                  <a:lnTo>
                    <a:pt x="1" y="544"/>
                  </a:lnTo>
                  <a:lnTo>
                    <a:pt x="3" y="566"/>
                  </a:lnTo>
                  <a:lnTo>
                    <a:pt x="7" y="587"/>
                  </a:lnTo>
                  <a:lnTo>
                    <a:pt x="10" y="603"/>
                  </a:lnTo>
                  <a:lnTo>
                    <a:pt x="12" y="612"/>
                  </a:lnTo>
                  <a:lnTo>
                    <a:pt x="17" y="619"/>
                  </a:lnTo>
                  <a:lnTo>
                    <a:pt x="20" y="626"/>
                  </a:lnTo>
                  <a:lnTo>
                    <a:pt x="22" y="634"/>
                  </a:lnTo>
                  <a:lnTo>
                    <a:pt x="26" y="644"/>
                  </a:lnTo>
                  <a:lnTo>
                    <a:pt x="29" y="664"/>
                  </a:lnTo>
                  <a:lnTo>
                    <a:pt x="31" y="68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43" name="Freeform 11"/>
            <p:cNvSpPr>
              <a:spLocks noChangeAspect="1"/>
            </p:cNvSpPr>
            <p:nvPr/>
          </p:nvSpPr>
          <p:spPr bwMode="gray">
            <a:xfrm rot="355651">
              <a:off x="6891420" y="4886325"/>
              <a:ext cx="283533" cy="212921"/>
            </a:xfrm>
            <a:custGeom>
              <a:avLst/>
              <a:gdLst/>
              <a:ahLst/>
              <a:cxnLst>
                <a:cxn ang="0">
                  <a:pos x="28" y="1028"/>
                </a:cxn>
                <a:cxn ang="0">
                  <a:pos x="25" y="1256"/>
                </a:cxn>
                <a:cxn ang="0">
                  <a:pos x="38" y="1310"/>
                </a:cxn>
                <a:cxn ang="0">
                  <a:pos x="200" y="1207"/>
                </a:cxn>
                <a:cxn ang="0">
                  <a:pos x="263" y="1196"/>
                </a:cxn>
                <a:cxn ang="0">
                  <a:pos x="310" y="1273"/>
                </a:cxn>
                <a:cxn ang="0">
                  <a:pos x="356" y="1322"/>
                </a:cxn>
                <a:cxn ang="0">
                  <a:pos x="422" y="1296"/>
                </a:cxn>
                <a:cxn ang="0">
                  <a:pos x="570" y="1193"/>
                </a:cxn>
                <a:cxn ang="0">
                  <a:pos x="843" y="1185"/>
                </a:cxn>
                <a:cxn ang="0">
                  <a:pos x="1040" y="1176"/>
                </a:cxn>
                <a:cxn ang="0">
                  <a:pos x="1119" y="1111"/>
                </a:cxn>
                <a:cxn ang="0">
                  <a:pos x="1273" y="1082"/>
                </a:cxn>
                <a:cxn ang="0">
                  <a:pos x="1517" y="1002"/>
                </a:cxn>
                <a:cxn ang="0">
                  <a:pos x="1482" y="920"/>
                </a:cxn>
                <a:cxn ang="0">
                  <a:pos x="1463" y="896"/>
                </a:cxn>
                <a:cxn ang="0">
                  <a:pos x="1437" y="842"/>
                </a:cxn>
                <a:cxn ang="0">
                  <a:pos x="1395" y="762"/>
                </a:cxn>
                <a:cxn ang="0">
                  <a:pos x="1404" y="645"/>
                </a:cxn>
                <a:cxn ang="0">
                  <a:pos x="1434" y="610"/>
                </a:cxn>
                <a:cxn ang="0">
                  <a:pos x="1452" y="590"/>
                </a:cxn>
                <a:cxn ang="0">
                  <a:pos x="1491" y="532"/>
                </a:cxn>
                <a:cxn ang="0">
                  <a:pos x="1506" y="496"/>
                </a:cxn>
                <a:cxn ang="0">
                  <a:pos x="1524" y="367"/>
                </a:cxn>
                <a:cxn ang="0">
                  <a:pos x="1506" y="305"/>
                </a:cxn>
                <a:cxn ang="0">
                  <a:pos x="1440" y="260"/>
                </a:cxn>
                <a:cxn ang="0">
                  <a:pos x="1256" y="293"/>
                </a:cxn>
                <a:cxn ang="0">
                  <a:pos x="1152" y="264"/>
                </a:cxn>
                <a:cxn ang="0">
                  <a:pos x="875" y="248"/>
                </a:cxn>
                <a:cxn ang="0">
                  <a:pos x="691" y="221"/>
                </a:cxn>
                <a:cxn ang="0">
                  <a:pos x="587" y="137"/>
                </a:cxn>
                <a:cxn ang="0">
                  <a:pos x="558" y="46"/>
                </a:cxn>
                <a:cxn ang="0">
                  <a:pos x="496" y="3"/>
                </a:cxn>
                <a:cxn ang="0">
                  <a:pos x="343" y="11"/>
                </a:cxn>
                <a:cxn ang="0">
                  <a:pos x="285" y="100"/>
                </a:cxn>
                <a:cxn ang="0">
                  <a:pos x="297" y="178"/>
                </a:cxn>
                <a:cxn ang="0">
                  <a:pos x="304" y="209"/>
                </a:cxn>
                <a:cxn ang="0">
                  <a:pos x="324" y="233"/>
                </a:cxn>
                <a:cxn ang="0">
                  <a:pos x="344" y="281"/>
                </a:cxn>
                <a:cxn ang="0">
                  <a:pos x="320" y="318"/>
                </a:cxn>
                <a:cxn ang="0">
                  <a:pos x="300" y="342"/>
                </a:cxn>
                <a:cxn ang="0">
                  <a:pos x="279" y="380"/>
                </a:cxn>
                <a:cxn ang="0">
                  <a:pos x="339" y="453"/>
                </a:cxn>
                <a:cxn ang="0">
                  <a:pos x="351" y="477"/>
                </a:cxn>
                <a:cxn ang="0">
                  <a:pos x="352" y="573"/>
                </a:cxn>
                <a:cxn ang="0">
                  <a:pos x="348" y="708"/>
                </a:cxn>
                <a:cxn ang="0">
                  <a:pos x="285" y="766"/>
                </a:cxn>
                <a:cxn ang="0">
                  <a:pos x="236" y="753"/>
                </a:cxn>
                <a:cxn ang="0">
                  <a:pos x="203" y="723"/>
                </a:cxn>
                <a:cxn ang="0">
                  <a:pos x="151" y="703"/>
                </a:cxn>
                <a:cxn ang="0">
                  <a:pos x="94" y="689"/>
                </a:cxn>
                <a:cxn ang="0">
                  <a:pos x="64" y="696"/>
                </a:cxn>
                <a:cxn ang="0">
                  <a:pos x="45" y="709"/>
                </a:cxn>
                <a:cxn ang="0">
                  <a:pos x="57" y="755"/>
                </a:cxn>
                <a:cxn ang="0">
                  <a:pos x="97" y="880"/>
                </a:cxn>
                <a:cxn ang="0">
                  <a:pos x="56" y="917"/>
                </a:cxn>
                <a:cxn ang="0">
                  <a:pos x="16" y="952"/>
                </a:cxn>
              </a:cxnLst>
              <a:rect l="0" t="0" r="r" b="b"/>
              <a:pathLst>
                <a:path w="1561" h="1322">
                  <a:moveTo>
                    <a:pt x="0" y="968"/>
                  </a:moveTo>
                  <a:lnTo>
                    <a:pt x="8" y="977"/>
                  </a:lnTo>
                  <a:lnTo>
                    <a:pt x="14" y="986"/>
                  </a:lnTo>
                  <a:lnTo>
                    <a:pt x="19" y="995"/>
                  </a:lnTo>
                  <a:lnTo>
                    <a:pt x="23" y="1005"/>
                  </a:lnTo>
                  <a:lnTo>
                    <a:pt x="26" y="1016"/>
                  </a:lnTo>
                  <a:lnTo>
                    <a:pt x="28" y="1028"/>
                  </a:lnTo>
                  <a:lnTo>
                    <a:pt x="29" y="1040"/>
                  </a:lnTo>
                  <a:lnTo>
                    <a:pt x="29" y="1053"/>
                  </a:lnTo>
                  <a:lnTo>
                    <a:pt x="29" y="1084"/>
                  </a:lnTo>
                  <a:lnTo>
                    <a:pt x="28" y="1121"/>
                  </a:lnTo>
                  <a:lnTo>
                    <a:pt x="26" y="1165"/>
                  </a:lnTo>
                  <a:lnTo>
                    <a:pt x="25" y="1215"/>
                  </a:lnTo>
                  <a:lnTo>
                    <a:pt x="25" y="1256"/>
                  </a:lnTo>
                  <a:lnTo>
                    <a:pt x="23" y="1285"/>
                  </a:lnTo>
                  <a:lnTo>
                    <a:pt x="23" y="1295"/>
                  </a:lnTo>
                  <a:lnTo>
                    <a:pt x="25" y="1303"/>
                  </a:lnTo>
                  <a:lnTo>
                    <a:pt x="26" y="1309"/>
                  </a:lnTo>
                  <a:lnTo>
                    <a:pt x="29" y="1311"/>
                  </a:lnTo>
                  <a:lnTo>
                    <a:pt x="32" y="1312"/>
                  </a:lnTo>
                  <a:lnTo>
                    <a:pt x="38" y="1310"/>
                  </a:lnTo>
                  <a:lnTo>
                    <a:pt x="45" y="1307"/>
                  </a:lnTo>
                  <a:lnTo>
                    <a:pt x="54" y="1301"/>
                  </a:lnTo>
                  <a:lnTo>
                    <a:pt x="78" y="1284"/>
                  </a:lnTo>
                  <a:lnTo>
                    <a:pt x="112" y="1261"/>
                  </a:lnTo>
                  <a:lnTo>
                    <a:pt x="147" y="1237"/>
                  </a:lnTo>
                  <a:lnTo>
                    <a:pt x="183" y="1216"/>
                  </a:lnTo>
                  <a:lnTo>
                    <a:pt x="200" y="1207"/>
                  </a:lnTo>
                  <a:lnTo>
                    <a:pt x="215" y="1200"/>
                  </a:lnTo>
                  <a:lnTo>
                    <a:pt x="230" y="1195"/>
                  </a:lnTo>
                  <a:lnTo>
                    <a:pt x="242" y="1193"/>
                  </a:lnTo>
                  <a:lnTo>
                    <a:pt x="248" y="1192"/>
                  </a:lnTo>
                  <a:lnTo>
                    <a:pt x="253" y="1193"/>
                  </a:lnTo>
                  <a:lnTo>
                    <a:pt x="258" y="1194"/>
                  </a:lnTo>
                  <a:lnTo>
                    <a:pt x="263" y="1196"/>
                  </a:lnTo>
                  <a:lnTo>
                    <a:pt x="268" y="1199"/>
                  </a:lnTo>
                  <a:lnTo>
                    <a:pt x="272" y="1204"/>
                  </a:lnTo>
                  <a:lnTo>
                    <a:pt x="277" y="1209"/>
                  </a:lnTo>
                  <a:lnTo>
                    <a:pt x="281" y="1215"/>
                  </a:lnTo>
                  <a:lnTo>
                    <a:pt x="290" y="1231"/>
                  </a:lnTo>
                  <a:lnTo>
                    <a:pt x="299" y="1250"/>
                  </a:lnTo>
                  <a:lnTo>
                    <a:pt x="310" y="1273"/>
                  </a:lnTo>
                  <a:lnTo>
                    <a:pt x="323" y="1300"/>
                  </a:lnTo>
                  <a:lnTo>
                    <a:pt x="327" y="1307"/>
                  </a:lnTo>
                  <a:lnTo>
                    <a:pt x="332" y="1312"/>
                  </a:lnTo>
                  <a:lnTo>
                    <a:pt x="337" y="1317"/>
                  </a:lnTo>
                  <a:lnTo>
                    <a:pt x="343" y="1320"/>
                  </a:lnTo>
                  <a:lnTo>
                    <a:pt x="349" y="1322"/>
                  </a:lnTo>
                  <a:lnTo>
                    <a:pt x="356" y="1322"/>
                  </a:lnTo>
                  <a:lnTo>
                    <a:pt x="363" y="1322"/>
                  </a:lnTo>
                  <a:lnTo>
                    <a:pt x="371" y="1321"/>
                  </a:lnTo>
                  <a:lnTo>
                    <a:pt x="378" y="1319"/>
                  </a:lnTo>
                  <a:lnTo>
                    <a:pt x="386" y="1315"/>
                  </a:lnTo>
                  <a:lnTo>
                    <a:pt x="395" y="1312"/>
                  </a:lnTo>
                  <a:lnTo>
                    <a:pt x="404" y="1308"/>
                  </a:lnTo>
                  <a:lnTo>
                    <a:pt x="422" y="1296"/>
                  </a:lnTo>
                  <a:lnTo>
                    <a:pt x="441" y="1284"/>
                  </a:lnTo>
                  <a:lnTo>
                    <a:pt x="478" y="1256"/>
                  </a:lnTo>
                  <a:lnTo>
                    <a:pt x="513" y="1228"/>
                  </a:lnTo>
                  <a:lnTo>
                    <a:pt x="530" y="1216"/>
                  </a:lnTo>
                  <a:lnTo>
                    <a:pt x="545" y="1206"/>
                  </a:lnTo>
                  <a:lnTo>
                    <a:pt x="558" y="1198"/>
                  </a:lnTo>
                  <a:lnTo>
                    <a:pt x="570" y="1193"/>
                  </a:lnTo>
                  <a:lnTo>
                    <a:pt x="591" y="1187"/>
                  </a:lnTo>
                  <a:lnTo>
                    <a:pt x="614" y="1184"/>
                  </a:lnTo>
                  <a:lnTo>
                    <a:pt x="639" y="1182"/>
                  </a:lnTo>
                  <a:lnTo>
                    <a:pt x="664" y="1180"/>
                  </a:lnTo>
                  <a:lnTo>
                    <a:pt x="721" y="1180"/>
                  </a:lnTo>
                  <a:lnTo>
                    <a:pt x="781" y="1183"/>
                  </a:lnTo>
                  <a:lnTo>
                    <a:pt x="843" y="1185"/>
                  </a:lnTo>
                  <a:lnTo>
                    <a:pt x="903" y="1187"/>
                  </a:lnTo>
                  <a:lnTo>
                    <a:pt x="932" y="1188"/>
                  </a:lnTo>
                  <a:lnTo>
                    <a:pt x="961" y="1187"/>
                  </a:lnTo>
                  <a:lnTo>
                    <a:pt x="988" y="1186"/>
                  </a:lnTo>
                  <a:lnTo>
                    <a:pt x="1014" y="1183"/>
                  </a:lnTo>
                  <a:lnTo>
                    <a:pt x="1028" y="1180"/>
                  </a:lnTo>
                  <a:lnTo>
                    <a:pt x="1040" y="1176"/>
                  </a:lnTo>
                  <a:lnTo>
                    <a:pt x="1052" y="1170"/>
                  </a:lnTo>
                  <a:lnTo>
                    <a:pt x="1062" y="1165"/>
                  </a:lnTo>
                  <a:lnTo>
                    <a:pt x="1078" y="1150"/>
                  </a:lnTo>
                  <a:lnTo>
                    <a:pt x="1094" y="1135"/>
                  </a:lnTo>
                  <a:lnTo>
                    <a:pt x="1102" y="1127"/>
                  </a:lnTo>
                  <a:lnTo>
                    <a:pt x="1110" y="1119"/>
                  </a:lnTo>
                  <a:lnTo>
                    <a:pt x="1119" y="1111"/>
                  </a:lnTo>
                  <a:lnTo>
                    <a:pt x="1127" y="1105"/>
                  </a:lnTo>
                  <a:lnTo>
                    <a:pt x="1139" y="1099"/>
                  </a:lnTo>
                  <a:lnTo>
                    <a:pt x="1150" y="1094"/>
                  </a:lnTo>
                  <a:lnTo>
                    <a:pt x="1163" y="1091"/>
                  </a:lnTo>
                  <a:lnTo>
                    <a:pt x="1179" y="1089"/>
                  </a:lnTo>
                  <a:lnTo>
                    <a:pt x="1226" y="1086"/>
                  </a:lnTo>
                  <a:lnTo>
                    <a:pt x="1273" y="1082"/>
                  </a:lnTo>
                  <a:lnTo>
                    <a:pt x="1321" y="1080"/>
                  </a:lnTo>
                  <a:lnTo>
                    <a:pt x="1369" y="1078"/>
                  </a:lnTo>
                  <a:lnTo>
                    <a:pt x="1417" y="1075"/>
                  </a:lnTo>
                  <a:lnTo>
                    <a:pt x="1465" y="1074"/>
                  </a:lnTo>
                  <a:lnTo>
                    <a:pt x="1513" y="1072"/>
                  </a:lnTo>
                  <a:lnTo>
                    <a:pt x="1561" y="1071"/>
                  </a:lnTo>
                  <a:lnTo>
                    <a:pt x="1517" y="1002"/>
                  </a:lnTo>
                  <a:lnTo>
                    <a:pt x="1516" y="992"/>
                  </a:lnTo>
                  <a:lnTo>
                    <a:pt x="1513" y="978"/>
                  </a:lnTo>
                  <a:lnTo>
                    <a:pt x="1508" y="965"/>
                  </a:lnTo>
                  <a:lnTo>
                    <a:pt x="1503" y="952"/>
                  </a:lnTo>
                  <a:lnTo>
                    <a:pt x="1496" y="939"/>
                  </a:lnTo>
                  <a:lnTo>
                    <a:pt x="1489" y="928"/>
                  </a:lnTo>
                  <a:lnTo>
                    <a:pt x="1482" y="920"/>
                  </a:lnTo>
                  <a:lnTo>
                    <a:pt x="1477" y="916"/>
                  </a:lnTo>
                  <a:lnTo>
                    <a:pt x="1476" y="910"/>
                  </a:lnTo>
                  <a:lnTo>
                    <a:pt x="1472" y="904"/>
                  </a:lnTo>
                  <a:lnTo>
                    <a:pt x="1471" y="900"/>
                  </a:lnTo>
                  <a:lnTo>
                    <a:pt x="1469" y="898"/>
                  </a:lnTo>
                  <a:lnTo>
                    <a:pt x="1466" y="896"/>
                  </a:lnTo>
                  <a:lnTo>
                    <a:pt x="1463" y="896"/>
                  </a:lnTo>
                  <a:lnTo>
                    <a:pt x="1462" y="892"/>
                  </a:lnTo>
                  <a:lnTo>
                    <a:pt x="1460" y="889"/>
                  </a:lnTo>
                  <a:lnTo>
                    <a:pt x="1457" y="884"/>
                  </a:lnTo>
                  <a:lnTo>
                    <a:pt x="1452" y="879"/>
                  </a:lnTo>
                  <a:lnTo>
                    <a:pt x="1444" y="869"/>
                  </a:lnTo>
                  <a:lnTo>
                    <a:pt x="1437" y="862"/>
                  </a:lnTo>
                  <a:lnTo>
                    <a:pt x="1437" y="842"/>
                  </a:lnTo>
                  <a:lnTo>
                    <a:pt x="1431" y="836"/>
                  </a:lnTo>
                  <a:lnTo>
                    <a:pt x="1423" y="825"/>
                  </a:lnTo>
                  <a:lnTo>
                    <a:pt x="1417" y="817"/>
                  </a:lnTo>
                  <a:lnTo>
                    <a:pt x="1410" y="809"/>
                  </a:lnTo>
                  <a:lnTo>
                    <a:pt x="1407" y="795"/>
                  </a:lnTo>
                  <a:lnTo>
                    <a:pt x="1400" y="773"/>
                  </a:lnTo>
                  <a:lnTo>
                    <a:pt x="1395" y="762"/>
                  </a:lnTo>
                  <a:lnTo>
                    <a:pt x="1391" y="752"/>
                  </a:lnTo>
                  <a:lnTo>
                    <a:pt x="1386" y="745"/>
                  </a:lnTo>
                  <a:lnTo>
                    <a:pt x="1384" y="743"/>
                  </a:lnTo>
                  <a:lnTo>
                    <a:pt x="1384" y="669"/>
                  </a:lnTo>
                  <a:lnTo>
                    <a:pt x="1393" y="659"/>
                  </a:lnTo>
                  <a:lnTo>
                    <a:pt x="1403" y="649"/>
                  </a:lnTo>
                  <a:lnTo>
                    <a:pt x="1404" y="645"/>
                  </a:lnTo>
                  <a:lnTo>
                    <a:pt x="1408" y="640"/>
                  </a:lnTo>
                  <a:lnTo>
                    <a:pt x="1412" y="637"/>
                  </a:lnTo>
                  <a:lnTo>
                    <a:pt x="1417" y="636"/>
                  </a:lnTo>
                  <a:lnTo>
                    <a:pt x="1417" y="622"/>
                  </a:lnTo>
                  <a:lnTo>
                    <a:pt x="1430" y="622"/>
                  </a:lnTo>
                  <a:lnTo>
                    <a:pt x="1431" y="617"/>
                  </a:lnTo>
                  <a:lnTo>
                    <a:pt x="1434" y="610"/>
                  </a:lnTo>
                  <a:lnTo>
                    <a:pt x="1437" y="607"/>
                  </a:lnTo>
                  <a:lnTo>
                    <a:pt x="1439" y="605"/>
                  </a:lnTo>
                  <a:lnTo>
                    <a:pt x="1441" y="603"/>
                  </a:lnTo>
                  <a:lnTo>
                    <a:pt x="1443" y="602"/>
                  </a:lnTo>
                  <a:lnTo>
                    <a:pt x="1444" y="598"/>
                  </a:lnTo>
                  <a:lnTo>
                    <a:pt x="1448" y="593"/>
                  </a:lnTo>
                  <a:lnTo>
                    <a:pt x="1452" y="590"/>
                  </a:lnTo>
                  <a:lnTo>
                    <a:pt x="1457" y="589"/>
                  </a:lnTo>
                  <a:lnTo>
                    <a:pt x="1463" y="582"/>
                  </a:lnTo>
                  <a:lnTo>
                    <a:pt x="1463" y="569"/>
                  </a:lnTo>
                  <a:lnTo>
                    <a:pt x="1490" y="542"/>
                  </a:lnTo>
                  <a:lnTo>
                    <a:pt x="1490" y="538"/>
                  </a:lnTo>
                  <a:lnTo>
                    <a:pt x="1491" y="533"/>
                  </a:lnTo>
                  <a:lnTo>
                    <a:pt x="1491" y="532"/>
                  </a:lnTo>
                  <a:lnTo>
                    <a:pt x="1494" y="530"/>
                  </a:lnTo>
                  <a:lnTo>
                    <a:pt x="1495" y="530"/>
                  </a:lnTo>
                  <a:lnTo>
                    <a:pt x="1497" y="529"/>
                  </a:lnTo>
                  <a:lnTo>
                    <a:pt x="1497" y="510"/>
                  </a:lnTo>
                  <a:lnTo>
                    <a:pt x="1500" y="507"/>
                  </a:lnTo>
                  <a:lnTo>
                    <a:pt x="1503" y="503"/>
                  </a:lnTo>
                  <a:lnTo>
                    <a:pt x="1506" y="496"/>
                  </a:lnTo>
                  <a:lnTo>
                    <a:pt x="1509" y="487"/>
                  </a:lnTo>
                  <a:lnTo>
                    <a:pt x="1515" y="469"/>
                  </a:lnTo>
                  <a:lnTo>
                    <a:pt x="1517" y="456"/>
                  </a:lnTo>
                  <a:lnTo>
                    <a:pt x="1530" y="456"/>
                  </a:lnTo>
                  <a:lnTo>
                    <a:pt x="1530" y="369"/>
                  </a:lnTo>
                  <a:lnTo>
                    <a:pt x="1527" y="368"/>
                  </a:lnTo>
                  <a:lnTo>
                    <a:pt x="1524" y="367"/>
                  </a:lnTo>
                  <a:lnTo>
                    <a:pt x="1522" y="363"/>
                  </a:lnTo>
                  <a:lnTo>
                    <a:pt x="1518" y="359"/>
                  </a:lnTo>
                  <a:lnTo>
                    <a:pt x="1515" y="348"/>
                  </a:lnTo>
                  <a:lnTo>
                    <a:pt x="1511" y="336"/>
                  </a:lnTo>
                  <a:lnTo>
                    <a:pt x="1509" y="323"/>
                  </a:lnTo>
                  <a:lnTo>
                    <a:pt x="1508" y="313"/>
                  </a:lnTo>
                  <a:lnTo>
                    <a:pt x="1506" y="305"/>
                  </a:lnTo>
                  <a:lnTo>
                    <a:pt x="1504" y="302"/>
                  </a:lnTo>
                  <a:lnTo>
                    <a:pt x="1504" y="276"/>
                  </a:lnTo>
                  <a:lnTo>
                    <a:pt x="1500" y="273"/>
                  </a:lnTo>
                  <a:lnTo>
                    <a:pt x="1495" y="267"/>
                  </a:lnTo>
                  <a:lnTo>
                    <a:pt x="1488" y="259"/>
                  </a:lnTo>
                  <a:lnTo>
                    <a:pt x="1480" y="247"/>
                  </a:lnTo>
                  <a:lnTo>
                    <a:pt x="1440" y="260"/>
                  </a:lnTo>
                  <a:lnTo>
                    <a:pt x="1400" y="271"/>
                  </a:lnTo>
                  <a:lnTo>
                    <a:pt x="1361" y="280"/>
                  </a:lnTo>
                  <a:lnTo>
                    <a:pt x="1324" y="288"/>
                  </a:lnTo>
                  <a:lnTo>
                    <a:pt x="1305" y="290"/>
                  </a:lnTo>
                  <a:lnTo>
                    <a:pt x="1288" y="292"/>
                  </a:lnTo>
                  <a:lnTo>
                    <a:pt x="1271" y="293"/>
                  </a:lnTo>
                  <a:lnTo>
                    <a:pt x="1256" y="293"/>
                  </a:lnTo>
                  <a:lnTo>
                    <a:pt x="1241" y="292"/>
                  </a:lnTo>
                  <a:lnTo>
                    <a:pt x="1228" y="291"/>
                  </a:lnTo>
                  <a:lnTo>
                    <a:pt x="1216" y="288"/>
                  </a:lnTo>
                  <a:lnTo>
                    <a:pt x="1204" y="283"/>
                  </a:lnTo>
                  <a:lnTo>
                    <a:pt x="1188" y="275"/>
                  </a:lnTo>
                  <a:lnTo>
                    <a:pt x="1171" y="270"/>
                  </a:lnTo>
                  <a:lnTo>
                    <a:pt x="1152" y="264"/>
                  </a:lnTo>
                  <a:lnTo>
                    <a:pt x="1133" y="260"/>
                  </a:lnTo>
                  <a:lnTo>
                    <a:pt x="1114" y="256"/>
                  </a:lnTo>
                  <a:lnTo>
                    <a:pt x="1094" y="254"/>
                  </a:lnTo>
                  <a:lnTo>
                    <a:pt x="1073" y="252"/>
                  </a:lnTo>
                  <a:lnTo>
                    <a:pt x="1052" y="251"/>
                  </a:lnTo>
                  <a:lnTo>
                    <a:pt x="964" y="248"/>
                  </a:lnTo>
                  <a:lnTo>
                    <a:pt x="875" y="248"/>
                  </a:lnTo>
                  <a:lnTo>
                    <a:pt x="832" y="247"/>
                  </a:lnTo>
                  <a:lnTo>
                    <a:pt x="789" y="243"/>
                  </a:lnTo>
                  <a:lnTo>
                    <a:pt x="768" y="241"/>
                  </a:lnTo>
                  <a:lnTo>
                    <a:pt x="748" y="237"/>
                  </a:lnTo>
                  <a:lnTo>
                    <a:pt x="728" y="233"/>
                  </a:lnTo>
                  <a:lnTo>
                    <a:pt x="709" y="227"/>
                  </a:lnTo>
                  <a:lnTo>
                    <a:pt x="691" y="221"/>
                  </a:lnTo>
                  <a:lnTo>
                    <a:pt x="673" y="213"/>
                  </a:lnTo>
                  <a:lnTo>
                    <a:pt x="656" y="204"/>
                  </a:lnTo>
                  <a:lnTo>
                    <a:pt x="641" y="194"/>
                  </a:lnTo>
                  <a:lnTo>
                    <a:pt x="625" y="182"/>
                  </a:lnTo>
                  <a:lnTo>
                    <a:pt x="612" y="168"/>
                  </a:lnTo>
                  <a:lnTo>
                    <a:pt x="598" y="154"/>
                  </a:lnTo>
                  <a:lnTo>
                    <a:pt x="587" y="137"/>
                  </a:lnTo>
                  <a:lnTo>
                    <a:pt x="580" y="126"/>
                  </a:lnTo>
                  <a:lnTo>
                    <a:pt x="576" y="116"/>
                  </a:lnTo>
                  <a:lnTo>
                    <a:pt x="573" y="105"/>
                  </a:lnTo>
                  <a:lnTo>
                    <a:pt x="570" y="94"/>
                  </a:lnTo>
                  <a:lnTo>
                    <a:pt x="566" y="74"/>
                  </a:lnTo>
                  <a:lnTo>
                    <a:pt x="561" y="55"/>
                  </a:lnTo>
                  <a:lnTo>
                    <a:pt x="558" y="46"/>
                  </a:lnTo>
                  <a:lnTo>
                    <a:pt x="554" y="38"/>
                  </a:lnTo>
                  <a:lnTo>
                    <a:pt x="549" y="30"/>
                  </a:lnTo>
                  <a:lnTo>
                    <a:pt x="543" y="23"/>
                  </a:lnTo>
                  <a:lnTo>
                    <a:pt x="534" y="16"/>
                  </a:lnTo>
                  <a:lnTo>
                    <a:pt x="524" y="11"/>
                  </a:lnTo>
                  <a:lnTo>
                    <a:pt x="511" y="6"/>
                  </a:lnTo>
                  <a:lnTo>
                    <a:pt x="496" y="3"/>
                  </a:lnTo>
                  <a:lnTo>
                    <a:pt x="483" y="1"/>
                  </a:lnTo>
                  <a:lnTo>
                    <a:pt x="471" y="1"/>
                  </a:lnTo>
                  <a:lnTo>
                    <a:pt x="458" y="0"/>
                  </a:lnTo>
                  <a:lnTo>
                    <a:pt x="443" y="1"/>
                  </a:lnTo>
                  <a:lnTo>
                    <a:pt x="411" y="2"/>
                  </a:lnTo>
                  <a:lnTo>
                    <a:pt x="377" y="6"/>
                  </a:lnTo>
                  <a:lnTo>
                    <a:pt x="343" y="11"/>
                  </a:lnTo>
                  <a:lnTo>
                    <a:pt x="307" y="15"/>
                  </a:lnTo>
                  <a:lnTo>
                    <a:pt x="270" y="21"/>
                  </a:lnTo>
                  <a:lnTo>
                    <a:pt x="236" y="25"/>
                  </a:lnTo>
                  <a:lnTo>
                    <a:pt x="255" y="50"/>
                  </a:lnTo>
                  <a:lnTo>
                    <a:pt x="272" y="77"/>
                  </a:lnTo>
                  <a:lnTo>
                    <a:pt x="279" y="89"/>
                  </a:lnTo>
                  <a:lnTo>
                    <a:pt x="285" y="100"/>
                  </a:lnTo>
                  <a:lnTo>
                    <a:pt x="289" y="109"/>
                  </a:lnTo>
                  <a:lnTo>
                    <a:pt x="290" y="116"/>
                  </a:lnTo>
                  <a:lnTo>
                    <a:pt x="292" y="119"/>
                  </a:lnTo>
                  <a:lnTo>
                    <a:pt x="295" y="127"/>
                  </a:lnTo>
                  <a:lnTo>
                    <a:pt x="296" y="138"/>
                  </a:lnTo>
                  <a:lnTo>
                    <a:pt x="296" y="151"/>
                  </a:lnTo>
                  <a:lnTo>
                    <a:pt x="297" y="178"/>
                  </a:lnTo>
                  <a:lnTo>
                    <a:pt x="297" y="196"/>
                  </a:lnTo>
                  <a:lnTo>
                    <a:pt x="299" y="196"/>
                  </a:lnTo>
                  <a:lnTo>
                    <a:pt x="301" y="197"/>
                  </a:lnTo>
                  <a:lnTo>
                    <a:pt x="303" y="198"/>
                  </a:lnTo>
                  <a:lnTo>
                    <a:pt x="303" y="201"/>
                  </a:lnTo>
                  <a:lnTo>
                    <a:pt x="304" y="204"/>
                  </a:lnTo>
                  <a:lnTo>
                    <a:pt x="304" y="209"/>
                  </a:lnTo>
                  <a:lnTo>
                    <a:pt x="306" y="209"/>
                  </a:lnTo>
                  <a:lnTo>
                    <a:pt x="307" y="211"/>
                  </a:lnTo>
                  <a:lnTo>
                    <a:pt x="309" y="212"/>
                  </a:lnTo>
                  <a:lnTo>
                    <a:pt x="309" y="214"/>
                  </a:lnTo>
                  <a:lnTo>
                    <a:pt x="310" y="217"/>
                  </a:lnTo>
                  <a:lnTo>
                    <a:pt x="310" y="223"/>
                  </a:lnTo>
                  <a:lnTo>
                    <a:pt x="324" y="233"/>
                  </a:lnTo>
                  <a:lnTo>
                    <a:pt x="337" y="243"/>
                  </a:lnTo>
                  <a:lnTo>
                    <a:pt x="337" y="256"/>
                  </a:lnTo>
                  <a:lnTo>
                    <a:pt x="339" y="257"/>
                  </a:lnTo>
                  <a:lnTo>
                    <a:pt x="340" y="260"/>
                  </a:lnTo>
                  <a:lnTo>
                    <a:pt x="342" y="264"/>
                  </a:lnTo>
                  <a:lnTo>
                    <a:pt x="343" y="270"/>
                  </a:lnTo>
                  <a:lnTo>
                    <a:pt x="344" y="281"/>
                  </a:lnTo>
                  <a:lnTo>
                    <a:pt x="344" y="289"/>
                  </a:lnTo>
                  <a:lnTo>
                    <a:pt x="340" y="291"/>
                  </a:lnTo>
                  <a:lnTo>
                    <a:pt x="337" y="293"/>
                  </a:lnTo>
                  <a:lnTo>
                    <a:pt x="333" y="299"/>
                  </a:lnTo>
                  <a:lnTo>
                    <a:pt x="328" y="304"/>
                  </a:lnTo>
                  <a:lnTo>
                    <a:pt x="324" y="311"/>
                  </a:lnTo>
                  <a:lnTo>
                    <a:pt x="320" y="318"/>
                  </a:lnTo>
                  <a:lnTo>
                    <a:pt x="318" y="323"/>
                  </a:lnTo>
                  <a:lnTo>
                    <a:pt x="317" y="329"/>
                  </a:lnTo>
                  <a:lnTo>
                    <a:pt x="315" y="330"/>
                  </a:lnTo>
                  <a:lnTo>
                    <a:pt x="311" y="331"/>
                  </a:lnTo>
                  <a:lnTo>
                    <a:pt x="309" y="333"/>
                  </a:lnTo>
                  <a:lnTo>
                    <a:pt x="306" y="336"/>
                  </a:lnTo>
                  <a:lnTo>
                    <a:pt x="300" y="342"/>
                  </a:lnTo>
                  <a:lnTo>
                    <a:pt x="295" y="349"/>
                  </a:lnTo>
                  <a:lnTo>
                    <a:pt x="289" y="357"/>
                  </a:lnTo>
                  <a:lnTo>
                    <a:pt x="285" y="363"/>
                  </a:lnTo>
                  <a:lnTo>
                    <a:pt x="280" y="368"/>
                  </a:lnTo>
                  <a:lnTo>
                    <a:pt x="277" y="369"/>
                  </a:lnTo>
                  <a:lnTo>
                    <a:pt x="278" y="375"/>
                  </a:lnTo>
                  <a:lnTo>
                    <a:pt x="279" y="380"/>
                  </a:lnTo>
                  <a:lnTo>
                    <a:pt x="282" y="387"/>
                  </a:lnTo>
                  <a:lnTo>
                    <a:pt x="287" y="394"/>
                  </a:lnTo>
                  <a:lnTo>
                    <a:pt x="296" y="408"/>
                  </a:lnTo>
                  <a:lnTo>
                    <a:pt x="308" y="423"/>
                  </a:lnTo>
                  <a:lnTo>
                    <a:pt x="319" y="436"/>
                  </a:lnTo>
                  <a:lnTo>
                    <a:pt x="330" y="446"/>
                  </a:lnTo>
                  <a:lnTo>
                    <a:pt x="339" y="453"/>
                  </a:lnTo>
                  <a:lnTo>
                    <a:pt x="344" y="456"/>
                  </a:lnTo>
                  <a:lnTo>
                    <a:pt x="344" y="469"/>
                  </a:lnTo>
                  <a:lnTo>
                    <a:pt x="346" y="469"/>
                  </a:lnTo>
                  <a:lnTo>
                    <a:pt x="347" y="471"/>
                  </a:lnTo>
                  <a:lnTo>
                    <a:pt x="348" y="472"/>
                  </a:lnTo>
                  <a:lnTo>
                    <a:pt x="349" y="473"/>
                  </a:lnTo>
                  <a:lnTo>
                    <a:pt x="351" y="477"/>
                  </a:lnTo>
                  <a:lnTo>
                    <a:pt x="351" y="483"/>
                  </a:lnTo>
                  <a:lnTo>
                    <a:pt x="353" y="484"/>
                  </a:lnTo>
                  <a:lnTo>
                    <a:pt x="354" y="490"/>
                  </a:lnTo>
                  <a:lnTo>
                    <a:pt x="355" y="498"/>
                  </a:lnTo>
                  <a:lnTo>
                    <a:pt x="355" y="510"/>
                  </a:lnTo>
                  <a:lnTo>
                    <a:pt x="354" y="539"/>
                  </a:lnTo>
                  <a:lnTo>
                    <a:pt x="352" y="573"/>
                  </a:lnTo>
                  <a:lnTo>
                    <a:pt x="349" y="609"/>
                  </a:lnTo>
                  <a:lnTo>
                    <a:pt x="346" y="642"/>
                  </a:lnTo>
                  <a:lnTo>
                    <a:pt x="345" y="670"/>
                  </a:lnTo>
                  <a:lnTo>
                    <a:pt x="344" y="689"/>
                  </a:lnTo>
                  <a:lnTo>
                    <a:pt x="346" y="692"/>
                  </a:lnTo>
                  <a:lnTo>
                    <a:pt x="347" y="698"/>
                  </a:lnTo>
                  <a:lnTo>
                    <a:pt x="348" y="708"/>
                  </a:lnTo>
                  <a:lnTo>
                    <a:pt x="349" y="719"/>
                  </a:lnTo>
                  <a:lnTo>
                    <a:pt x="351" y="743"/>
                  </a:lnTo>
                  <a:lnTo>
                    <a:pt x="351" y="755"/>
                  </a:lnTo>
                  <a:lnTo>
                    <a:pt x="344" y="762"/>
                  </a:lnTo>
                  <a:lnTo>
                    <a:pt x="330" y="764"/>
                  </a:lnTo>
                  <a:lnTo>
                    <a:pt x="300" y="766"/>
                  </a:lnTo>
                  <a:lnTo>
                    <a:pt x="285" y="766"/>
                  </a:lnTo>
                  <a:lnTo>
                    <a:pt x="270" y="765"/>
                  </a:lnTo>
                  <a:lnTo>
                    <a:pt x="265" y="764"/>
                  </a:lnTo>
                  <a:lnTo>
                    <a:pt x="261" y="762"/>
                  </a:lnTo>
                  <a:lnTo>
                    <a:pt x="258" y="760"/>
                  </a:lnTo>
                  <a:lnTo>
                    <a:pt x="257" y="755"/>
                  </a:lnTo>
                  <a:lnTo>
                    <a:pt x="237" y="755"/>
                  </a:lnTo>
                  <a:lnTo>
                    <a:pt x="236" y="753"/>
                  </a:lnTo>
                  <a:lnTo>
                    <a:pt x="232" y="750"/>
                  </a:lnTo>
                  <a:lnTo>
                    <a:pt x="227" y="746"/>
                  </a:lnTo>
                  <a:lnTo>
                    <a:pt x="220" y="742"/>
                  </a:lnTo>
                  <a:lnTo>
                    <a:pt x="214" y="737"/>
                  </a:lnTo>
                  <a:lnTo>
                    <a:pt x="209" y="733"/>
                  </a:lnTo>
                  <a:lnTo>
                    <a:pt x="205" y="727"/>
                  </a:lnTo>
                  <a:lnTo>
                    <a:pt x="203" y="723"/>
                  </a:lnTo>
                  <a:lnTo>
                    <a:pt x="191" y="723"/>
                  </a:lnTo>
                  <a:lnTo>
                    <a:pt x="189" y="719"/>
                  </a:lnTo>
                  <a:lnTo>
                    <a:pt x="185" y="716"/>
                  </a:lnTo>
                  <a:lnTo>
                    <a:pt x="180" y="713"/>
                  </a:lnTo>
                  <a:lnTo>
                    <a:pt x="173" y="709"/>
                  </a:lnTo>
                  <a:lnTo>
                    <a:pt x="160" y="705"/>
                  </a:lnTo>
                  <a:lnTo>
                    <a:pt x="151" y="703"/>
                  </a:lnTo>
                  <a:lnTo>
                    <a:pt x="150" y="701"/>
                  </a:lnTo>
                  <a:lnTo>
                    <a:pt x="147" y="698"/>
                  </a:lnTo>
                  <a:lnTo>
                    <a:pt x="145" y="696"/>
                  </a:lnTo>
                  <a:lnTo>
                    <a:pt x="141" y="695"/>
                  </a:lnTo>
                  <a:lnTo>
                    <a:pt x="131" y="693"/>
                  </a:lnTo>
                  <a:lnTo>
                    <a:pt x="118" y="690"/>
                  </a:lnTo>
                  <a:lnTo>
                    <a:pt x="94" y="689"/>
                  </a:lnTo>
                  <a:lnTo>
                    <a:pt x="77" y="689"/>
                  </a:lnTo>
                  <a:lnTo>
                    <a:pt x="77" y="692"/>
                  </a:lnTo>
                  <a:lnTo>
                    <a:pt x="76" y="693"/>
                  </a:lnTo>
                  <a:lnTo>
                    <a:pt x="75" y="694"/>
                  </a:lnTo>
                  <a:lnTo>
                    <a:pt x="73" y="695"/>
                  </a:lnTo>
                  <a:lnTo>
                    <a:pt x="68" y="696"/>
                  </a:lnTo>
                  <a:lnTo>
                    <a:pt x="64" y="696"/>
                  </a:lnTo>
                  <a:lnTo>
                    <a:pt x="62" y="699"/>
                  </a:lnTo>
                  <a:lnTo>
                    <a:pt x="60" y="702"/>
                  </a:lnTo>
                  <a:lnTo>
                    <a:pt x="57" y="703"/>
                  </a:lnTo>
                  <a:lnTo>
                    <a:pt x="54" y="703"/>
                  </a:lnTo>
                  <a:lnTo>
                    <a:pt x="50" y="704"/>
                  </a:lnTo>
                  <a:lnTo>
                    <a:pt x="47" y="706"/>
                  </a:lnTo>
                  <a:lnTo>
                    <a:pt x="45" y="709"/>
                  </a:lnTo>
                  <a:lnTo>
                    <a:pt x="44" y="716"/>
                  </a:lnTo>
                  <a:lnTo>
                    <a:pt x="30" y="716"/>
                  </a:lnTo>
                  <a:lnTo>
                    <a:pt x="32" y="727"/>
                  </a:lnTo>
                  <a:lnTo>
                    <a:pt x="37" y="741"/>
                  </a:lnTo>
                  <a:lnTo>
                    <a:pt x="41" y="752"/>
                  </a:lnTo>
                  <a:lnTo>
                    <a:pt x="44" y="755"/>
                  </a:lnTo>
                  <a:lnTo>
                    <a:pt x="57" y="755"/>
                  </a:lnTo>
                  <a:lnTo>
                    <a:pt x="64" y="773"/>
                  </a:lnTo>
                  <a:lnTo>
                    <a:pt x="77" y="808"/>
                  </a:lnTo>
                  <a:lnTo>
                    <a:pt x="85" y="828"/>
                  </a:lnTo>
                  <a:lnTo>
                    <a:pt x="90" y="849"/>
                  </a:lnTo>
                  <a:lnTo>
                    <a:pt x="94" y="860"/>
                  </a:lnTo>
                  <a:lnTo>
                    <a:pt x="95" y="870"/>
                  </a:lnTo>
                  <a:lnTo>
                    <a:pt x="97" y="880"/>
                  </a:lnTo>
                  <a:lnTo>
                    <a:pt x="97" y="889"/>
                  </a:lnTo>
                  <a:lnTo>
                    <a:pt x="92" y="890"/>
                  </a:lnTo>
                  <a:lnTo>
                    <a:pt x="86" y="895"/>
                  </a:lnTo>
                  <a:lnTo>
                    <a:pt x="79" y="899"/>
                  </a:lnTo>
                  <a:lnTo>
                    <a:pt x="73" y="906"/>
                  </a:lnTo>
                  <a:lnTo>
                    <a:pt x="65" y="911"/>
                  </a:lnTo>
                  <a:lnTo>
                    <a:pt x="56" y="917"/>
                  </a:lnTo>
                  <a:lnTo>
                    <a:pt x="51" y="919"/>
                  </a:lnTo>
                  <a:lnTo>
                    <a:pt x="47" y="921"/>
                  </a:lnTo>
                  <a:lnTo>
                    <a:pt x="42" y="921"/>
                  </a:lnTo>
                  <a:lnTo>
                    <a:pt x="37" y="923"/>
                  </a:lnTo>
                  <a:lnTo>
                    <a:pt x="35" y="928"/>
                  </a:lnTo>
                  <a:lnTo>
                    <a:pt x="27" y="937"/>
                  </a:lnTo>
                  <a:lnTo>
                    <a:pt x="16" y="952"/>
                  </a:lnTo>
                  <a:lnTo>
                    <a:pt x="0" y="968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45" name="Freeform 12"/>
            <p:cNvSpPr>
              <a:spLocks noChangeAspect="1"/>
            </p:cNvSpPr>
            <p:nvPr/>
          </p:nvSpPr>
          <p:spPr bwMode="gray">
            <a:xfrm rot="355651">
              <a:off x="7138988" y="4940300"/>
              <a:ext cx="317387" cy="153304"/>
            </a:xfrm>
            <a:custGeom>
              <a:avLst/>
              <a:gdLst/>
              <a:ahLst/>
              <a:cxnLst>
                <a:cxn ang="0">
                  <a:pos x="585" y="914"/>
                </a:cxn>
                <a:cxn ang="0">
                  <a:pos x="987" y="920"/>
                </a:cxn>
                <a:cxn ang="0">
                  <a:pos x="1170" y="925"/>
                </a:cxn>
                <a:cxn ang="0">
                  <a:pos x="1301" y="932"/>
                </a:cxn>
                <a:cxn ang="0">
                  <a:pos x="1411" y="903"/>
                </a:cxn>
                <a:cxn ang="0">
                  <a:pos x="1446" y="867"/>
                </a:cxn>
                <a:cxn ang="0">
                  <a:pos x="1492" y="790"/>
                </a:cxn>
                <a:cxn ang="0">
                  <a:pos x="1610" y="668"/>
                </a:cxn>
                <a:cxn ang="0">
                  <a:pos x="1640" y="616"/>
                </a:cxn>
                <a:cxn ang="0">
                  <a:pos x="1694" y="559"/>
                </a:cxn>
                <a:cxn ang="0">
                  <a:pos x="1726" y="504"/>
                </a:cxn>
                <a:cxn ang="0">
                  <a:pos x="1737" y="439"/>
                </a:cxn>
                <a:cxn ang="0">
                  <a:pos x="1730" y="370"/>
                </a:cxn>
                <a:cxn ang="0">
                  <a:pos x="1699" y="277"/>
                </a:cxn>
                <a:cxn ang="0">
                  <a:pos x="1664" y="205"/>
                </a:cxn>
                <a:cxn ang="0">
                  <a:pos x="1640" y="192"/>
                </a:cxn>
                <a:cxn ang="0">
                  <a:pos x="1613" y="200"/>
                </a:cxn>
                <a:cxn ang="0">
                  <a:pos x="1582" y="233"/>
                </a:cxn>
                <a:cxn ang="0">
                  <a:pos x="1525" y="337"/>
                </a:cxn>
                <a:cxn ang="0">
                  <a:pos x="1483" y="399"/>
                </a:cxn>
                <a:cxn ang="0">
                  <a:pos x="1448" y="419"/>
                </a:cxn>
                <a:cxn ang="0">
                  <a:pos x="1392" y="395"/>
                </a:cxn>
                <a:cxn ang="0">
                  <a:pos x="1312" y="355"/>
                </a:cxn>
                <a:cxn ang="0">
                  <a:pos x="1228" y="348"/>
                </a:cxn>
                <a:cxn ang="0">
                  <a:pos x="1108" y="381"/>
                </a:cxn>
                <a:cxn ang="0">
                  <a:pos x="871" y="522"/>
                </a:cxn>
                <a:cxn ang="0">
                  <a:pos x="768" y="564"/>
                </a:cxn>
                <a:cxn ang="0">
                  <a:pos x="663" y="561"/>
                </a:cxn>
                <a:cxn ang="0">
                  <a:pos x="552" y="487"/>
                </a:cxn>
                <a:cxn ang="0">
                  <a:pos x="549" y="443"/>
                </a:cxn>
                <a:cxn ang="0">
                  <a:pos x="612" y="213"/>
                </a:cxn>
                <a:cxn ang="0">
                  <a:pos x="628" y="88"/>
                </a:cxn>
                <a:cxn ang="0">
                  <a:pos x="613" y="15"/>
                </a:cxn>
                <a:cxn ang="0">
                  <a:pos x="587" y="0"/>
                </a:cxn>
                <a:cxn ang="0">
                  <a:pos x="459" y="30"/>
                </a:cxn>
                <a:cxn ang="0">
                  <a:pos x="326" y="38"/>
                </a:cxn>
                <a:cxn ang="0">
                  <a:pos x="232" y="51"/>
                </a:cxn>
                <a:cxn ang="0">
                  <a:pos x="104" y="104"/>
                </a:cxn>
                <a:cxn ang="0">
                  <a:pos x="122" y="150"/>
                </a:cxn>
                <a:cxn ang="0">
                  <a:pos x="134" y="204"/>
                </a:cxn>
                <a:cxn ang="0">
                  <a:pos x="146" y="301"/>
                </a:cxn>
                <a:cxn ang="0">
                  <a:pos x="119" y="348"/>
                </a:cxn>
                <a:cxn ang="0">
                  <a:pos x="110" y="375"/>
                </a:cxn>
                <a:cxn ang="0">
                  <a:pos x="79" y="414"/>
                </a:cxn>
                <a:cxn ang="0">
                  <a:pos x="60" y="443"/>
                </a:cxn>
                <a:cxn ang="0">
                  <a:pos x="50" y="455"/>
                </a:cxn>
                <a:cxn ang="0">
                  <a:pos x="28" y="482"/>
                </a:cxn>
                <a:cxn ang="0">
                  <a:pos x="0" y="514"/>
                </a:cxn>
                <a:cxn ang="0">
                  <a:pos x="16" y="618"/>
                </a:cxn>
                <a:cxn ang="0">
                  <a:pos x="47" y="681"/>
                </a:cxn>
                <a:cxn ang="0">
                  <a:pos x="73" y="729"/>
                </a:cxn>
                <a:cxn ang="0">
                  <a:pos x="85" y="743"/>
                </a:cxn>
                <a:cxn ang="0">
                  <a:pos x="98" y="765"/>
                </a:cxn>
                <a:cxn ang="0">
                  <a:pos x="129" y="823"/>
                </a:cxn>
              </a:cxnLst>
              <a:rect l="0" t="0" r="r" b="b"/>
              <a:pathLst>
                <a:path w="1738" h="932">
                  <a:moveTo>
                    <a:pt x="177" y="916"/>
                  </a:moveTo>
                  <a:lnTo>
                    <a:pt x="280" y="915"/>
                  </a:lnTo>
                  <a:lnTo>
                    <a:pt x="384" y="914"/>
                  </a:lnTo>
                  <a:lnTo>
                    <a:pt x="486" y="914"/>
                  </a:lnTo>
                  <a:lnTo>
                    <a:pt x="585" y="914"/>
                  </a:lnTo>
                  <a:lnTo>
                    <a:pt x="682" y="915"/>
                  </a:lnTo>
                  <a:lnTo>
                    <a:pt x="775" y="917"/>
                  </a:lnTo>
                  <a:lnTo>
                    <a:pt x="865" y="918"/>
                  </a:lnTo>
                  <a:lnTo>
                    <a:pt x="950" y="919"/>
                  </a:lnTo>
                  <a:lnTo>
                    <a:pt x="987" y="920"/>
                  </a:lnTo>
                  <a:lnTo>
                    <a:pt x="1025" y="920"/>
                  </a:lnTo>
                  <a:lnTo>
                    <a:pt x="1062" y="922"/>
                  </a:lnTo>
                  <a:lnTo>
                    <a:pt x="1100" y="923"/>
                  </a:lnTo>
                  <a:lnTo>
                    <a:pt x="1135" y="924"/>
                  </a:lnTo>
                  <a:lnTo>
                    <a:pt x="1170" y="925"/>
                  </a:lnTo>
                  <a:lnTo>
                    <a:pt x="1202" y="927"/>
                  </a:lnTo>
                  <a:lnTo>
                    <a:pt x="1231" y="928"/>
                  </a:lnTo>
                  <a:lnTo>
                    <a:pt x="1257" y="931"/>
                  </a:lnTo>
                  <a:lnTo>
                    <a:pt x="1279" y="932"/>
                  </a:lnTo>
                  <a:lnTo>
                    <a:pt x="1301" y="932"/>
                  </a:lnTo>
                  <a:lnTo>
                    <a:pt x="1321" y="931"/>
                  </a:lnTo>
                  <a:lnTo>
                    <a:pt x="1341" y="928"/>
                  </a:lnTo>
                  <a:lnTo>
                    <a:pt x="1362" y="923"/>
                  </a:lnTo>
                  <a:lnTo>
                    <a:pt x="1386" y="915"/>
                  </a:lnTo>
                  <a:lnTo>
                    <a:pt x="1411" y="903"/>
                  </a:lnTo>
                  <a:lnTo>
                    <a:pt x="1418" y="899"/>
                  </a:lnTo>
                  <a:lnTo>
                    <a:pt x="1425" y="894"/>
                  </a:lnTo>
                  <a:lnTo>
                    <a:pt x="1431" y="888"/>
                  </a:lnTo>
                  <a:lnTo>
                    <a:pt x="1436" y="881"/>
                  </a:lnTo>
                  <a:lnTo>
                    <a:pt x="1446" y="867"/>
                  </a:lnTo>
                  <a:lnTo>
                    <a:pt x="1455" y="851"/>
                  </a:lnTo>
                  <a:lnTo>
                    <a:pt x="1464" y="835"/>
                  </a:lnTo>
                  <a:lnTo>
                    <a:pt x="1472" y="818"/>
                  </a:lnTo>
                  <a:lnTo>
                    <a:pt x="1482" y="803"/>
                  </a:lnTo>
                  <a:lnTo>
                    <a:pt x="1492" y="790"/>
                  </a:lnTo>
                  <a:lnTo>
                    <a:pt x="1530" y="752"/>
                  </a:lnTo>
                  <a:lnTo>
                    <a:pt x="1568" y="716"/>
                  </a:lnTo>
                  <a:lnTo>
                    <a:pt x="1585" y="697"/>
                  </a:lnTo>
                  <a:lnTo>
                    <a:pt x="1602" y="678"/>
                  </a:lnTo>
                  <a:lnTo>
                    <a:pt x="1610" y="668"/>
                  </a:lnTo>
                  <a:lnTo>
                    <a:pt x="1618" y="657"/>
                  </a:lnTo>
                  <a:lnTo>
                    <a:pt x="1624" y="646"/>
                  </a:lnTo>
                  <a:lnTo>
                    <a:pt x="1630" y="634"/>
                  </a:lnTo>
                  <a:lnTo>
                    <a:pt x="1634" y="625"/>
                  </a:lnTo>
                  <a:lnTo>
                    <a:pt x="1640" y="616"/>
                  </a:lnTo>
                  <a:lnTo>
                    <a:pt x="1646" y="608"/>
                  </a:lnTo>
                  <a:lnTo>
                    <a:pt x="1652" y="600"/>
                  </a:lnTo>
                  <a:lnTo>
                    <a:pt x="1666" y="587"/>
                  </a:lnTo>
                  <a:lnTo>
                    <a:pt x="1679" y="573"/>
                  </a:lnTo>
                  <a:lnTo>
                    <a:pt x="1694" y="559"/>
                  </a:lnTo>
                  <a:lnTo>
                    <a:pt x="1706" y="543"/>
                  </a:lnTo>
                  <a:lnTo>
                    <a:pt x="1712" y="534"/>
                  </a:lnTo>
                  <a:lnTo>
                    <a:pt x="1717" y="525"/>
                  </a:lnTo>
                  <a:lnTo>
                    <a:pt x="1722" y="515"/>
                  </a:lnTo>
                  <a:lnTo>
                    <a:pt x="1726" y="504"/>
                  </a:lnTo>
                  <a:lnTo>
                    <a:pt x="1729" y="493"/>
                  </a:lnTo>
                  <a:lnTo>
                    <a:pt x="1732" y="481"/>
                  </a:lnTo>
                  <a:lnTo>
                    <a:pt x="1735" y="467"/>
                  </a:lnTo>
                  <a:lnTo>
                    <a:pt x="1736" y="454"/>
                  </a:lnTo>
                  <a:lnTo>
                    <a:pt x="1737" y="439"/>
                  </a:lnTo>
                  <a:lnTo>
                    <a:pt x="1738" y="425"/>
                  </a:lnTo>
                  <a:lnTo>
                    <a:pt x="1737" y="412"/>
                  </a:lnTo>
                  <a:lnTo>
                    <a:pt x="1736" y="397"/>
                  </a:lnTo>
                  <a:lnTo>
                    <a:pt x="1734" y="384"/>
                  </a:lnTo>
                  <a:lnTo>
                    <a:pt x="1730" y="370"/>
                  </a:lnTo>
                  <a:lnTo>
                    <a:pt x="1726" y="358"/>
                  </a:lnTo>
                  <a:lnTo>
                    <a:pt x="1723" y="346"/>
                  </a:lnTo>
                  <a:lnTo>
                    <a:pt x="1713" y="321"/>
                  </a:lnTo>
                  <a:lnTo>
                    <a:pt x="1705" y="296"/>
                  </a:lnTo>
                  <a:lnTo>
                    <a:pt x="1699" y="277"/>
                  </a:lnTo>
                  <a:lnTo>
                    <a:pt x="1694" y="259"/>
                  </a:lnTo>
                  <a:lnTo>
                    <a:pt x="1687" y="243"/>
                  </a:lnTo>
                  <a:lnTo>
                    <a:pt x="1679" y="227"/>
                  </a:lnTo>
                  <a:lnTo>
                    <a:pt x="1671" y="215"/>
                  </a:lnTo>
                  <a:lnTo>
                    <a:pt x="1664" y="205"/>
                  </a:lnTo>
                  <a:lnTo>
                    <a:pt x="1659" y="201"/>
                  </a:lnTo>
                  <a:lnTo>
                    <a:pt x="1655" y="197"/>
                  </a:lnTo>
                  <a:lnTo>
                    <a:pt x="1650" y="195"/>
                  </a:lnTo>
                  <a:lnTo>
                    <a:pt x="1646" y="193"/>
                  </a:lnTo>
                  <a:lnTo>
                    <a:pt x="1640" y="192"/>
                  </a:lnTo>
                  <a:lnTo>
                    <a:pt x="1636" y="192"/>
                  </a:lnTo>
                  <a:lnTo>
                    <a:pt x="1630" y="193"/>
                  </a:lnTo>
                  <a:lnTo>
                    <a:pt x="1624" y="194"/>
                  </a:lnTo>
                  <a:lnTo>
                    <a:pt x="1619" y="196"/>
                  </a:lnTo>
                  <a:lnTo>
                    <a:pt x="1613" y="200"/>
                  </a:lnTo>
                  <a:lnTo>
                    <a:pt x="1608" y="204"/>
                  </a:lnTo>
                  <a:lnTo>
                    <a:pt x="1601" y="210"/>
                  </a:lnTo>
                  <a:lnTo>
                    <a:pt x="1595" y="216"/>
                  </a:lnTo>
                  <a:lnTo>
                    <a:pt x="1589" y="224"/>
                  </a:lnTo>
                  <a:lnTo>
                    <a:pt x="1582" y="233"/>
                  </a:lnTo>
                  <a:lnTo>
                    <a:pt x="1575" y="243"/>
                  </a:lnTo>
                  <a:lnTo>
                    <a:pt x="1561" y="268"/>
                  </a:lnTo>
                  <a:lnTo>
                    <a:pt x="1546" y="297"/>
                  </a:lnTo>
                  <a:lnTo>
                    <a:pt x="1535" y="318"/>
                  </a:lnTo>
                  <a:lnTo>
                    <a:pt x="1525" y="337"/>
                  </a:lnTo>
                  <a:lnTo>
                    <a:pt x="1516" y="354"/>
                  </a:lnTo>
                  <a:lnTo>
                    <a:pt x="1507" y="368"/>
                  </a:lnTo>
                  <a:lnTo>
                    <a:pt x="1498" y="380"/>
                  </a:lnTo>
                  <a:lnTo>
                    <a:pt x="1490" y="391"/>
                  </a:lnTo>
                  <a:lnTo>
                    <a:pt x="1483" y="399"/>
                  </a:lnTo>
                  <a:lnTo>
                    <a:pt x="1476" y="406"/>
                  </a:lnTo>
                  <a:lnTo>
                    <a:pt x="1468" y="412"/>
                  </a:lnTo>
                  <a:lnTo>
                    <a:pt x="1461" y="416"/>
                  </a:lnTo>
                  <a:lnTo>
                    <a:pt x="1455" y="418"/>
                  </a:lnTo>
                  <a:lnTo>
                    <a:pt x="1448" y="419"/>
                  </a:lnTo>
                  <a:lnTo>
                    <a:pt x="1441" y="418"/>
                  </a:lnTo>
                  <a:lnTo>
                    <a:pt x="1435" y="417"/>
                  </a:lnTo>
                  <a:lnTo>
                    <a:pt x="1428" y="416"/>
                  </a:lnTo>
                  <a:lnTo>
                    <a:pt x="1421" y="413"/>
                  </a:lnTo>
                  <a:lnTo>
                    <a:pt x="1392" y="395"/>
                  </a:lnTo>
                  <a:lnTo>
                    <a:pt x="1357" y="374"/>
                  </a:lnTo>
                  <a:lnTo>
                    <a:pt x="1346" y="368"/>
                  </a:lnTo>
                  <a:lnTo>
                    <a:pt x="1335" y="364"/>
                  </a:lnTo>
                  <a:lnTo>
                    <a:pt x="1324" y="359"/>
                  </a:lnTo>
                  <a:lnTo>
                    <a:pt x="1312" y="355"/>
                  </a:lnTo>
                  <a:lnTo>
                    <a:pt x="1298" y="351"/>
                  </a:lnTo>
                  <a:lnTo>
                    <a:pt x="1284" y="349"/>
                  </a:lnTo>
                  <a:lnTo>
                    <a:pt x="1269" y="348"/>
                  </a:lnTo>
                  <a:lnTo>
                    <a:pt x="1254" y="347"/>
                  </a:lnTo>
                  <a:lnTo>
                    <a:pt x="1228" y="348"/>
                  </a:lnTo>
                  <a:lnTo>
                    <a:pt x="1204" y="351"/>
                  </a:lnTo>
                  <a:lnTo>
                    <a:pt x="1179" y="356"/>
                  </a:lnTo>
                  <a:lnTo>
                    <a:pt x="1154" y="364"/>
                  </a:lnTo>
                  <a:lnTo>
                    <a:pt x="1131" y="371"/>
                  </a:lnTo>
                  <a:lnTo>
                    <a:pt x="1108" y="381"/>
                  </a:lnTo>
                  <a:lnTo>
                    <a:pt x="1085" y="391"/>
                  </a:lnTo>
                  <a:lnTo>
                    <a:pt x="1063" y="404"/>
                  </a:lnTo>
                  <a:lnTo>
                    <a:pt x="976" y="456"/>
                  </a:lnTo>
                  <a:lnTo>
                    <a:pt x="892" y="510"/>
                  </a:lnTo>
                  <a:lnTo>
                    <a:pt x="871" y="522"/>
                  </a:lnTo>
                  <a:lnTo>
                    <a:pt x="851" y="533"/>
                  </a:lnTo>
                  <a:lnTo>
                    <a:pt x="831" y="543"/>
                  </a:lnTo>
                  <a:lnTo>
                    <a:pt x="810" y="551"/>
                  </a:lnTo>
                  <a:lnTo>
                    <a:pt x="789" y="559"/>
                  </a:lnTo>
                  <a:lnTo>
                    <a:pt x="768" y="564"/>
                  </a:lnTo>
                  <a:lnTo>
                    <a:pt x="748" y="568"/>
                  </a:lnTo>
                  <a:lnTo>
                    <a:pt x="727" y="570"/>
                  </a:lnTo>
                  <a:lnTo>
                    <a:pt x="706" y="569"/>
                  </a:lnTo>
                  <a:lnTo>
                    <a:pt x="685" y="567"/>
                  </a:lnTo>
                  <a:lnTo>
                    <a:pt x="663" y="561"/>
                  </a:lnTo>
                  <a:lnTo>
                    <a:pt x="641" y="552"/>
                  </a:lnTo>
                  <a:lnTo>
                    <a:pt x="620" y="541"/>
                  </a:lnTo>
                  <a:lnTo>
                    <a:pt x="597" y="527"/>
                  </a:lnTo>
                  <a:lnTo>
                    <a:pt x="574" y="509"/>
                  </a:lnTo>
                  <a:lnTo>
                    <a:pt x="552" y="487"/>
                  </a:lnTo>
                  <a:lnTo>
                    <a:pt x="548" y="483"/>
                  </a:lnTo>
                  <a:lnTo>
                    <a:pt x="547" y="477"/>
                  </a:lnTo>
                  <a:lnTo>
                    <a:pt x="547" y="471"/>
                  </a:lnTo>
                  <a:lnTo>
                    <a:pt x="547" y="463"/>
                  </a:lnTo>
                  <a:lnTo>
                    <a:pt x="549" y="443"/>
                  </a:lnTo>
                  <a:lnTo>
                    <a:pt x="555" y="417"/>
                  </a:lnTo>
                  <a:lnTo>
                    <a:pt x="573" y="357"/>
                  </a:lnTo>
                  <a:lnTo>
                    <a:pt x="593" y="288"/>
                  </a:lnTo>
                  <a:lnTo>
                    <a:pt x="603" y="250"/>
                  </a:lnTo>
                  <a:lnTo>
                    <a:pt x="612" y="213"/>
                  </a:lnTo>
                  <a:lnTo>
                    <a:pt x="620" y="175"/>
                  </a:lnTo>
                  <a:lnTo>
                    <a:pt x="625" y="139"/>
                  </a:lnTo>
                  <a:lnTo>
                    <a:pt x="626" y="121"/>
                  </a:lnTo>
                  <a:lnTo>
                    <a:pt x="628" y="105"/>
                  </a:lnTo>
                  <a:lnTo>
                    <a:pt x="628" y="88"/>
                  </a:lnTo>
                  <a:lnTo>
                    <a:pt x="626" y="71"/>
                  </a:lnTo>
                  <a:lnTo>
                    <a:pt x="625" y="57"/>
                  </a:lnTo>
                  <a:lnTo>
                    <a:pt x="622" y="42"/>
                  </a:lnTo>
                  <a:lnTo>
                    <a:pt x="619" y="28"/>
                  </a:lnTo>
                  <a:lnTo>
                    <a:pt x="613" y="15"/>
                  </a:lnTo>
                  <a:lnTo>
                    <a:pt x="610" y="10"/>
                  </a:lnTo>
                  <a:lnTo>
                    <a:pt x="605" y="5"/>
                  </a:lnTo>
                  <a:lnTo>
                    <a:pt x="600" y="2"/>
                  </a:lnTo>
                  <a:lnTo>
                    <a:pt x="594" y="1"/>
                  </a:lnTo>
                  <a:lnTo>
                    <a:pt x="587" y="0"/>
                  </a:lnTo>
                  <a:lnTo>
                    <a:pt x="580" y="0"/>
                  </a:lnTo>
                  <a:lnTo>
                    <a:pt x="572" y="1"/>
                  </a:lnTo>
                  <a:lnTo>
                    <a:pt x="563" y="3"/>
                  </a:lnTo>
                  <a:lnTo>
                    <a:pt x="517" y="15"/>
                  </a:lnTo>
                  <a:lnTo>
                    <a:pt x="459" y="30"/>
                  </a:lnTo>
                  <a:lnTo>
                    <a:pt x="436" y="33"/>
                  </a:lnTo>
                  <a:lnTo>
                    <a:pt x="410" y="35"/>
                  </a:lnTo>
                  <a:lnTo>
                    <a:pt x="383" y="35"/>
                  </a:lnTo>
                  <a:lnTo>
                    <a:pt x="355" y="37"/>
                  </a:lnTo>
                  <a:lnTo>
                    <a:pt x="326" y="38"/>
                  </a:lnTo>
                  <a:lnTo>
                    <a:pt x="296" y="40"/>
                  </a:lnTo>
                  <a:lnTo>
                    <a:pt x="280" y="42"/>
                  </a:lnTo>
                  <a:lnTo>
                    <a:pt x="265" y="44"/>
                  </a:lnTo>
                  <a:lnTo>
                    <a:pt x="249" y="48"/>
                  </a:lnTo>
                  <a:lnTo>
                    <a:pt x="232" y="51"/>
                  </a:lnTo>
                  <a:lnTo>
                    <a:pt x="201" y="60"/>
                  </a:lnTo>
                  <a:lnTo>
                    <a:pt x="168" y="70"/>
                  </a:lnTo>
                  <a:lnTo>
                    <a:pt x="133" y="81"/>
                  </a:lnTo>
                  <a:lnTo>
                    <a:pt x="96" y="92"/>
                  </a:lnTo>
                  <a:lnTo>
                    <a:pt x="104" y="104"/>
                  </a:lnTo>
                  <a:lnTo>
                    <a:pt x="111" y="112"/>
                  </a:lnTo>
                  <a:lnTo>
                    <a:pt x="116" y="118"/>
                  </a:lnTo>
                  <a:lnTo>
                    <a:pt x="120" y="121"/>
                  </a:lnTo>
                  <a:lnTo>
                    <a:pt x="120" y="147"/>
                  </a:lnTo>
                  <a:lnTo>
                    <a:pt x="122" y="150"/>
                  </a:lnTo>
                  <a:lnTo>
                    <a:pt x="124" y="158"/>
                  </a:lnTo>
                  <a:lnTo>
                    <a:pt x="125" y="168"/>
                  </a:lnTo>
                  <a:lnTo>
                    <a:pt x="127" y="181"/>
                  </a:lnTo>
                  <a:lnTo>
                    <a:pt x="131" y="193"/>
                  </a:lnTo>
                  <a:lnTo>
                    <a:pt x="134" y="204"/>
                  </a:lnTo>
                  <a:lnTo>
                    <a:pt x="138" y="208"/>
                  </a:lnTo>
                  <a:lnTo>
                    <a:pt x="140" y="212"/>
                  </a:lnTo>
                  <a:lnTo>
                    <a:pt x="143" y="213"/>
                  </a:lnTo>
                  <a:lnTo>
                    <a:pt x="146" y="214"/>
                  </a:lnTo>
                  <a:lnTo>
                    <a:pt x="146" y="301"/>
                  </a:lnTo>
                  <a:lnTo>
                    <a:pt x="133" y="301"/>
                  </a:lnTo>
                  <a:lnTo>
                    <a:pt x="131" y="314"/>
                  </a:lnTo>
                  <a:lnTo>
                    <a:pt x="125" y="332"/>
                  </a:lnTo>
                  <a:lnTo>
                    <a:pt x="122" y="341"/>
                  </a:lnTo>
                  <a:lnTo>
                    <a:pt x="119" y="348"/>
                  </a:lnTo>
                  <a:lnTo>
                    <a:pt x="116" y="352"/>
                  </a:lnTo>
                  <a:lnTo>
                    <a:pt x="113" y="355"/>
                  </a:lnTo>
                  <a:lnTo>
                    <a:pt x="113" y="374"/>
                  </a:lnTo>
                  <a:lnTo>
                    <a:pt x="111" y="375"/>
                  </a:lnTo>
                  <a:lnTo>
                    <a:pt x="110" y="375"/>
                  </a:lnTo>
                  <a:lnTo>
                    <a:pt x="107" y="377"/>
                  </a:lnTo>
                  <a:lnTo>
                    <a:pt x="107" y="378"/>
                  </a:lnTo>
                  <a:lnTo>
                    <a:pt x="106" y="383"/>
                  </a:lnTo>
                  <a:lnTo>
                    <a:pt x="106" y="387"/>
                  </a:lnTo>
                  <a:lnTo>
                    <a:pt x="79" y="414"/>
                  </a:lnTo>
                  <a:lnTo>
                    <a:pt x="79" y="427"/>
                  </a:lnTo>
                  <a:lnTo>
                    <a:pt x="73" y="434"/>
                  </a:lnTo>
                  <a:lnTo>
                    <a:pt x="68" y="435"/>
                  </a:lnTo>
                  <a:lnTo>
                    <a:pt x="64" y="438"/>
                  </a:lnTo>
                  <a:lnTo>
                    <a:pt x="60" y="443"/>
                  </a:lnTo>
                  <a:lnTo>
                    <a:pt x="59" y="447"/>
                  </a:lnTo>
                  <a:lnTo>
                    <a:pt x="57" y="448"/>
                  </a:lnTo>
                  <a:lnTo>
                    <a:pt x="55" y="450"/>
                  </a:lnTo>
                  <a:lnTo>
                    <a:pt x="53" y="452"/>
                  </a:lnTo>
                  <a:lnTo>
                    <a:pt x="50" y="455"/>
                  </a:lnTo>
                  <a:lnTo>
                    <a:pt x="47" y="462"/>
                  </a:lnTo>
                  <a:lnTo>
                    <a:pt x="46" y="467"/>
                  </a:lnTo>
                  <a:lnTo>
                    <a:pt x="33" y="467"/>
                  </a:lnTo>
                  <a:lnTo>
                    <a:pt x="33" y="481"/>
                  </a:lnTo>
                  <a:lnTo>
                    <a:pt x="28" y="482"/>
                  </a:lnTo>
                  <a:lnTo>
                    <a:pt x="24" y="485"/>
                  </a:lnTo>
                  <a:lnTo>
                    <a:pt x="20" y="490"/>
                  </a:lnTo>
                  <a:lnTo>
                    <a:pt x="19" y="494"/>
                  </a:lnTo>
                  <a:lnTo>
                    <a:pt x="9" y="504"/>
                  </a:lnTo>
                  <a:lnTo>
                    <a:pt x="0" y="514"/>
                  </a:lnTo>
                  <a:lnTo>
                    <a:pt x="0" y="588"/>
                  </a:lnTo>
                  <a:lnTo>
                    <a:pt x="2" y="590"/>
                  </a:lnTo>
                  <a:lnTo>
                    <a:pt x="7" y="597"/>
                  </a:lnTo>
                  <a:lnTo>
                    <a:pt x="11" y="607"/>
                  </a:lnTo>
                  <a:lnTo>
                    <a:pt x="16" y="618"/>
                  </a:lnTo>
                  <a:lnTo>
                    <a:pt x="23" y="640"/>
                  </a:lnTo>
                  <a:lnTo>
                    <a:pt x="26" y="654"/>
                  </a:lnTo>
                  <a:lnTo>
                    <a:pt x="33" y="662"/>
                  </a:lnTo>
                  <a:lnTo>
                    <a:pt x="39" y="670"/>
                  </a:lnTo>
                  <a:lnTo>
                    <a:pt x="47" y="681"/>
                  </a:lnTo>
                  <a:lnTo>
                    <a:pt x="53" y="687"/>
                  </a:lnTo>
                  <a:lnTo>
                    <a:pt x="53" y="707"/>
                  </a:lnTo>
                  <a:lnTo>
                    <a:pt x="60" y="714"/>
                  </a:lnTo>
                  <a:lnTo>
                    <a:pt x="68" y="724"/>
                  </a:lnTo>
                  <a:lnTo>
                    <a:pt x="73" y="729"/>
                  </a:lnTo>
                  <a:lnTo>
                    <a:pt x="76" y="734"/>
                  </a:lnTo>
                  <a:lnTo>
                    <a:pt x="78" y="737"/>
                  </a:lnTo>
                  <a:lnTo>
                    <a:pt x="79" y="741"/>
                  </a:lnTo>
                  <a:lnTo>
                    <a:pt x="82" y="741"/>
                  </a:lnTo>
                  <a:lnTo>
                    <a:pt x="85" y="743"/>
                  </a:lnTo>
                  <a:lnTo>
                    <a:pt x="87" y="745"/>
                  </a:lnTo>
                  <a:lnTo>
                    <a:pt x="88" y="749"/>
                  </a:lnTo>
                  <a:lnTo>
                    <a:pt x="92" y="755"/>
                  </a:lnTo>
                  <a:lnTo>
                    <a:pt x="93" y="761"/>
                  </a:lnTo>
                  <a:lnTo>
                    <a:pt x="98" y="765"/>
                  </a:lnTo>
                  <a:lnTo>
                    <a:pt x="105" y="773"/>
                  </a:lnTo>
                  <a:lnTo>
                    <a:pt x="112" y="784"/>
                  </a:lnTo>
                  <a:lnTo>
                    <a:pt x="119" y="797"/>
                  </a:lnTo>
                  <a:lnTo>
                    <a:pt x="124" y="810"/>
                  </a:lnTo>
                  <a:lnTo>
                    <a:pt x="129" y="823"/>
                  </a:lnTo>
                  <a:lnTo>
                    <a:pt x="132" y="837"/>
                  </a:lnTo>
                  <a:lnTo>
                    <a:pt x="133" y="847"/>
                  </a:lnTo>
                  <a:lnTo>
                    <a:pt x="177" y="9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46" name="Freeform 13"/>
            <p:cNvSpPr>
              <a:spLocks noChangeAspect="1"/>
            </p:cNvSpPr>
            <p:nvPr/>
          </p:nvSpPr>
          <p:spPr bwMode="gray">
            <a:xfrm rot="355651">
              <a:off x="6338110" y="3430588"/>
              <a:ext cx="637947" cy="438618"/>
            </a:xfrm>
            <a:custGeom>
              <a:avLst/>
              <a:gdLst/>
              <a:ahLst/>
              <a:cxnLst>
                <a:cxn ang="0">
                  <a:pos x="390" y="237"/>
                </a:cxn>
                <a:cxn ang="0">
                  <a:pos x="276" y="310"/>
                </a:cxn>
                <a:cxn ang="0">
                  <a:pos x="198" y="352"/>
                </a:cxn>
                <a:cxn ang="0">
                  <a:pos x="51" y="389"/>
                </a:cxn>
                <a:cxn ang="0">
                  <a:pos x="0" y="426"/>
                </a:cxn>
                <a:cxn ang="0">
                  <a:pos x="167" y="461"/>
                </a:cxn>
                <a:cxn ang="0">
                  <a:pos x="262" y="410"/>
                </a:cxn>
                <a:cxn ang="0">
                  <a:pos x="366" y="446"/>
                </a:cxn>
                <a:cxn ang="0">
                  <a:pos x="621" y="506"/>
                </a:cxn>
                <a:cxn ang="0">
                  <a:pos x="728" y="575"/>
                </a:cxn>
                <a:cxn ang="0">
                  <a:pos x="809" y="629"/>
                </a:cxn>
                <a:cxn ang="0">
                  <a:pos x="912" y="695"/>
                </a:cxn>
                <a:cxn ang="0">
                  <a:pos x="974" y="742"/>
                </a:cxn>
                <a:cxn ang="0">
                  <a:pos x="1027" y="1030"/>
                </a:cxn>
                <a:cxn ang="0">
                  <a:pos x="1126" y="974"/>
                </a:cxn>
                <a:cxn ang="0">
                  <a:pos x="1310" y="1136"/>
                </a:cxn>
                <a:cxn ang="0">
                  <a:pos x="1531" y="1391"/>
                </a:cxn>
                <a:cxn ang="0">
                  <a:pos x="1589" y="1471"/>
                </a:cxn>
                <a:cxn ang="0">
                  <a:pos x="1757" y="1567"/>
                </a:cxn>
                <a:cxn ang="0">
                  <a:pos x="1975" y="1607"/>
                </a:cxn>
                <a:cxn ang="0">
                  <a:pos x="2328" y="1649"/>
                </a:cxn>
                <a:cxn ang="0">
                  <a:pos x="2386" y="1751"/>
                </a:cxn>
                <a:cxn ang="0">
                  <a:pos x="2448" y="1891"/>
                </a:cxn>
                <a:cxn ang="0">
                  <a:pos x="2499" y="2015"/>
                </a:cxn>
                <a:cxn ang="0">
                  <a:pos x="2602" y="2099"/>
                </a:cxn>
                <a:cxn ang="0">
                  <a:pos x="2700" y="2226"/>
                </a:cxn>
                <a:cxn ang="0">
                  <a:pos x="2770" y="2371"/>
                </a:cxn>
                <a:cxn ang="0">
                  <a:pos x="2803" y="2449"/>
                </a:cxn>
                <a:cxn ang="0">
                  <a:pos x="2890" y="2510"/>
                </a:cxn>
                <a:cxn ang="0">
                  <a:pos x="3011" y="2564"/>
                </a:cxn>
                <a:cxn ang="0">
                  <a:pos x="3116" y="2588"/>
                </a:cxn>
                <a:cxn ang="0">
                  <a:pos x="3204" y="2650"/>
                </a:cxn>
                <a:cxn ang="0">
                  <a:pos x="3308" y="2704"/>
                </a:cxn>
                <a:cxn ang="0">
                  <a:pos x="3522" y="2627"/>
                </a:cxn>
                <a:cxn ang="0">
                  <a:pos x="3468" y="2531"/>
                </a:cxn>
                <a:cxn ang="0">
                  <a:pos x="3400" y="2388"/>
                </a:cxn>
                <a:cxn ang="0">
                  <a:pos x="3385" y="2176"/>
                </a:cxn>
                <a:cxn ang="0">
                  <a:pos x="3226" y="2130"/>
                </a:cxn>
                <a:cxn ang="0">
                  <a:pos x="2924" y="2134"/>
                </a:cxn>
                <a:cxn ang="0">
                  <a:pos x="2817" y="2025"/>
                </a:cxn>
                <a:cxn ang="0">
                  <a:pos x="2686" y="1894"/>
                </a:cxn>
                <a:cxn ang="0">
                  <a:pos x="2646" y="1654"/>
                </a:cxn>
                <a:cxn ang="0">
                  <a:pos x="2558" y="1522"/>
                </a:cxn>
                <a:cxn ang="0">
                  <a:pos x="2489" y="1168"/>
                </a:cxn>
                <a:cxn ang="0">
                  <a:pos x="2428" y="1090"/>
                </a:cxn>
                <a:cxn ang="0">
                  <a:pos x="2386" y="879"/>
                </a:cxn>
                <a:cxn ang="0">
                  <a:pos x="2189" y="842"/>
                </a:cxn>
                <a:cxn ang="0">
                  <a:pos x="2076" y="899"/>
                </a:cxn>
                <a:cxn ang="0">
                  <a:pos x="1914" y="854"/>
                </a:cxn>
                <a:cxn ang="0">
                  <a:pos x="1702" y="748"/>
                </a:cxn>
                <a:cxn ang="0">
                  <a:pos x="1586" y="706"/>
                </a:cxn>
                <a:cxn ang="0">
                  <a:pos x="1529" y="669"/>
                </a:cxn>
                <a:cxn ang="0">
                  <a:pos x="1468" y="634"/>
                </a:cxn>
                <a:cxn ang="0">
                  <a:pos x="1315" y="567"/>
                </a:cxn>
                <a:cxn ang="0">
                  <a:pos x="1193" y="497"/>
                </a:cxn>
                <a:cxn ang="0">
                  <a:pos x="1142" y="347"/>
                </a:cxn>
                <a:cxn ang="0">
                  <a:pos x="1121" y="180"/>
                </a:cxn>
                <a:cxn ang="0">
                  <a:pos x="1024" y="84"/>
                </a:cxn>
                <a:cxn ang="0">
                  <a:pos x="974" y="29"/>
                </a:cxn>
                <a:cxn ang="0">
                  <a:pos x="917" y="3"/>
                </a:cxn>
                <a:cxn ang="0">
                  <a:pos x="656" y="32"/>
                </a:cxn>
                <a:cxn ang="0">
                  <a:pos x="537" y="78"/>
                </a:cxn>
              </a:cxnLst>
              <a:rect l="0" t="0" r="r" b="b"/>
              <a:pathLst>
                <a:path w="3522" h="2714">
                  <a:moveTo>
                    <a:pt x="432" y="122"/>
                  </a:moveTo>
                  <a:lnTo>
                    <a:pt x="416" y="134"/>
                  </a:lnTo>
                  <a:lnTo>
                    <a:pt x="408" y="140"/>
                  </a:lnTo>
                  <a:lnTo>
                    <a:pt x="406" y="142"/>
                  </a:lnTo>
                  <a:lnTo>
                    <a:pt x="404" y="147"/>
                  </a:lnTo>
                  <a:lnTo>
                    <a:pt x="404" y="151"/>
                  </a:lnTo>
                  <a:lnTo>
                    <a:pt x="404" y="158"/>
                  </a:lnTo>
                  <a:lnTo>
                    <a:pt x="401" y="159"/>
                  </a:lnTo>
                  <a:lnTo>
                    <a:pt x="400" y="164"/>
                  </a:lnTo>
                  <a:lnTo>
                    <a:pt x="399" y="170"/>
                  </a:lnTo>
                  <a:lnTo>
                    <a:pt x="398" y="177"/>
                  </a:lnTo>
                  <a:lnTo>
                    <a:pt x="397" y="192"/>
                  </a:lnTo>
                  <a:lnTo>
                    <a:pt x="397" y="202"/>
                  </a:lnTo>
                  <a:lnTo>
                    <a:pt x="394" y="203"/>
                  </a:lnTo>
                  <a:lnTo>
                    <a:pt x="392" y="206"/>
                  </a:lnTo>
                  <a:lnTo>
                    <a:pt x="391" y="211"/>
                  </a:lnTo>
                  <a:lnTo>
                    <a:pt x="390" y="216"/>
                  </a:lnTo>
                  <a:lnTo>
                    <a:pt x="390" y="228"/>
                  </a:lnTo>
                  <a:lnTo>
                    <a:pt x="390" y="237"/>
                  </a:lnTo>
                  <a:lnTo>
                    <a:pt x="383" y="244"/>
                  </a:lnTo>
                  <a:lnTo>
                    <a:pt x="368" y="260"/>
                  </a:lnTo>
                  <a:lnTo>
                    <a:pt x="360" y="269"/>
                  </a:lnTo>
                  <a:lnTo>
                    <a:pt x="353" y="276"/>
                  </a:lnTo>
                  <a:lnTo>
                    <a:pt x="349" y="283"/>
                  </a:lnTo>
                  <a:lnTo>
                    <a:pt x="346" y="288"/>
                  </a:lnTo>
                  <a:lnTo>
                    <a:pt x="341" y="288"/>
                  </a:lnTo>
                  <a:lnTo>
                    <a:pt x="336" y="289"/>
                  </a:lnTo>
                  <a:lnTo>
                    <a:pt x="334" y="290"/>
                  </a:lnTo>
                  <a:lnTo>
                    <a:pt x="333" y="291"/>
                  </a:lnTo>
                  <a:lnTo>
                    <a:pt x="332" y="293"/>
                  </a:lnTo>
                  <a:lnTo>
                    <a:pt x="332" y="295"/>
                  </a:lnTo>
                  <a:lnTo>
                    <a:pt x="288" y="295"/>
                  </a:lnTo>
                  <a:lnTo>
                    <a:pt x="282" y="302"/>
                  </a:lnTo>
                  <a:lnTo>
                    <a:pt x="282" y="307"/>
                  </a:lnTo>
                  <a:lnTo>
                    <a:pt x="281" y="309"/>
                  </a:lnTo>
                  <a:lnTo>
                    <a:pt x="279" y="309"/>
                  </a:lnTo>
                  <a:lnTo>
                    <a:pt x="278" y="310"/>
                  </a:lnTo>
                  <a:lnTo>
                    <a:pt x="276" y="310"/>
                  </a:lnTo>
                  <a:lnTo>
                    <a:pt x="275" y="310"/>
                  </a:lnTo>
                  <a:lnTo>
                    <a:pt x="275" y="312"/>
                  </a:lnTo>
                  <a:lnTo>
                    <a:pt x="274" y="317"/>
                  </a:lnTo>
                  <a:lnTo>
                    <a:pt x="259" y="317"/>
                  </a:lnTo>
                  <a:lnTo>
                    <a:pt x="253" y="324"/>
                  </a:lnTo>
                  <a:lnTo>
                    <a:pt x="253" y="328"/>
                  </a:lnTo>
                  <a:lnTo>
                    <a:pt x="252" y="330"/>
                  </a:lnTo>
                  <a:lnTo>
                    <a:pt x="250" y="331"/>
                  </a:lnTo>
                  <a:lnTo>
                    <a:pt x="249" y="331"/>
                  </a:lnTo>
                  <a:lnTo>
                    <a:pt x="248" y="331"/>
                  </a:lnTo>
                  <a:lnTo>
                    <a:pt x="247" y="332"/>
                  </a:lnTo>
                  <a:lnTo>
                    <a:pt x="246" y="334"/>
                  </a:lnTo>
                  <a:lnTo>
                    <a:pt x="246" y="338"/>
                  </a:lnTo>
                  <a:lnTo>
                    <a:pt x="231" y="338"/>
                  </a:lnTo>
                  <a:lnTo>
                    <a:pt x="230" y="342"/>
                  </a:lnTo>
                  <a:lnTo>
                    <a:pt x="227" y="346"/>
                  </a:lnTo>
                  <a:lnTo>
                    <a:pt x="221" y="348"/>
                  </a:lnTo>
                  <a:lnTo>
                    <a:pt x="215" y="350"/>
                  </a:lnTo>
                  <a:lnTo>
                    <a:pt x="198" y="352"/>
                  </a:lnTo>
                  <a:lnTo>
                    <a:pt x="179" y="353"/>
                  </a:lnTo>
                  <a:lnTo>
                    <a:pt x="140" y="353"/>
                  </a:lnTo>
                  <a:lnTo>
                    <a:pt x="115" y="352"/>
                  </a:lnTo>
                  <a:lnTo>
                    <a:pt x="114" y="356"/>
                  </a:lnTo>
                  <a:lnTo>
                    <a:pt x="111" y="358"/>
                  </a:lnTo>
                  <a:lnTo>
                    <a:pt x="106" y="360"/>
                  </a:lnTo>
                  <a:lnTo>
                    <a:pt x="101" y="362"/>
                  </a:lnTo>
                  <a:lnTo>
                    <a:pt x="89" y="366"/>
                  </a:lnTo>
                  <a:lnTo>
                    <a:pt x="80" y="367"/>
                  </a:lnTo>
                  <a:lnTo>
                    <a:pt x="78" y="369"/>
                  </a:lnTo>
                  <a:lnTo>
                    <a:pt x="75" y="371"/>
                  </a:lnTo>
                  <a:lnTo>
                    <a:pt x="71" y="373"/>
                  </a:lnTo>
                  <a:lnTo>
                    <a:pt x="65" y="376"/>
                  </a:lnTo>
                  <a:lnTo>
                    <a:pt x="60" y="378"/>
                  </a:lnTo>
                  <a:lnTo>
                    <a:pt x="55" y="380"/>
                  </a:lnTo>
                  <a:lnTo>
                    <a:pt x="54" y="382"/>
                  </a:lnTo>
                  <a:lnTo>
                    <a:pt x="52" y="384"/>
                  </a:lnTo>
                  <a:lnTo>
                    <a:pt x="52" y="386"/>
                  </a:lnTo>
                  <a:lnTo>
                    <a:pt x="51" y="389"/>
                  </a:lnTo>
                  <a:lnTo>
                    <a:pt x="43" y="389"/>
                  </a:lnTo>
                  <a:lnTo>
                    <a:pt x="37" y="390"/>
                  </a:lnTo>
                  <a:lnTo>
                    <a:pt x="35" y="391"/>
                  </a:lnTo>
                  <a:lnTo>
                    <a:pt x="35" y="392"/>
                  </a:lnTo>
                  <a:lnTo>
                    <a:pt x="35" y="394"/>
                  </a:lnTo>
                  <a:lnTo>
                    <a:pt x="35" y="395"/>
                  </a:lnTo>
                  <a:lnTo>
                    <a:pt x="33" y="396"/>
                  </a:lnTo>
                  <a:lnTo>
                    <a:pt x="29" y="396"/>
                  </a:lnTo>
                  <a:lnTo>
                    <a:pt x="29" y="400"/>
                  </a:lnTo>
                  <a:lnTo>
                    <a:pt x="28" y="402"/>
                  </a:lnTo>
                  <a:lnTo>
                    <a:pt x="27" y="402"/>
                  </a:lnTo>
                  <a:lnTo>
                    <a:pt x="26" y="404"/>
                  </a:lnTo>
                  <a:lnTo>
                    <a:pt x="24" y="404"/>
                  </a:lnTo>
                  <a:lnTo>
                    <a:pt x="23" y="404"/>
                  </a:lnTo>
                  <a:lnTo>
                    <a:pt x="23" y="406"/>
                  </a:lnTo>
                  <a:lnTo>
                    <a:pt x="22" y="410"/>
                  </a:lnTo>
                  <a:lnTo>
                    <a:pt x="8" y="410"/>
                  </a:lnTo>
                  <a:lnTo>
                    <a:pt x="0" y="417"/>
                  </a:lnTo>
                  <a:lnTo>
                    <a:pt x="0" y="426"/>
                  </a:lnTo>
                  <a:lnTo>
                    <a:pt x="0" y="439"/>
                  </a:lnTo>
                  <a:lnTo>
                    <a:pt x="0" y="452"/>
                  </a:lnTo>
                  <a:lnTo>
                    <a:pt x="0" y="461"/>
                  </a:lnTo>
                  <a:lnTo>
                    <a:pt x="12" y="464"/>
                  </a:lnTo>
                  <a:lnTo>
                    <a:pt x="22" y="468"/>
                  </a:lnTo>
                  <a:lnTo>
                    <a:pt x="23" y="469"/>
                  </a:lnTo>
                  <a:lnTo>
                    <a:pt x="26" y="471"/>
                  </a:lnTo>
                  <a:lnTo>
                    <a:pt x="30" y="472"/>
                  </a:lnTo>
                  <a:lnTo>
                    <a:pt x="36" y="472"/>
                  </a:lnTo>
                  <a:lnTo>
                    <a:pt x="51" y="474"/>
                  </a:lnTo>
                  <a:lnTo>
                    <a:pt x="67" y="474"/>
                  </a:lnTo>
                  <a:lnTo>
                    <a:pt x="101" y="475"/>
                  </a:lnTo>
                  <a:lnTo>
                    <a:pt x="123" y="475"/>
                  </a:lnTo>
                  <a:lnTo>
                    <a:pt x="124" y="473"/>
                  </a:lnTo>
                  <a:lnTo>
                    <a:pt x="129" y="469"/>
                  </a:lnTo>
                  <a:lnTo>
                    <a:pt x="134" y="467"/>
                  </a:lnTo>
                  <a:lnTo>
                    <a:pt x="142" y="465"/>
                  </a:lnTo>
                  <a:lnTo>
                    <a:pt x="157" y="462"/>
                  </a:lnTo>
                  <a:lnTo>
                    <a:pt x="167" y="461"/>
                  </a:lnTo>
                  <a:lnTo>
                    <a:pt x="167" y="458"/>
                  </a:lnTo>
                  <a:lnTo>
                    <a:pt x="168" y="456"/>
                  </a:lnTo>
                  <a:lnTo>
                    <a:pt x="169" y="455"/>
                  </a:lnTo>
                  <a:lnTo>
                    <a:pt x="171" y="455"/>
                  </a:lnTo>
                  <a:lnTo>
                    <a:pt x="176" y="454"/>
                  </a:lnTo>
                  <a:lnTo>
                    <a:pt x="180" y="454"/>
                  </a:lnTo>
                  <a:lnTo>
                    <a:pt x="195" y="439"/>
                  </a:lnTo>
                  <a:lnTo>
                    <a:pt x="202" y="438"/>
                  </a:lnTo>
                  <a:lnTo>
                    <a:pt x="210" y="437"/>
                  </a:lnTo>
                  <a:lnTo>
                    <a:pt x="217" y="435"/>
                  </a:lnTo>
                  <a:lnTo>
                    <a:pt x="224" y="432"/>
                  </a:lnTo>
                  <a:lnTo>
                    <a:pt x="230" y="429"/>
                  </a:lnTo>
                  <a:lnTo>
                    <a:pt x="238" y="427"/>
                  </a:lnTo>
                  <a:lnTo>
                    <a:pt x="245" y="425"/>
                  </a:lnTo>
                  <a:lnTo>
                    <a:pt x="253" y="425"/>
                  </a:lnTo>
                  <a:lnTo>
                    <a:pt x="259" y="417"/>
                  </a:lnTo>
                  <a:lnTo>
                    <a:pt x="260" y="414"/>
                  </a:lnTo>
                  <a:lnTo>
                    <a:pt x="260" y="411"/>
                  </a:lnTo>
                  <a:lnTo>
                    <a:pt x="262" y="410"/>
                  </a:lnTo>
                  <a:lnTo>
                    <a:pt x="264" y="410"/>
                  </a:lnTo>
                  <a:lnTo>
                    <a:pt x="265" y="410"/>
                  </a:lnTo>
                  <a:lnTo>
                    <a:pt x="266" y="409"/>
                  </a:lnTo>
                  <a:lnTo>
                    <a:pt x="267" y="407"/>
                  </a:lnTo>
                  <a:lnTo>
                    <a:pt x="267" y="404"/>
                  </a:lnTo>
                  <a:lnTo>
                    <a:pt x="325" y="404"/>
                  </a:lnTo>
                  <a:lnTo>
                    <a:pt x="325" y="406"/>
                  </a:lnTo>
                  <a:lnTo>
                    <a:pt x="326" y="407"/>
                  </a:lnTo>
                  <a:lnTo>
                    <a:pt x="327" y="408"/>
                  </a:lnTo>
                  <a:lnTo>
                    <a:pt x="330" y="409"/>
                  </a:lnTo>
                  <a:lnTo>
                    <a:pt x="334" y="410"/>
                  </a:lnTo>
                  <a:lnTo>
                    <a:pt x="339" y="410"/>
                  </a:lnTo>
                  <a:lnTo>
                    <a:pt x="340" y="416"/>
                  </a:lnTo>
                  <a:lnTo>
                    <a:pt x="341" y="421"/>
                  </a:lnTo>
                  <a:lnTo>
                    <a:pt x="343" y="426"/>
                  </a:lnTo>
                  <a:lnTo>
                    <a:pt x="346" y="432"/>
                  </a:lnTo>
                  <a:lnTo>
                    <a:pt x="351" y="439"/>
                  </a:lnTo>
                  <a:lnTo>
                    <a:pt x="353" y="446"/>
                  </a:lnTo>
                  <a:lnTo>
                    <a:pt x="366" y="446"/>
                  </a:lnTo>
                  <a:lnTo>
                    <a:pt x="368" y="450"/>
                  </a:lnTo>
                  <a:lnTo>
                    <a:pt x="368" y="453"/>
                  </a:lnTo>
                  <a:lnTo>
                    <a:pt x="369" y="454"/>
                  </a:lnTo>
                  <a:lnTo>
                    <a:pt x="371" y="454"/>
                  </a:lnTo>
                  <a:lnTo>
                    <a:pt x="372" y="454"/>
                  </a:lnTo>
                  <a:lnTo>
                    <a:pt x="373" y="454"/>
                  </a:lnTo>
                  <a:lnTo>
                    <a:pt x="374" y="456"/>
                  </a:lnTo>
                  <a:lnTo>
                    <a:pt x="374" y="461"/>
                  </a:lnTo>
                  <a:lnTo>
                    <a:pt x="498" y="461"/>
                  </a:lnTo>
                  <a:lnTo>
                    <a:pt x="519" y="461"/>
                  </a:lnTo>
                  <a:lnTo>
                    <a:pt x="534" y="475"/>
                  </a:lnTo>
                  <a:lnTo>
                    <a:pt x="555" y="475"/>
                  </a:lnTo>
                  <a:lnTo>
                    <a:pt x="570" y="490"/>
                  </a:lnTo>
                  <a:lnTo>
                    <a:pt x="584" y="490"/>
                  </a:lnTo>
                  <a:lnTo>
                    <a:pt x="589" y="492"/>
                  </a:lnTo>
                  <a:lnTo>
                    <a:pt x="600" y="496"/>
                  </a:lnTo>
                  <a:lnTo>
                    <a:pt x="611" y="502"/>
                  </a:lnTo>
                  <a:lnTo>
                    <a:pt x="620" y="504"/>
                  </a:lnTo>
                  <a:lnTo>
                    <a:pt x="621" y="506"/>
                  </a:lnTo>
                  <a:lnTo>
                    <a:pt x="622" y="509"/>
                  </a:lnTo>
                  <a:lnTo>
                    <a:pt x="624" y="510"/>
                  </a:lnTo>
                  <a:lnTo>
                    <a:pt x="628" y="512"/>
                  </a:lnTo>
                  <a:lnTo>
                    <a:pt x="630" y="514"/>
                  </a:lnTo>
                  <a:lnTo>
                    <a:pt x="632" y="517"/>
                  </a:lnTo>
                  <a:lnTo>
                    <a:pt x="634" y="521"/>
                  </a:lnTo>
                  <a:lnTo>
                    <a:pt x="634" y="525"/>
                  </a:lnTo>
                  <a:lnTo>
                    <a:pt x="647" y="530"/>
                  </a:lnTo>
                  <a:lnTo>
                    <a:pt x="663" y="533"/>
                  </a:lnTo>
                  <a:lnTo>
                    <a:pt x="670" y="548"/>
                  </a:lnTo>
                  <a:lnTo>
                    <a:pt x="677" y="548"/>
                  </a:lnTo>
                  <a:lnTo>
                    <a:pt x="684" y="550"/>
                  </a:lnTo>
                  <a:lnTo>
                    <a:pt x="690" y="552"/>
                  </a:lnTo>
                  <a:lnTo>
                    <a:pt x="698" y="557"/>
                  </a:lnTo>
                  <a:lnTo>
                    <a:pt x="704" y="561"/>
                  </a:lnTo>
                  <a:lnTo>
                    <a:pt x="709" y="565"/>
                  </a:lnTo>
                  <a:lnTo>
                    <a:pt x="713" y="571"/>
                  </a:lnTo>
                  <a:lnTo>
                    <a:pt x="714" y="575"/>
                  </a:lnTo>
                  <a:lnTo>
                    <a:pt x="728" y="575"/>
                  </a:lnTo>
                  <a:lnTo>
                    <a:pt x="736" y="590"/>
                  </a:lnTo>
                  <a:lnTo>
                    <a:pt x="743" y="598"/>
                  </a:lnTo>
                  <a:lnTo>
                    <a:pt x="749" y="599"/>
                  </a:lnTo>
                  <a:lnTo>
                    <a:pt x="756" y="602"/>
                  </a:lnTo>
                  <a:lnTo>
                    <a:pt x="759" y="605"/>
                  </a:lnTo>
                  <a:lnTo>
                    <a:pt x="762" y="607"/>
                  </a:lnTo>
                  <a:lnTo>
                    <a:pt x="764" y="609"/>
                  </a:lnTo>
                  <a:lnTo>
                    <a:pt x="764" y="612"/>
                  </a:lnTo>
                  <a:lnTo>
                    <a:pt x="778" y="612"/>
                  </a:lnTo>
                  <a:lnTo>
                    <a:pt x="780" y="616"/>
                  </a:lnTo>
                  <a:lnTo>
                    <a:pt x="780" y="618"/>
                  </a:lnTo>
                  <a:lnTo>
                    <a:pt x="781" y="619"/>
                  </a:lnTo>
                  <a:lnTo>
                    <a:pt x="782" y="619"/>
                  </a:lnTo>
                  <a:lnTo>
                    <a:pt x="784" y="619"/>
                  </a:lnTo>
                  <a:lnTo>
                    <a:pt x="785" y="620"/>
                  </a:lnTo>
                  <a:lnTo>
                    <a:pt x="785" y="622"/>
                  </a:lnTo>
                  <a:lnTo>
                    <a:pt x="786" y="627"/>
                  </a:lnTo>
                  <a:lnTo>
                    <a:pt x="807" y="627"/>
                  </a:lnTo>
                  <a:lnTo>
                    <a:pt x="809" y="629"/>
                  </a:lnTo>
                  <a:lnTo>
                    <a:pt x="812" y="631"/>
                  </a:lnTo>
                  <a:lnTo>
                    <a:pt x="817" y="635"/>
                  </a:lnTo>
                  <a:lnTo>
                    <a:pt x="823" y="637"/>
                  </a:lnTo>
                  <a:lnTo>
                    <a:pt x="835" y="639"/>
                  </a:lnTo>
                  <a:lnTo>
                    <a:pt x="843" y="641"/>
                  </a:lnTo>
                  <a:lnTo>
                    <a:pt x="844" y="644"/>
                  </a:lnTo>
                  <a:lnTo>
                    <a:pt x="845" y="646"/>
                  </a:lnTo>
                  <a:lnTo>
                    <a:pt x="849" y="649"/>
                  </a:lnTo>
                  <a:lnTo>
                    <a:pt x="851" y="651"/>
                  </a:lnTo>
                  <a:lnTo>
                    <a:pt x="860" y="657"/>
                  </a:lnTo>
                  <a:lnTo>
                    <a:pt x="869" y="663"/>
                  </a:lnTo>
                  <a:lnTo>
                    <a:pt x="878" y="668"/>
                  </a:lnTo>
                  <a:lnTo>
                    <a:pt x="886" y="674"/>
                  </a:lnTo>
                  <a:lnTo>
                    <a:pt x="889" y="676"/>
                  </a:lnTo>
                  <a:lnTo>
                    <a:pt x="892" y="678"/>
                  </a:lnTo>
                  <a:lnTo>
                    <a:pt x="893" y="682"/>
                  </a:lnTo>
                  <a:lnTo>
                    <a:pt x="895" y="684"/>
                  </a:lnTo>
                  <a:lnTo>
                    <a:pt x="901" y="692"/>
                  </a:lnTo>
                  <a:lnTo>
                    <a:pt x="912" y="695"/>
                  </a:lnTo>
                  <a:lnTo>
                    <a:pt x="922" y="698"/>
                  </a:lnTo>
                  <a:lnTo>
                    <a:pt x="924" y="702"/>
                  </a:lnTo>
                  <a:lnTo>
                    <a:pt x="925" y="705"/>
                  </a:lnTo>
                  <a:lnTo>
                    <a:pt x="928" y="708"/>
                  </a:lnTo>
                  <a:lnTo>
                    <a:pt x="931" y="712"/>
                  </a:lnTo>
                  <a:lnTo>
                    <a:pt x="935" y="715"/>
                  </a:lnTo>
                  <a:lnTo>
                    <a:pt x="938" y="717"/>
                  </a:lnTo>
                  <a:lnTo>
                    <a:pt x="941" y="719"/>
                  </a:lnTo>
                  <a:lnTo>
                    <a:pt x="945" y="721"/>
                  </a:lnTo>
                  <a:lnTo>
                    <a:pt x="951" y="727"/>
                  </a:lnTo>
                  <a:lnTo>
                    <a:pt x="951" y="732"/>
                  </a:lnTo>
                  <a:lnTo>
                    <a:pt x="953" y="734"/>
                  </a:lnTo>
                  <a:lnTo>
                    <a:pt x="954" y="734"/>
                  </a:lnTo>
                  <a:lnTo>
                    <a:pt x="955" y="734"/>
                  </a:lnTo>
                  <a:lnTo>
                    <a:pt x="957" y="735"/>
                  </a:lnTo>
                  <a:lnTo>
                    <a:pt x="958" y="735"/>
                  </a:lnTo>
                  <a:lnTo>
                    <a:pt x="958" y="737"/>
                  </a:lnTo>
                  <a:lnTo>
                    <a:pt x="959" y="742"/>
                  </a:lnTo>
                  <a:lnTo>
                    <a:pt x="974" y="742"/>
                  </a:lnTo>
                  <a:lnTo>
                    <a:pt x="980" y="748"/>
                  </a:lnTo>
                  <a:lnTo>
                    <a:pt x="987" y="756"/>
                  </a:lnTo>
                  <a:lnTo>
                    <a:pt x="989" y="763"/>
                  </a:lnTo>
                  <a:lnTo>
                    <a:pt x="992" y="770"/>
                  </a:lnTo>
                  <a:lnTo>
                    <a:pt x="994" y="773"/>
                  </a:lnTo>
                  <a:lnTo>
                    <a:pt x="997" y="775"/>
                  </a:lnTo>
                  <a:lnTo>
                    <a:pt x="999" y="777"/>
                  </a:lnTo>
                  <a:lnTo>
                    <a:pt x="1002" y="777"/>
                  </a:lnTo>
                  <a:lnTo>
                    <a:pt x="1009" y="792"/>
                  </a:lnTo>
                  <a:lnTo>
                    <a:pt x="1009" y="820"/>
                  </a:lnTo>
                  <a:lnTo>
                    <a:pt x="1009" y="849"/>
                  </a:lnTo>
                  <a:lnTo>
                    <a:pt x="1009" y="878"/>
                  </a:lnTo>
                  <a:lnTo>
                    <a:pt x="1009" y="907"/>
                  </a:lnTo>
                  <a:lnTo>
                    <a:pt x="1009" y="937"/>
                  </a:lnTo>
                  <a:lnTo>
                    <a:pt x="1009" y="966"/>
                  </a:lnTo>
                  <a:lnTo>
                    <a:pt x="1009" y="995"/>
                  </a:lnTo>
                  <a:lnTo>
                    <a:pt x="1009" y="1023"/>
                  </a:lnTo>
                  <a:lnTo>
                    <a:pt x="1016" y="1030"/>
                  </a:lnTo>
                  <a:lnTo>
                    <a:pt x="1027" y="1030"/>
                  </a:lnTo>
                  <a:lnTo>
                    <a:pt x="1039" y="1030"/>
                  </a:lnTo>
                  <a:lnTo>
                    <a:pt x="1039" y="1015"/>
                  </a:lnTo>
                  <a:lnTo>
                    <a:pt x="1045" y="1009"/>
                  </a:lnTo>
                  <a:lnTo>
                    <a:pt x="1051" y="1007"/>
                  </a:lnTo>
                  <a:lnTo>
                    <a:pt x="1055" y="1004"/>
                  </a:lnTo>
                  <a:lnTo>
                    <a:pt x="1059" y="1000"/>
                  </a:lnTo>
                  <a:lnTo>
                    <a:pt x="1060" y="994"/>
                  </a:lnTo>
                  <a:lnTo>
                    <a:pt x="1074" y="994"/>
                  </a:lnTo>
                  <a:lnTo>
                    <a:pt x="1074" y="992"/>
                  </a:lnTo>
                  <a:lnTo>
                    <a:pt x="1075" y="990"/>
                  </a:lnTo>
                  <a:lnTo>
                    <a:pt x="1076" y="987"/>
                  </a:lnTo>
                  <a:lnTo>
                    <a:pt x="1079" y="985"/>
                  </a:lnTo>
                  <a:lnTo>
                    <a:pt x="1084" y="983"/>
                  </a:lnTo>
                  <a:lnTo>
                    <a:pt x="1090" y="982"/>
                  </a:lnTo>
                  <a:lnTo>
                    <a:pt x="1104" y="979"/>
                  </a:lnTo>
                  <a:lnTo>
                    <a:pt x="1118" y="979"/>
                  </a:lnTo>
                  <a:lnTo>
                    <a:pt x="1119" y="977"/>
                  </a:lnTo>
                  <a:lnTo>
                    <a:pt x="1121" y="975"/>
                  </a:lnTo>
                  <a:lnTo>
                    <a:pt x="1126" y="974"/>
                  </a:lnTo>
                  <a:lnTo>
                    <a:pt x="1132" y="974"/>
                  </a:lnTo>
                  <a:lnTo>
                    <a:pt x="1147" y="973"/>
                  </a:lnTo>
                  <a:lnTo>
                    <a:pt x="1165" y="974"/>
                  </a:lnTo>
                  <a:lnTo>
                    <a:pt x="1196" y="977"/>
                  </a:lnTo>
                  <a:lnTo>
                    <a:pt x="1212" y="979"/>
                  </a:lnTo>
                  <a:lnTo>
                    <a:pt x="1212" y="982"/>
                  </a:lnTo>
                  <a:lnTo>
                    <a:pt x="1214" y="985"/>
                  </a:lnTo>
                  <a:lnTo>
                    <a:pt x="1216" y="987"/>
                  </a:lnTo>
                  <a:lnTo>
                    <a:pt x="1218" y="990"/>
                  </a:lnTo>
                  <a:lnTo>
                    <a:pt x="1223" y="993"/>
                  </a:lnTo>
                  <a:lnTo>
                    <a:pt x="1225" y="994"/>
                  </a:lnTo>
                  <a:lnTo>
                    <a:pt x="1225" y="1009"/>
                  </a:lnTo>
                  <a:lnTo>
                    <a:pt x="1239" y="1009"/>
                  </a:lnTo>
                  <a:lnTo>
                    <a:pt x="1239" y="1023"/>
                  </a:lnTo>
                  <a:lnTo>
                    <a:pt x="1239" y="1038"/>
                  </a:lnTo>
                  <a:lnTo>
                    <a:pt x="1254" y="1131"/>
                  </a:lnTo>
                  <a:lnTo>
                    <a:pt x="1262" y="1138"/>
                  </a:lnTo>
                  <a:lnTo>
                    <a:pt x="1286" y="1137"/>
                  </a:lnTo>
                  <a:lnTo>
                    <a:pt x="1310" y="1136"/>
                  </a:lnTo>
                  <a:lnTo>
                    <a:pt x="1334" y="1134"/>
                  </a:lnTo>
                  <a:lnTo>
                    <a:pt x="1359" y="1131"/>
                  </a:lnTo>
                  <a:lnTo>
                    <a:pt x="1383" y="1128"/>
                  </a:lnTo>
                  <a:lnTo>
                    <a:pt x="1407" y="1126"/>
                  </a:lnTo>
                  <a:lnTo>
                    <a:pt x="1431" y="1125"/>
                  </a:lnTo>
                  <a:lnTo>
                    <a:pt x="1456" y="1123"/>
                  </a:lnTo>
                  <a:lnTo>
                    <a:pt x="1457" y="1127"/>
                  </a:lnTo>
                  <a:lnTo>
                    <a:pt x="1460" y="1130"/>
                  </a:lnTo>
                  <a:lnTo>
                    <a:pt x="1466" y="1134"/>
                  </a:lnTo>
                  <a:lnTo>
                    <a:pt x="1472" y="1137"/>
                  </a:lnTo>
                  <a:lnTo>
                    <a:pt x="1484" y="1142"/>
                  </a:lnTo>
                  <a:lnTo>
                    <a:pt x="1492" y="1145"/>
                  </a:lnTo>
                  <a:lnTo>
                    <a:pt x="1500" y="1152"/>
                  </a:lnTo>
                  <a:lnTo>
                    <a:pt x="1501" y="1190"/>
                  </a:lnTo>
                  <a:lnTo>
                    <a:pt x="1503" y="1227"/>
                  </a:lnTo>
                  <a:lnTo>
                    <a:pt x="1505" y="1263"/>
                  </a:lnTo>
                  <a:lnTo>
                    <a:pt x="1506" y="1296"/>
                  </a:lnTo>
                  <a:lnTo>
                    <a:pt x="1529" y="1390"/>
                  </a:lnTo>
                  <a:lnTo>
                    <a:pt x="1531" y="1391"/>
                  </a:lnTo>
                  <a:lnTo>
                    <a:pt x="1533" y="1394"/>
                  </a:lnTo>
                  <a:lnTo>
                    <a:pt x="1536" y="1397"/>
                  </a:lnTo>
                  <a:lnTo>
                    <a:pt x="1538" y="1401"/>
                  </a:lnTo>
                  <a:lnTo>
                    <a:pt x="1541" y="1411"/>
                  </a:lnTo>
                  <a:lnTo>
                    <a:pt x="1543" y="1419"/>
                  </a:lnTo>
                  <a:lnTo>
                    <a:pt x="1550" y="1426"/>
                  </a:lnTo>
                  <a:lnTo>
                    <a:pt x="1556" y="1434"/>
                  </a:lnTo>
                  <a:lnTo>
                    <a:pt x="1564" y="1440"/>
                  </a:lnTo>
                  <a:lnTo>
                    <a:pt x="1571" y="1448"/>
                  </a:lnTo>
                  <a:lnTo>
                    <a:pt x="1575" y="1448"/>
                  </a:lnTo>
                  <a:lnTo>
                    <a:pt x="1578" y="1449"/>
                  </a:lnTo>
                  <a:lnTo>
                    <a:pt x="1579" y="1450"/>
                  </a:lnTo>
                  <a:lnTo>
                    <a:pt x="1579" y="1452"/>
                  </a:lnTo>
                  <a:lnTo>
                    <a:pt x="1579" y="1453"/>
                  </a:lnTo>
                  <a:lnTo>
                    <a:pt x="1580" y="1454"/>
                  </a:lnTo>
                  <a:lnTo>
                    <a:pt x="1582" y="1455"/>
                  </a:lnTo>
                  <a:lnTo>
                    <a:pt x="1586" y="1455"/>
                  </a:lnTo>
                  <a:lnTo>
                    <a:pt x="1586" y="1469"/>
                  </a:lnTo>
                  <a:lnTo>
                    <a:pt x="1589" y="1471"/>
                  </a:lnTo>
                  <a:lnTo>
                    <a:pt x="1592" y="1474"/>
                  </a:lnTo>
                  <a:lnTo>
                    <a:pt x="1596" y="1478"/>
                  </a:lnTo>
                  <a:lnTo>
                    <a:pt x="1599" y="1485"/>
                  </a:lnTo>
                  <a:lnTo>
                    <a:pt x="1604" y="1496"/>
                  </a:lnTo>
                  <a:lnTo>
                    <a:pt x="1608" y="1505"/>
                  </a:lnTo>
                  <a:lnTo>
                    <a:pt x="1611" y="1507"/>
                  </a:lnTo>
                  <a:lnTo>
                    <a:pt x="1615" y="1511"/>
                  </a:lnTo>
                  <a:lnTo>
                    <a:pt x="1620" y="1516"/>
                  </a:lnTo>
                  <a:lnTo>
                    <a:pt x="1625" y="1523"/>
                  </a:lnTo>
                  <a:lnTo>
                    <a:pt x="1632" y="1535"/>
                  </a:lnTo>
                  <a:lnTo>
                    <a:pt x="1636" y="1541"/>
                  </a:lnTo>
                  <a:lnTo>
                    <a:pt x="1641" y="1543"/>
                  </a:lnTo>
                  <a:lnTo>
                    <a:pt x="1646" y="1546"/>
                  </a:lnTo>
                  <a:lnTo>
                    <a:pt x="1649" y="1551"/>
                  </a:lnTo>
                  <a:lnTo>
                    <a:pt x="1650" y="1555"/>
                  </a:lnTo>
                  <a:lnTo>
                    <a:pt x="1673" y="1557"/>
                  </a:lnTo>
                  <a:lnTo>
                    <a:pt x="1698" y="1559"/>
                  </a:lnTo>
                  <a:lnTo>
                    <a:pt x="1726" y="1563"/>
                  </a:lnTo>
                  <a:lnTo>
                    <a:pt x="1757" y="1567"/>
                  </a:lnTo>
                  <a:lnTo>
                    <a:pt x="1789" y="1571"/>
                  </a:lnTo>
                  <a:lnTo>
                    <a:pt x="1819" y="1574"/>
                  </a:lnTo>
                  <a:lnTo>
                    <a:pt x="1848" y="1577"/>
                  </a:lnTo>
                  <a:lnTo>
                    <a:pt x="1874" y="1578"/>
                  </a:lnTo>
                  <a:lnTo>
                    <a:pt x="1875" y="1577"/>
                  </a:lnTo>
                  <a:lnTo>
                    <a:pt x="1877" y="1575"/>
                  </a:lnTo>
                  <a:lnTo>
                    <a:pt x="1879" y="1574"/>
                  </a:lnTo>
                  <a:lnTo>
                    <a:pt x="1884" y="1573"/>
                  </a:lnTo>
                  <a:lnTo>
                    <a:pt x="1892" y="1572"/>
                  </a:lnTo>
                  <a:lnTo>
                    <a:pt x="1905" y="1571"/>
                  </a:lnTo>
                  <a:lnTo>
                    <a:pt x="1928" y="1570"/>
                  </a:lnTo>
                  <a:lnTo>
                    <a:pt x="1946" y="1570"/>
                  </a:lnTo>
                  <a:lnTo>
                    <a:pt x="1953" y="1578"/>
                  </a:lnTo>
                  <a:lnTo>
                    <a:pt x="1956" y="1586"/>
                  </a:lnTo>
                  <a:lnTo>
                    <a:pt x="1962" y="1594"/>
                  </a:lnTo>
                  <a:lnTo>
                    <a:pt x="1965" y="1599"/>
                  </a:lnTo>
                  <a:lnTo>
                    <a:pt x="1968" y="1602"/>
                  </a:lnTo>
                  <a:lnTo>
                    <a:pt x="1972" y="1606"/>
                  </a:lnTo>
                  <a:lnTo>
                    <a:pt x="1975" y="1607"/>
                  </a:lnTo>
                  <a:lnTo>
                    <a:pt x="1982" y="1613"/>
                  </a:lnTo>
                  <a:lnTo>
                    <a:pt x="1986" y="1625"/>
                  </a:lnTo>
                  <a:lnTo>
                    <a:pt x="1990" y="1635"/>
                  </a:lnTo>
                  <a:lnTo>
                    <a:pt x="2024" y="1634"/>
                  </a:lnTo>
                  <a:lnTo>
                    <a:pt x="2061" y="1631"/>
                  </a:lnTo>
                  <a:lnTo>
                    <a:pt x="2096" y="1629"/>
                  </a:lnTo>
                  <a:lnTo>
                    <a:pt x="2126" y="1628"/>
                  </a:lnTo>
                  <a:lnTo>
                    <a:pt x="2127" y="1626"/>
                  </a:lnTo>
                  <a:lnTo>
                    <a:pt x="2128" y="1623"/>
                  </a:lnTo>
                  <a:lnTo>
                    <a:pt x="2131" y="1622"/>
                  </a:lnTo>
                  <a:lnTo>
                    <a:pt x="2135" y="1620"/>
                  </a:lnTo>
                  <a:lnTo>
                    <a:pt x="2145" y="1619"/>
                  </a:lnTo>
                  <a:lnTo>
                    <a:pt x="2158" y="1619"/>
                  </a:lnTo>
                  <a:lnTo>
                    <a:pt x="2191" y="1622"/>
                  </a:lnTo>
                  <a:lnTo>
                    <a:pt x="2227" y="1628"/>
                  </a:lnTo>
                  <a:lnTo>
                    <a:pt x="2264" y="1635"/>
                  </a:lnTo>
                  <a:lnTo>
                    <a:pt x="2297" y="1642"/>
                  </a:lnTo>
                  <a:lnTo>
                    <a:pt x="2319" y="1647"/>
                  </a:lnTo>
                  <a:lnTo>
                    <a:pt x="2328" y="1649"/>
                  </a:lnTo>
                  <a:lnTo>
                    <a:pt x="2329" y="1655"/>
                  </a:lnTo>
                  <a:lnTo>
                    <a:pt x="2332" y="1659"/>
                  </a:lnTo>
                  <a:lnTo>
                    <a:pt x="2337" y="1663"/>
                  </a:lnTo>
                  <a:lnTo>
                    <a:pt x="2342" y="1664"/>
                  </a:lnTo>
                  <a:lnTo>
                    <a:pt x="2350" y="1686"/>
                  </a:lnTo>
                  <a:lnTo>
                    <a:pt x="2364" y="1693"/>
                  </a:lnTo>
                  <a:lnTo>
                    <a:pt x="2371" y="1700"/>
                  </a:lnTo>
                  <a:lnTo>
                    <a:pt x="2371" y="1714"/>
                  </a:lnTo>
                  <a:lnTo>
                    <a:pt x="2374" y="1715"/>
                  </a:lnTo>
                  <a:lnTo>
                    <a:pt x="2376" y="1717"/>
                  </a:lnTo>
                  <a:lnTo>
                    <a:pt x="2377" y="1719"/>
                  </a:lnTo>
                  <a:lnTo>
                    <a:pt x="2378" y="1723"/>
                  </a:lnTo>
                  <a:lnTo>
                    <a:pt x="2378" y="1729"/>
                  </a:lnTo>
                  <a:lnTo>
                    <a:pt x="2378" y="1736"/>
                  </a:lnTo>
                  <a:lnTo>
                    <a:pt x="2380" y="1736"/>
                  </a:lnTo>
                  <a:lnTo>
                    <a:pt x="2383" y="1738"/>
                  </a:lnTo>
                  <a:lnTo>
                    <a:pt x="2384" y="1741"/>
                  </a:lnTo>
                  <a:lnTo>
                    <a:pt x="2385" y="1744"/>
                  </a:lnTo>
                  <a:lnTo>
                    <a:pt x="2386" y="1751"/>
                  </a:lnTo>
                  <a:lnTo>
                    <a:pt x="2386" y="1757"/>
                  </a:lnTo>
                  <a:lnTo>
                    <a:pt x="2400" y="1765"/>
                  </a:lnTo>
                  <a:lnTo>
                    <a:pt x="2400" y="1780"/>
                  </a:lnTo>
                  <a:lnTo>
                    <a:pt x="2403" y="1780"/>
                  </a:lnTo>
                  <a:lnTo>
                    <a:pt x="2404" y="1781"/>
                  </a:lnTo>
                  <a:lnTo>
                    <a:pt x="2406" y="1782"/>
                  </a:lnTo>
                  <a:lnTo>
                    <a:pt x="2406" y="1784"/>
                  </a:lnTo>
                  <a:lnTo>
                    <a:pt x="2407" y="1789"/>
                  </a:lnTo>
                  <a:lnTo>
                    <a:pt x="2407" y="1793"/>
                  </a:lnTo>
                  <a:lnTo>
                    <a:pt x="2410" y="1798"/>
                  </a:lnTo>
                  <a:lnTo>
                    <a:pt x="2416" y="1807"/>
                  </a:lnTo>
                  <a:lnTo>
                    <a:pt x="2422" y="1820"/>
                  </a:lnTo>
                  <a:lnTo>
                    <a:pt x="2428" y="1836"/>
                  </a:lnTo>
                  <a:lnTo>
                    <a:pt x="2434" y="1851"/>
                  </a:lnTo>
                  <a:lnTo>
                    <a:pt x="2438" y="1867"/>
                  </a:lnTo>
                  <a:lnTo>
                    <a:pt x="2442" y="1879"/>
                  </a:lnTo>
                  <a:lnTo>
                    <a:pt x="2443" y="1887"/>
                  </a:lnTo>
                  <a:lnTo>
                    <a:pt x="2446" y="1888"/>
                  </a:lnTo>
                  <a:lnTo>
                    <a:pt x="2448" y="1891"/>
                  </a:lnTo>
                  <a:lnTo>
                    <a:pt x="2451" y="1897"/>
                  </a:lnTo>
                  <a:lnTo>
                    <a:pt x="2453" y="1902"/>
                  </a:lnTo>
                  <a:lnTo>
                    <a:pt x="2456" y="1915"/>
                  </a:lnTo>
                  <a:lnTo>
                    <a:pt x="2457" y="1924"/>
                  </a:lnTo>
                  <a:lnTo>
                    <a:pt x="2460" y="1924"/>
                  </a:lnTo>
                  <a:lnTo>
                    <a:pt x="2462" y="1925"/>
                  </a:lnTo>
                  <a:lnTo>
                    <a:pt x="2463" y="1926"/>
                  </a:lnTo>
                  <a:lnTo>
                    <a:pt x="2464" y="1928"/>
                  </a:lnTo>
                  <a:lnTo>
                    <a:pt x="2465" y="1933"/>
                  </a:lnTo>
                  <a:lnTo>
                    <a:pt x="2465" y="1938"/>
                  </a:lnTo>
                  <a:lnTo>
                    <a:pt x="2471" y="1944"/>
                  </a:lnTo>
                  <a:lnTo>
                    <a:pt x="2475" y="1952"/>
                  </a:lnTo>
                  <a:lnTo>
                    <a:pt x="2481" y="1962"/>
                  </a:lnTo>
                  <a:lnTo>
                    <a:pt x="2485" y="1971"/>
                  </a:lnTo>
                  <a:lnTo>
                    <a:pt x="2489" y="1982"/>
                  </a:lnTo>
                  <a:lnTo>
                    <a:pt x="2491" y="1992"/>
                  </a:lnTo>
                  <a:lnTo>
                    <a:pt x="2493" y="2001"/>
                  </a:lnTo>
                  <a:lnTo>
                    <a:pt x="2494" y="2010"/>
                  </a:lnTo>
                  <a:lnTo>
                    <a:pt x="2499" y="2015"/>
                  </a:lnTo>
                  <a:lnTo>
                    <a:pt x="2503" y="2021"/>
                  </a:lnTo>
                  <a:lnTo>
                    <a:pt x="2506" y="2026"/>
                  </a:lnTo>
                  <a:lnTo>
                    <a:pt x="2510" y="2032"/>
                  </a:lnTo>
                  <a:lnTo>
                    <a:pt x="2512" y="2039"/>
                  </a:lnTo>
                  <a:lnTo>
                    <a:pt x="2514" y="2045"/>
                  </a:lnTo>
                  <a:lnTo>
                    <a:pt x="2515" y="2052"/>
                  </a:lnTo>
                  <a:lnTo>
                    <a:pt x="2515" y="2060"/>
                  </a:lnTo>
                  <a:lnTo>
                    <a:pt x="2518" y="2061"/>
                  </a:lnTo>
                  <a:lnTo>
                    <a:pt x="2520" y="2061"/>
                  </a:lnTo>
                  <a:lnTo>
                    <a:pt x="2521" y="2063"/>
                  </a:lnTo>
                  <a:lnTo>
                    <a:pt x="2522" y="2064"/>
                  </a:lnTo>
                  <a:lnTo>
                    <a:pt x="2522" y="2069"/>
                  </a:lnTo>
                  <a:lnTo>
                    <a:pt x="2522" y="2074"/>
                  </a:lnTo>
                  <a:lnTo>
                    <a:pt x="2528" y="2080"/>
                  </a:lnTo>
                  <a:lnTo>
                    <a:pt x="2532" y="2086"/>
                  </a:lnTo>
                  <a:lnTo>
                    <a:pt x="2535" y="2091"/>
                  </a:lnTo>
                  <a:lnTo>
                    <a:pt x="2537" y="2097"/>
                  </a:lnTo>
                  <a:lnTo>
                    <a:pt x="2601" y="2097"/>
                  </a:lnTo>
                  <a:lnTo>
                    <a:pt x="2602" y="2099"/>
                  </a:lnTo>
                  <a:lnTo>
                    <a:pt x="2604" y="2100"/>
                  </a:lnTo>
                  <a:lnTo>
                    <a:pt x="2607" y="2102"/>
                  </a:lnTo>
                  <a:lnTo>
                    <a:pt x="2609" y="2104"/>
                  </a:lnTo>
                  <a:lnTo>
                    <a:pt x="2611" y="2107"/>
                  </a:lnTo>
                  <a:lnTo>
                    <a:pt x="2614" y="2109"/>
                  </a:lnTo>
                  <a:lnTo>
                    <a:pt x="2616" y="2113"/>
                  </a:lnTo>
                  <a:lnTo>
                    <a:pt x="2616" y="2118"/>
                  </a:lnTo>
                  <a:lnTo>
                    <a:pt x="2620" y="2119"/>
                  </a:lnTo>
                  <a:lnTo>
                    <a:pt x="2624" y="2121"/>
                  </a:lnTo>
                  <a:lnTo>
                    <a:pt x="2626" y="2126"/>
                  </a:lnTo>
                  <a:lnTo>
                    <a:pt x="2629" y="2130"/>
                  </a:lnTo>
                  <a:lnTo>
                    <a:pt x="2633" y="2144"/>
                  </a:lnTo>
                  <a:lnTo>
                    <a:pt x="2635" y="2160"/>
                  </a:lnTo>
                  <a:lnTo>
                    <a:pt x="2637" y="2194"/>
                  </a:lnTo>
                  <a:lnTo>
                    <a:pt x="2638" y="2218"/>
                  </a:lnTo>
                  <a:lnTo>
                    <a:pt x="2645" y="2226"/>
                  </a:lnTo>
                  <a:lnTo>
                    <a:pt x="2663" y="2226"/>
                  </a:lnTo>
                  <a:lnTo>
                    <a:pt x="2681" y="2226"/>
                  </a:lnTo>
                  <a:lnTo>
                    <a:pt x="2700" y="2226"/>
                  </a:lnTo>
                  <a:lnTo>
                    <a:pt x="2717" y="2226"/>
                  </a:lnTo>
                  <a:lnTo>
                    <a:pt x="2721" y="2236"/>
                  </a:lnTo>
                  <a:lnTo>
                    <a:pt x="2724" y="2247"/>
                  </a:lnTo>
                  <a:lnTo>
                    <a:pt x="2732" y="2255"/>
                  </a:lnTo>
                  <a:lnTo>
                    <a:pt x="2746" y="2262"/>
                  </a:lnTo>
                  <a:lnTo>
                    <a:pt x="2746" y="2276"/>
                  </a:lnTo>
                  <a:lnTo>
                    <a:pt x="2750" y="2276"/>
                  </a:lnTo>
                  <a:lnTo>
                    <a:pt x="2752" y="2277"/>
                  </a:lnTo>
                  <a:lnTo>
                    <a:pt x="2753" y="2279"/>
                  </a:lnTo>
                  <a:lnTo>
                    <a:pt x="2753" y="2280"/>
                  </a:lnTo>
                  <a:lnTo>
                    <a:pt x="2753" y="2281"/>
                  </a:lnTo>
                  <a:lnTo>
                    <a:pt x="2754" y="2282"/>
                  </a:lnTo>
                  <a:lnTo>
                    <a:pt x="2757" y="2283"/>
                  </a:lnTo>
                  <a:lnTo>
                    <a:pt x="2760" y="2283"/>
                  </a:lnTo>
                  <a:lnTo>
                    <a:pt x="2761" y="2306"/>
                  </a:lnTo>
                  <a:lnTo>
                    <a:pt x="2764" y="2330"/>
                  </a:lnTo>
                  <a:lnTo>
                    <a:pt x="2767" y="2351"/>
                  </a:lnTo>
                  <a:lnTo>
                    <a:pt x="2768" y="2370"/>
                  </a:lnTo>
                  <a:lnTo>
                    <a:pt x="2770" y="2371"/>
                  </a:lnTo>
                  <a:lnTo>
                    <a:pt x="2772" y="2373"/>
                  </a:lnTo>
                  <a:lnTo>
                    <a:pt x="2773" y="2377"/>
                  </a:lnTo>
                  <a:lnTo>
                    <a:pt x="2774" y="2381"/>
                  </a:lnTo>
                  <a:lnTo>
                    <a:pt x="2774" y="2391"/>
                  </a:lnTo>
                  <a:lnTo>
                    <a:pt x="2774" y="2399"/>
                  </a:lnTo>
                  <a:lnTo>
                    <a:pt x="2778" y="2399"/>
                  </a:lnTo>
                  <a:lnTo>
                    <a:pt x="2779" y="2401"/>
                  </a:lnTo>
                  <a:lnTo>
                    <a:pt x="2780" y="2404"/>
                  </a:lnTo>
                  <a:lnTo>
                    <a:pt x="2781" y="2407"/>
                  </a:lnTo>
                  <a:lnTo>
                    <a:pt x="2782" y="2414"/>
                  </a:lnTo>
                  <a:lnTo>
                    <a:pt x="2782" y="2420"/>
                  </a:lnTo>
                  <a:lnTo>
                    <a:pt x="2784" y="2420"/>
                  </a:lnTo>
                  <a:lnTo>
                    <a:pt x="2787" y="2421"/>
                  </a:lnTo>
                  <a:lnTo>
                    <a:pt x="2788" y="2423"/>
                  </a:lnTo>
                  <a:lnTo>
                    <a:pt x="2789" y="2425"/>
                  </a:lnTo>
                  <a:lnTo>
                    <a:pt x="2789" y="2429"/>
                  </a:lnTo>
                  <a:lnTo>
                    <a:pt x="2789" y="2435"/>
                  </a:lnTo>
                  <a:lnTo>
                    <a:pt x="2803" y="2435"/>
                  </a:lnTo>
                  <a:lnTo>
                    <a:pt x="2803" y="2449"/>
                  </a:lnTo>
                  <a:lnTo>
                    <a:pt x="2806" y="2449"/>
                  </a:lnTo>
                  <a:lnTo>
                    <a:pt x="2808" y="2450"/>
                  </a:lnTo>
                  <a:lnTo>
                    <a:pt x="2809" y="2452"/>
                  </a:lnTo>
                  <a:lnTo>
                    <a:pt x="2810" y="2454"/>
                  </a:lnTo>
                  <a:lnTo>
                    <a:pt x="2811" y="2458"/>
                  </a:lnTo>
                  <a:lnTo>
                    <a:pt x="2811" y="2464"/>
                  </a:lnTo>
                  <a:lnTo>
                    <a:pt x="2813" y="2464"/>
                  </a:lnTo>
                  <a:lnTo>
                    <a:pt x="2815" y="2465"/>
                  </a:lnTo>
                  <a:lnTo>
                    <a:pt x="2817" y="2466"/>
                  </a:lnTo>
                  <a:lnTo>
                    <a:pt x="2817" y="2468"/>
                  </a:lnTo>
                  <a:lnTo>
                    <a:pt x="2818" y="2473"/>
                  </a:lnTo>
                  <a:lnTo>
                    <a:pt x="2818" y="2478"/>
                  </a:lnTo>
                  <a:lnTo>
                    <a:pt x="2826" y="2485"/>
                  </a:lnTo>
                  <a:lnTo>
                    <a:pt x="2836" y="2486"/>
                  </a:lnTo>
                  <a:lnTo>
                    <a:pt x="2847" y="2490"/>
                  </a:lnTo>
                  <a:lnTo>
                    <a:pt x="2858" y="2494"/>
                  </a:lnTo>
                  <a:lnTo>
                    <a:pt x="2868" y="2500"/>
                  </a:lnTo>
                  <a:lnTo>
                    <a:pt x="2879" y="2505"/>
                  </a:lnTo>
                  <a:lnTo>
                    <a:pt x="2890" y="2510"/>
                  </a:lnTo>
                  <a:lnTo>
                    <a:pt x="2901" y="2513"/>
                  </a:lnTo>
                  <a:lnTo>
                    <a:pt x="2912" y="2514"/>
                  </a:lnTo>
                  <a:lnTo>
                    <a:pt x="2919" y="2521"/>
                  </a:lnTo>
                  <a:lnTo>
                    <a:pt x="2921" y="2526"/>
                  </a:lnTo>
                  <a:lnTo>
                    <a:pt x="2924" y="2531"/>
                  </a:lnTo>
                  <a:lnTo>
                    <a:pt x="2928" y="2534"/>
                  </a:lnTo>
                  <a:lnTo>
                    <a:pt x="2933" y="2535"/>
                  </a:lnTo>
                  <a:lnTo>
                    <a:pt x="2937" y="2546"/>
                  </a:lnTo>
                  <a:lnTo>
                    <a:pt x="2941" y="2558"/>
                  </a:lnTo>
                  <a:lnTo>
                    <a:pt x="2949" y="2558"/>
                  </a:lnTo>
                  <a:lnTo>
                    <a:pt x="2957" y="2560"/>
                  </a:lnTo>
                  <a:lnTo>
                    <a:pt x="2966" y="2562"/>
                  </a:lnTo>
                  <a:lnTo>
                    <a:pt x="2975" y="2564"/>
                  </a:lnTo>
                  <a:lnTo>
                    <a:pt x="2984" y="2567"/>
                  </a:lnTo>
                  <a:lnTo>
                    <a:pt x="2993" y="2569"/>
                  </a:lnTo>
                  <a:lnTo>
                    <a:pt x="3001" y="2571"/>
                  </a:lnTo>
                  <a:lnTo>
                    <a:pt x="3010" y="2571"/>
                  </a:lnTo>
                  <a:lnTo>
                    <a:pt x="3010" y="2567"/>
                  </a:lnTo>
                  <a:lnTo>
                    <a:pt x="3011" y="2564"/>
                  </a:lnTo>
                  <a:lnTo>
                    <a:pt x="3012" y="2564"/>
                  </a:lnTo>
                  <a:lnTo>
                    <a:pt x="3013" y="2564"/>
                  </a:lnTo>
                  <a:lnTo>
                    <a:pt x="3014" y="2564"/>
                  </a:lnTo>
                  <a:lnTo>
                    <a:pt x="3015" y="2563"/>
                  </a:lnTo>
                  <a:lnTo>
                    <a:pt x="3017" y="2561"/>
                  </a:lnTo>
                  <a:lnTo>
                    <a:pt x="3017" y="2556"/>
                  </a:lnTo>
                  <a:lnTo>
                    <a:pt x="3030" y="2555"/>
                  </a:lnTo>
                  <a:lnTo>
                    <a:pt x="3047" y="2553"/>
                  </a:lnTo>
                  <a:lnTo>
                    <a:pt x="3065" y="2551"/>
                  </a:lnTo>
                  <a:lnTo>
                    <a:pt x="3081" y="2550"/>
                  </a:lnTo>
                  <a:lnTo>
                    <a:pt x="3089" y="2564"/>
                  </a:lnTo>
                  <a:lnTo>
                    <a:pt x="3099" y="2568"/>
                  </a:lnTo>
                  <a:lnTo>
                    <a:pt x="3110" y="2571"/>
                  </a:lnTo>
                  <a:lnTo>
                    <a:pt x="3110" y="2580"/>
                  </a:lnTo>
                  <a:lnTo>
                    <a:pt x="3112" y="2584"/>
                  </a:lnTo>
                  <a:lnTo>
                    <a:pt x="3113" y="2587"/>
                  </a:lnTo>
                  <a:lnTo>
                    <a:pt x="3114" y="2588"/>
                  </a:lnTo>
                  <a:lnTo>
                    <a:pt x="3115" y="2588"/>
                  </a:lnTo>
                  <a:lnTo>
                    <a:pt x="3116" y="2588"/>
                  </a:lnTo>
                  <a:lnTo>
                    <a:pt x="3117" y="2589"/>
                  </a:lnTo>
                  <a:lnTo>
                    <a:pt x="3117" y="2592"/>
                  </a:lnTo>
                  <a:lnTo>
                    <a:pt x="3128" y="2597"/>
                  </a:lnTo>
                  <a:lnTo>
                    <a:pt x="3139" y="2600"/>
                  </a:lnTo>
                  <a:lnTo>
                    <a:pt x="3139" y="2604"/>
                  </a:lnTo>
                  <a:lnTo>
                    <a:pt x="3141" y="2607"/>
                  </a:lnTo>
                  <a:lnTo>
                    <a:pt x="3142" y="2607"/>
                  </a:lnTo>
                  <a:lnTo>
                    <a:pt x="3143" y="2607"/>
                  </a:lnTo>
                  <a:lnTo>
                    <a:pt x="3144" y="2608"/>
                  </a:lnTo>
                  <a:lnTo>
                    <a:pt x="3145" y="2608"/>
                  </a:lnTo>
                  <a:lnTo>
                    <a:pt x="3146" y="2610"/>
                  </a:lnTo>
                  <a:lnTo>
                    <a:pt x="3146" y="2615"/>
                  </a:lnTo>
                  <a:lnTo>
                    <a:pt x="3161" y="2621"/>
                  </a:lnTo>
                  <a:lnTo>
                    <a:pt x="3166" y="2622"/>
                  </a:lnTo>
                  <a:lnTo>
                    <a:pt x="3171" y="2626"/>
                  </a:lnTo>
                  <a:lnTo>
                    <a:pt x="3174" y="2630"/>
                  </a:lnTo>
                  <a:lnTo>
                    <a:pt x="3175" y="2636"/>
                  </a:lnTo>
                  <a:lnTo>
                    <a:pt x="3190" y="2636"/>
                  </a:lnTo>
                  <a:lnTo>
                    <a:pt x="3204" y="2650"/>
                  </a:lnTo>
                  <a:lnTo>
                    <a:pt x="3219" y="2665"/>
                  </a:lnTo>
                  <a:lnTo>
                    <a:pt x="3222" y="2666"/>
                  </a:lnTo>
                  <a:lnTo>
                    <a:pt x="3226" y="2668"/>
                  </a:lnTo>
                  <a:lnTo>
                    <a:pt x="3232" y="2670"/>
                  </a:lnTo>
                  <a:lnTo>
                    <a:pt x="3238" y="2675"/>
                  </a:lnTo>
                  <a:lnTo>
                    <a:pt x="3242" y="2678"/>
                  </a:lnTo>
                  <a:lnTo>
                    <a:pt x="3247" y="2683"/>
                  </a:lnTo>
                  <a:lnTo>
                    <a:pt x="3249" y="2686"/>
                  </a:lnTo>
                  <a:lnTo>
                    <a:pt x="3250" y="2689"/>
                  </a:lnTo>
                  <a:lnTo>
                    <a:pt x="3261" y="2690"/>
                  </a:lnTo>
                  <a:lnTo>
                    <a:pt x="3272" y="2693"/>
                  </a:lnTo>
                  <a:lnTo>
                    <a:pt x="3283" y="2696"/>
                  </a:lnTo>
                  <a:lnTo>
                    <a:pt x="3293" y="2697"/>
                  </a:lnTo>
                  <a:lnTo>
                    <a:pt x="3293" y="2699"/>
                  </a:lnTo>
                  <a:lnTo>
                    <a:pt x="3295" y="2700"/>
                  </a:lnTo>
                  <a:lnTo>
                    <a:pt x="3297" y="2703"/>
                  </a:lnTo>
                  <a:lnTo>
                    <a:pt x="3298" y="2703"/>
                  </a:lnTo>
                  <a:lnTo>
                    <a:pt x="3302" y="2704"/>
                  </a:lnTo>
                  <a:lnTo>
                    <a:pt x="3308" y="2704"/>
                  </a:lnTo>
                  <a:lnTo>
                    <a:pt x="3309" y="2706"/>
                  </a:lnTo>
                  <a:lnTo>
                    <a:pt x="3312" y="2708"/>
                  </a:lnTo>
                  <a:lnTo>
                    <a:pt x="3318" y="2709"/>
                  </a:lnTo>
                  <a:lnTo>
                    <a:pt x="3324" y="2711"/>
                  </a:lnTo>
                  <a:lnTo>
                    <a:pt x="3336" y="2711"/>
                  </a:lnTo>
                  <a:lnTo>
                    <a:pt x="3344" y="2712"/>
                  </a:lnTo>
                  <a:lnTo>
                    <a:pt x="3345" y="2713"/>
                  </a:lnTo>
                  <a:lnTo>
                    <a:pt x="3348" y="2713"/>
                  </a:lnTo>
                  <a:lnTo>
                    <a:pt x="3353" y="2714"/>
                  </a:lnTo>
                  <a:lnTo>
                    <a:pt x="3358" y="2714"/>
                  </a:lnTo>
                  <a:lnTo>
                    <a:pt x="3374" y="2713"/>
                  </a:lnTo>
                  <a:lnTo>
                    <a:pt x="3392" y="2712"/>
                  </a:lnTo>
                  <a:lnTo>
                    <a:pt x="3427" y="2707"/>
                  </a:lnTo>
                  <a:lnTo>
                    <a:pt x="3450" y="2706"/>
                  </a:lnTo>
                  <a:lnTo>
                    <a:pt x="3463" y="2698"/>
                  </a:lnTo>
                  <a:lnTo>
                    <a:pt x="3487" y="2688"/>
                  </a:lnTo>
                  <a:lnTo>
                    <a:pt x="3509" y="2680"/>
                  </a:lnTo>
                  <a:lnTo>
                    <a:pt x="3522" y="2677"/>
                  </a:lnTo>
                  <a:lnTo>
                    <a:pt x="3522" y="2627"/>
                  </a:lnTo>
                  <a:lnTo>
                    <a:pt x="3519" y="2626"/>
                  </a:lnTo>
                  <a:lnTo>
                    <a:pt x="3517" y="2623"/>
                  </a:lnTo>
                  <a:lnTo>
                    <a:pt x="3514" y="2620"/>
                  </a:lnTo>
                  <a:lnTo>
                    <a:pt x="3512" y="2616"/>
                  </a:lnTo>
                  <a:lnTo>
                    <a:pt x="3509" y="2604"/>
                  </a:lnTo>
                  <a:lnTo>
                    <a:pt x="3506" y="2592"/>
                  </a:lnTo>
                  <a:lnTo>
                    <a:pt x="3501" y="2579"/>
                  </a:lnTo>
                  <a:lnTo>
                    <a:pt x="3498" y="2568"/>
                  </a:lnTo>
                  <a:lnTo>
                    <a:pt x="3496" y="2563"/>
                  </a:lnTo>
                  <a:lnTo>
                    <a:pt x="3493" y="2560"/>
                  </a:lnTo>
                  <a:lnTo>
                    <a:pt x="3491" y="2558"/>
                  </a:lnTo>
                  <a:lnTo>
                    <a:pt x="3488" y="2558"/>
                  </a:lnTo>
                  <a:lnTo>
                    <a:pt x="3488" y="2552"/>
                  </a:lnTo>
                  <a:lnTo>
                    <a:pt x="3484" y="2548"/>
                  </a:lnTo>
                  <a:lnTo>
                    <a:pt x="3481" y="2544"/>
                  </a:lnTo>
                  <a:lnTo>
                    <a:pt x="3478" y="2540"/>
                  </a:lnTo>
                  <a:lnTo>
                    <a:pt x="3473" y="2538"/>
                  </a:lnTo>
                  <a:lnTo>
                    <a:pt x="3470" y="2534"/>
                  </a:lnTo>
                  <a:lnTo>
                    <a:pt x="3468" y="2531"/>
                  </a:lnTo>
                  <a:lnTo>
                    <a:pt x="3466" y="2529"/>
                  </a:lnTo>
                  <a:lnTo>
                    <a:pt x="3445" y="2529"/>
                  </a:lnTo>
                  <a:lnTo>
                    <a:pt x="3436" y="2520"/>
                  </a:lnTo>
                  <a:lnTo>
                    <a:pt x="3424" y="2507"/>
                  </a:lnTo>
                  <a:lnTo>
                    <a:pt x="3418" y="2501"/>
                  </a:lnTo>
                  <a:lnTo>
                    <a:pt x="3414" y="2494"/>
                  </a:lnTo>
                  <a:lnTo>
                    <a:pt x="3411" y="2488"/>
                  </a:lnTo>
                  <a:lnTo>
                    <a:pt x="3408" y="2485"/>
                  </a:lnTo>
                  <a:lnTo>
                    <a:pt x="3406" y="2485"/>
                  </a:lnTo>
                  <a:lnTo>
                    <a:pt x="3404" y="2483"/>
                  </a:lnTo>
                  <a:lnTo>
                    <a:pt x="3402" y="2479"/>
                  </a:lnTo>
                  <a:lnTo>
                    <a:pt x="3400" y="2476"/>
                  </a:lnTo>
                  <a:lnTo>
                    <a:pt x="3396" y="2466"/>
                  </a:lnTo>
                  <a:lnTo>
                    <a:pt x="3393" y="2455"/>
                  </a:lnTo>
                  <a:lnTo>
                    <a:pt x="3388" y="2430"/>
                  </a:lnTo>
                  <a:lnTo>
                    <a:pt x="3387" y="2414"/>
                  </a:lnTo>
                  <a:lnTo>
                    <a:pt x="3391" y="2410"/>
                  </a:lnTo>
                  <a:lnTo>
                    <a:pt x="3395" y="2401"/>
                  </a:lnTo>
                  <a:lnTo>
                    <a:pt x="3400" y="2388"/>
                  </a:lnTo>
                  <a:lnTo>
                    <a:pt x="3404" y="2373"/>
                  </a:lnTo>
                  <a:lnTo>
                    <a:pt x="3413" y="2347"/>
                  </a:lnTo>
                  <a:lnTo>
                    <a:pt x="3416" y="2334"/>
                  </a:lnTo>
                  <a:lnTo>
                    <a:pt x="3418" y="2332"/>
                  </a:lnTo>
                  <a:lnTo>
                    <a:pt x="3421" y="2327"/>
                  </a:lnTo>
                  <a:lnTo>
                    <a:pt x="3422" y="2320"/>
                  </a:lnTo>
                  <a:lnTo>
                    <a:pt x="3423" y="2311"/>
                  </a:lnTo>
                  <a:lnTo>
                    <a:pt x="3423" y="2294"/>
                  </a:lnTo>
                  <a:lnTo>
                    <a:pt x="3423" y="2283"/>
                  </a:lnTo>
                  <a:lnTo>
                    <a:pt x="3421" y="2283"/>
                  </a:lnTo>
                  <a:lnTo>
                    <a:pt x="3418" y="2280"/>
                  </a:lnTo>
                  <a:lnTo>
                    <a:pt x="3415" y="2276"/>
                  </a:lnTo>
                  <a:lnTo>
                    <a:pt x="3413" y="2272"/>
                  </a:lnTo>
                  <a:lnTo>
                    <a:pt x="3411" y="2262"/>
                  </a:lnTo>
                  <a:lnTo>
                    <a:pt x="3408" y="2255"/>
                  </a:lnTo>
                  <a:lnTo>
                    <a:pt x="3405" y="2236"/>
                  </a:lnTo>
                  <a:lnTo>
                    <a:pt x="3394" y="2197"/>
                  </a:lnTo>
                  <a:lnTo>
                    <a:pt x="3389" y="2186"/>
                  </a:lnTo>
                  <a:lnTo>
                    <a:pt x="3385" y="2176"/>
                  </a:lnTo>
                  <a:lnTo>
                    <a:pt x="3381" y="2166"/>
                  </a:lnTo>
                  <a:lnTo>
                    <a:pt x="3376" y="2157"/>
                  </a:lnTo>
                  <a:lnTo>
                    <a:pt x="3370" y="2150"/>
                  </a:lnTo>
                  <a:lnTo>
                    <a:pt x="3364" y="2145"/>
                  </a:lnTo>
                  <a:lnTo>
                    <a:pt x="3362" y="2142"/>
                  </a:lnTo>
                  <a:lnTo>
                    <a:pt x="3358" y="2140"/>
                  </a:lnTo>
                  <a:lnTo>
                    <a:pt x="3355" y="2140"/>
                  </a:lnTo>
                  <a:lnTo>
                    <a:pt x="3352" y="2139"/>
                  </a:lnTo>
                  <a:lnTo>
                    <a:pt x="3352" y="2136"/>
                  </a:lnTo>
                  <a:lnTo>
                    <a:pt x="3350" y="2134"/>
                  </a:lnTo>
                  <a:lnTo>
                    <a:pt x="3349" y="2132"/>
                  </a:lnTo>
                  <a:lnTo>
                    <a:pt x="3348" y="2132"/>
                  </a:lnTo>
                  <a:lnTo>
                    <a:pt x="3346" y="2132"/>
                  </a:lnTo>
                  <a:lnTo>
                    <a:pt x="3345" y="2131"/>
                  </a:lnTo>
                  <a:lnTo>
                    <a:pt x="3345" y="2129"/>
                  </a:lnTo>
                  <a:lnTo>
                    <a:pt x="3344" y="2125"/>
                  </a:lnTo>
                  <a:lnTo>
                    <a:pt x="3229" y="2125"/>
                  </a:lnTo>
                  <a:lnTo>
                    <a:pt x="3229" y="2128"/>
                  </a:lnTo>
                  <a:lnTo>
                    <a:pt x="3226" y="2130"/>
                  </a:lnTo>
                  <a:lnTo>
                    <a:pt x="3223" y="2132"/>
                  </a:lnTo>
                  <a:lnTo>
                    <a:pt x="3220" y="2135"/>
                  </a:lnTo>
                  <a:lnTo>
                    <a:pt x="3210" y="2138"/>
                  </a:lnTo>
                  <a:lnTo>
                    <a:pt x="3195" y="2141"/>
                  </a:lnTo>
                  <a:lnTo>
                    <a:pt x="3180" y="2145"/>
                  </a:lnTo>
                  <a:lnTo>
                    <a:pt x="3161" y="2147"/>
                  </a:lnTo>
                  <a:lnTo>
                    <a:pt x="3141" y="2149"/>
                  </a:lnTo>
                  <a:lnTo>
                    <a:pt x="3119" y="2150"/>
                  </a:lnTo>
                  <a:lnTo>
                    <a:pt x="3077" y="2152"/>
                  </a:lnTo>
                  <a:lnTo>
                    <a:pt x="3037" y="2154"/>
                  </a:lnTo>
                  <a:lnTo>
                    <a:pt x="3004" y="2154"/>
                  </a:lnTo>
                  <a:lnTo>
                    <a:pt x="2984" y="2154"/>
                  </a:lnTo>
                  <a:lnTo>
                    <a:pt x="2975" y="2151"/>
                  </a:lnTo>
                  <a:lnTo>
                    <a:pt x="2957" y="2147"/>
                  </a:lnTo>
                  <a:lnTo>
                    <a:pt x="2938" y="2141"/>
                  </a:lnTo>
                  <a:lnTo>
                    <a:pt x="2926" y="2139"/>
                  </a:lnTo>
                  <a:lnTo>
                    <a:pt x="2926" y="2137"/>
                  </a:lnTo>
                  <a:lnTo>
                    <a:pt x="2925" y="2136"/>
                  </a:lnTo>
                  <a:lnTo>
                    <a:pt x="2924" y="2134"/>
                  </a:lnTo>
                  <a:lnTo>
                    <a:pt x="2922" y="2134"/>
                  </a:lnTo>
                  <a:lnTo>
                    <a:pt x="2917" y="2132"/>
                  </a:lnTo>
                  <a:lnTo>
                    <a:pt x="2912" y="2132"/>
                  </a:lnTo>
                  <a:lnTo>
                    <a:pt x="2911" y="2127"/>
                  </a:lnTo>
                  <a:lnTo>
                    <a:pt x="2907" y="2122"/>
                  </a:lnTo>
                  <a:lnTo>
                    <a:pt x="2903" y="2119"/>
                  </a:lnTo>
                  <a:lnTo>
                    <a:pt x="2897" y="2118"/>
                  </a:lnTo>
                  <a:lnTo>
                    <a:pt x="2883" y="2089"/>
                  </a:lnTo>
                  <a:lnTo>
                    <a:pt x="2876" y="2082"/>
                  </a:lnTo>
                  <a:lnTo>
                    <a:pt x="2868" y="2068"/>
                  </a:lnTo>
                  <a:lnTo>
                    <a:pt x="2861" y="2053"/>
                  </a:lnTo>
                  <a:lnTo>
                    <a:pt x="2854" y="2050"/>
                  </a:lnTo>
                  <a:lnTo>
                    <a:pt x="2842" y="2042"/>
                  </a:lnTo>
                  <a:lnTo>
                    <a:pt x="2836" y="2039"/>
                  </a:lnTo>
                  <a:lnTo>
                    <a:pt x="2830" y="2034"/>
                  </a:lnTo>
                  <a:lnTo>
                    <a:pt x="2823" y="2032"/>
                  </a:lnTo>
                  <a:lnTo>
                    <a:pt x="2818" y="2031"/>
                  </a:lnTo>
                  <a:lnTo>
                    <a:pt x="2818" y="2027"/>
                  </a:lnTo>
                  <a:lnTo>
                    <a:pt x="2817" y="2025"/>
                  </a:lnTo>
                  <a:lnTo>
                    <a:pt x="2816" y="2024"/>
                  </a:lnTo>
                  <a:lnTo>
                    <a:pt x="2815" y="2024"/>
                  </a:lnTo>
                  <a:lnTo>
                    <a:pt x="2813" y="2024"/>
                  </a:lnTo>
                  <a:lnTo>
                    <a:pt x="2812" y="2023"/>
                  </a:lnTo>
                  <a:lnTo>
                    <a:pt x="2811" y="2021"/>
                  </a:lnTo>
                  <a:lnTo>
                    <a:pt x="2811" y="2017"/>
                  </a:lnTo>
                  <a:lnTo>
                    <a:pt x="2789" y="2017"/>
                  </a:lnTo>
                  <a:lnTo>
                    <a:pt x="2787" y="2014"/>
                  </a:lnTo>
                  <a:lnTo>
                    <a:pt x="2780" y="2012"/>
                  </a:lnTo>
                  <a:lnTo>
                    <a:pt x="2771" y="2010"/>
                  </a:lnTo>
                  <a:lnTo>
                    <a:pt x="2760" y="2007"/>
                  </a:lnTo>
                  <a:lnTo>
                    <a:pt x="2738" y="2004"/>
                  </a:lnTo>
                  <a:lnTo>
                    <a:pt x="2724" y="2003"/>
                  </a:lnTo>
                  <a:lnTo>
                    <a:pt x="2717" y="1988"/>
                  </a:lnTo>
                  <a:lnTo>
                    <a:pt x="2710" y="1981"/>
                  </a:lnTo>
                  <a:lnTo>
                    <a:pt x="2700" y="1977"/>
                  </a:lnTo>
                  <a:lnTo>
                    <a:pt x="2688" y="1974"/>
                  </a:lnTo>
                  <a:lnTo>
                    <a:pt x="2688" y="1895"/>
                  </a:lnTo>
                  <a:lnTo>
                    <a:pt x="2686" y="1894"/>
                  </a:lnTo>
                  <a:lnTo>
                    <a:pt x="2684" y="1890"/>
                  </a:lnTo>
                  <a:lnTo>
                    <a:pt x="2682" y="1886"/>
                  </a:lnTo>
                  <a:lnTo>
                    <a:pt x="2679" y="1880"/>
                  </a:lnTo>
                  <a:lnTo>
                    <a:pt x="2677" y="1865"/>
                  </a:lnTo>
                  <a:lnTo>
                    <a:pt x="2676" y="1847"/>
                  </a:lnTo>
                  <a:lnTo>
                    <a:pt x="2674" y="1812"/>
                  </a:lnTo>
                  <a:lnTo>
                    <a:pt x="2674" y="1793"/>
                  </a:lnTo>
                  <a:lnTo>
                    <a:pt x="2672" y="1785"/>
                  </a:lnTo>
                  <a:lnTo>
                    <a:pt x="2668" y="1774"/>
                  </a:lnTo>
                  <a:lnTo>
                    <a:pt x="2666" y="1760"/>
                  </a:lnTo>
                  <a:lnTo>
                    <a:pt x="2664" y="1743"/>
                  </a:lnTo>
                  <a:lnTo>
                    <a:pt x="2661" y="1713"/>
                  </a:lnTo>
                  <a:lnTo>
                    <a:pt x="2659" y="1693"/>
                  </a:lnTo>
                  <a:lnTo>
                    <a:pt x="2657" y="1692"/>
                  </a:lnTo>
                  <a:lnTo>
                    <a:pt x="2655" y="1689"/>
                  </a:lnTo>
                  <a:lnTo>
                    <a:pt x="2653" y="1686"/>
                  </a:lnTo>
                  <a:lnTo>
                    <a:pt x="2652" y="1680"/>
                  </a:lnTo>
                  <a:lnTo>
                    <a:pt x="2649" y="1668"/>
                  </a:lnTo>
                  <a:lnTo>
                    <a:pt x="2646" y="1654"/>
                  </a:lnTo>
                  <a:lnTo>
                    <a:pt x="2644" y="1646"/>
                  </a:lnTo>
                  <a:lnTo>
                    <a:pt x="2642" y="1639"/>
                  </a:lnTo>
                  <a:lnTo>
                    <a:pt x="2639" y="1632"/>
                  </a:lnTo>
                  <a:lnTo>
                    <a:pt x="2636" y="1626"/>
                  </a:lnTo>
                  <a:lnTo>
                    <a:pt x="2633" y="1621"/>
                  </a:lnTo>
                  <a:lnTo>
                    <a:pt x="2628" y="1617"/>
                  </a:lnTo>
                  <a:lnTo>
                    <a:pt x="2623" y="1615"/>
                  </a:lnTo>
                  <a:lnTo>
                    <a:pt x="2616" y="1613"/>
                  </a:lnTo>
                  <a:lnTo>
                    <a:pt x="2616" y="1599"/>
                  </a:lnTo>
                  <a:lnTo>
                    <a:pt x="2609" y="1592"/>
                  </a:lnTo>
                  <a:lnTo>
                    <a:pt x="2595" y="1581"/>
                  </a:lnTo>
                  <a:lnTo>
                    <a:pt x="2580" y="1570"/>
                  </a:lnTo>
                  <a:lnTo>
                    <a:pt x="2580" y="1555"/>
                  </a:lnTo>
                  <a:lnTo>
                    <a:pt x="2577" y="1555"/>
                  </a:lnTo>
                  <a:lnTo>
                    <a:pt x="2572" y="1553"/>
                  </a:lnTo>
                  <a:lnTo>
                    <a:pt x="2570" y="1551"/>
                  </a:lnTo>
                  <a:lnTo>
                    <a:pt x="2567" y="1546"/>
                  </a:lnTo>
                  <a:lnTo>
                    <a:pt x="2561" y="1535"/>
                  </a:lnTo>
                  <a:lnTo>
                    <a:pt x="2558" y="1522"/>
                  </a:lnTo>
                  <a:lnTo>
                    <a:pt x="2554" y="1505"/>
                  </a:lnTo>
                  <a:lnTo>
                    <a:pt x="2552" y="1486"/>
                  </a:lnTo>
                  <a:lnTo>
                    <a:pt x="2551" y="1465"/>
                  </a:lnTo>
                  <a:lnTo>
                    <a:pt x="2550" y="1444"/>
                  </a:lnTo>
                  <a:lnTo>
                    <a:pt x="2549" y="1401"/>
                  </a:lnTo>
                  <a:lnTo>
                    <a:pt x="2550" y="1361"/>
                  </a:lnTo>
                  <a:lnTo>
                    <a:pt x="2551" y="1330"/>
                  </a:lnTo>
                  <a:lnTo>
                    <a:pt x="2551" y="1311"/>
                  </a:lnTo>
                  <a:lnTo>
                    <a:pt x="2549" y="1309"/>
                  </a:lnTo>
                  <a:lnTo>
                    <a:pt x="2546" y="1304"/>
                  </a:lnTo>
                  <a:lnTo>
                    <a:pt x="2541" y="1296"/>
                  </a:lnTo>
                  <a:lnTo>
                    <a:pt x="2538" y="1289"/>
                  </a:lnTo>
                  <a:lnTo>
                    <a:pt x="2532" y="1272"/>
                  </a:lnTo>
                  <a:lnTo>
                    <a:pt x="2530" y="1261"/>
                  </a:lnTo>
                  <a:lnTo>
                    <a:pt x="2523" y="1246"/>
                  </a:lnTo>
                  <a:lnTo>
                    <a:pt x="2509" y="1215"/>
                  </a:lnTo>
                  <a:lnTo>
                    <a:pt x="2500" y="1198"/>
                  </a:lnTo>
                  <a:lnTo>
                    <a:pt x="2493" y="1182"/>
                  </a:lnTo>
                  <a:lnTo>
                    <a:pt x="2489" y="1168"/>
                  </a:lnTo>
                  <a:lnTo>
                    <a:pt x="2486" y="1159"/>
                  </a:lnTo>
                  <a:lnTo>
                    <a:pt x="2472" y="1152"/>
                  </a:lnTo>
                  <a:lnTo>
                    <a:pt x="2471" y="1147"/>
                  </a:lnTo>
                  <a:lnTo>
                    <a:pt x="2469" y="1142"/>
                  </a:lnTo>
                  <a:lnTo>
                    <a:pt x="2465" y="1138"/>
                  </a:lnTo>
                  <a:lnTo>
                    <a:pt x="2462" y="1135"/>
                  </a:lnTo>
                  <a:lnTo>
                    <a:pt x="2457" y="1130"/>
                  </a:lnTo>
                  <a:lnTo>
                    <a:pt x="2454" y="1126"/>
                  </a:lnTo>
                  <a:lnTo>
                    <a:pt x="2452" y="1121"/>
                  </a:lnTo>
                  <a:lnTo>
                    <a:pt x="2451" y="1117"/>
                  </a:lnTo>
                  <a:lnTo>
                    <a:pt x="2447" y="1116"/>
                  </a:lnTo>
                  <a:lnTo>
                    <a:pt x="2445" y="1115"/>
                  </a:lnTo>
                  <a:lnTo>
                    <a:pt x="2443" y="1111"/>
                  </a:lnTo>
                  <a:lnTo>
                    <a:pt x="2441" y="1108"/>
                  </a:lnTo>
                  <a:lnTo>
                    <a:pt x="2437" y="1101"/>
                  </a:lnTo>
                  <a:lnTo>
                    <a:pt x="2436" y="1094"/>
                  </a:lnTo>
                  <a:lnTo>
                    <a:pt x="2434" y="1094"/>
                  </a:lnTo>
                  <a:lnTo>
                    <a:pt x="2431" y="1092"/>
                  </a:lnTo>
                  <a:lnTo>
                    <a:pt x="2428" y="1090"/>
                  </a:lnTo>
                  <a:lnTo>
                    <a:pt x="2425" y="1087"/>
                  </a:lnTo>
                  <a:lnTo>
                    <a:pt x="2419" y="1080"/>
                  </a:lnTo>
                  <a:lnTo>
                    <a:pt x="2415" y="1073"/>
                  </a:lnTo>
                  <a:lnTo>
                    <a:pt x="2414" y="1043"/>
                  </a:lnTo>
                  <a:lnTo>
                    <a:pt x="2410" y="1007"/>
                  </a:lnTo>
                  <a:lnTo>
                    <a:pt x="2408" y="971"/>
                  </a:lnTo>
                  <a:lnTo>
                    <a:pt x="2407" y="936"/>
                  </a:lnTo>
                  <a:lnTo>
                    <a:pt x="2405" y="935"/>
                  </a:lnTo>
                  <a:lnTo>
                    <a:pt x="2402" y="930"/>
                  </a:lnTo>
                  <a:lnTo>
                    <a:pt x="2399" y="925"/>
                  </a:lnTo>
                  <a:lnTo>
                    <a:pt x="2397" y="917"/>
                  </a:lnTo>
                  <a:lnTo>
                    <a:pt x="2394" y="902"/>
                  </a:lnTo>
                  <a:lnTo>
                    <a:pt x="2393" y="892"/>
                  </a:lnTo>
                  <a:lnTo>
                    <a:pt x="2390" y="892"/>
                  </a:lnTo>
                  <a:lnTo>
                    <a:pt x="2389" y="891"/>
                  </a:lnTo>
                  <a:lnTo>
                    <a:pt x="2387" y="890"/>
                  </a:lnTo>
                  <a:lnTo>
                    <a:pt x="2387" y="888"/>
                  </a:lnTo>
                  <a:lnTo>
                    <a:pt x="2386" y="884"/>
                  </a:lnTo>
                  <a:lnTo>
                    <a:pt x="2386" y="879"/>
                  </a:lnTo>
                  <a:lnTo>
                    <a:pt x="2384" y="878"/>
                  </a:lnTo>
                  <a:lnTo>
                    <a:pt x="2381" y="877"/>
                  </a:lnTo>
                  <a:lnTo>
                    <a:pt x="2380" y="876"/>
                  </a:lnTo>
                  <a:lnTo>
                    <a:pt x="2379" y="875"/>
                  </a:lnTo>
                  <a:lnTo>
                    <a:pt x="2378" y="869"/>
                  </a:lnTo>
                  <a:lnTo>
                    <a:pt x="2378" y="865"/>
                  </a:lnTo>
                  <a:lnTo>
                    <a:pt x="2364" y="865"/>
                  </a:lnTo>
                  <a:lnTo>
                    <a:pt x="2364" y="850"/>
                  </a:lnTo>
                  <a:lnTo>
                    <a:pt x="2359" y="849"/>
                  </a:lnTo>
                  <a:lnTo>
                    <a:pt x="2354" y="846"/>
                  </a:lnTo>
                  <a:lnTo>
                    <a:pt x="2348" y="841"/>
                  </a:lnTo>
                  <a:lnTo>
                    <a:pt x="2342" y="836"/>
                  </a:lnTo>
                  <a:lnTo>
                    <a:pt x="2320" y="836"/>
                  </a:lnTo>
                  <a:lnTo>
                    <a:pt x="2298" y="837"/>
                  </a:lnTo>
                  <a:lnTo>
                    <a:pt x="2275" y="838"/>
                  </a:lnTo>
                  <a:lnTo>
                    <a:pt x="2253" y="839"/>
                  </a:lnTo>
                  <a:lnTo>
                    <a:pt x="2231" y="840"/>
                  </a:lnTo>
                  <a:lnTo>
                    <a:pt x="2210" y="841"/>
                  </a:lnTo>
                  <a:lnTo>
                    <a:pt x="2189" y="842"/>
                  </a:lnTo>
                  <a:lnTo>
                    <a:pt x="2169" y="842"/>
                  </a:lnTo>
                  <a:lnTo>
                    <a:pt x="2155" y="857"/>
                  </a:lnTo>
                  <a:lnTo>
                    <a:pt x="2140" y="857"/>
                  </a:lnTo>
                  <a:lnTo>
                    <a:pt x="2140" y="859"/>
                  </a:lnTo>
                  <a:lnTo>
                    <a:pt x="2139" y="861"/>
                  </a:lnTo>
                  <a:lnTo>
                    <a:pt x="2137" y="863"/>
                  </a:lnTo>
                  <a:lnTo>
                    <a:pt x="2135" y="865"/>
                  </a:lnTo>
                  <a:lnTo>
                    <a:pt x="2129" y="867"/>
                  </a:lnTo>
                  <a:lnTo>
                    <a:pt x="2122" y="869"/>
                  </a:lnTo>
                  <a:lnTo>
                    <a:pt x="2116" y="871"/>
                  </a:lnTo>
                  <a:lnTo>
                    <a:pt x="2110" y="875"/>
                  </a:lnTo>
                  <a:lnTo>
                    <a:pt x="2108" y="877"/>
                  </a:lnTo>
                  <a:lnTo>
                    <a:pt x="2106" y="879"/>
                  </a:lnTo>
                  <a:lnTo>
                    <a:pt x="2105" y="882"/>
                  </a:lnTo>
                  <a:lnTo>
                    <a:pt x="2105" y="886"/>
                  </a:lnTo>
                  <a:lnTo>
                    <a:pt x="2098" y="892"/>
                  </a:lnTo>
                  <a:lnTo>
                    <a:pt x="2090" y="895"/>
                  </a:lnTo>
                  <a:lnTo>
                    <a:pt x="2080" y="898"/>
                  </a:lnTo>
                  <a:lnTo>
                    <a:pt x="2076" y="899"/>
                  </a:lnTo>
                  <a:lnTo>
                    <a:pt x="2072" y="902"/>
                  </a:lnTo>
                  <a:lnTo>
                    <a:pt x="2070" y="905"/>
                  </a:lnTo>
                  <a:lnTo>
                    <a:pt x="2069" y="907"/>
                  </a:lnTo>
                  <a:lnTo>
                    <a:pt x="2052" y="906"/>
                  </a:lnTo>
                  <a:lnTo>
                    <a:pt x="2036" y="902"/>
                  </a:lnTo>
                  <a:lnTo>
                    <a:pt x="2021" y="898"/>
                  </a:lnTo>
                  <a:lnTo>
                    <a:pt x="2004" y="892"/>
                  </a:lnTo>
                  <a:lnTo>
                    <a:pt x="1990" y="888"/>
                  </a:lnTo>
                  <a:lnTo>
                    <a:pt x="1974" y="884"/>
                  </a:lnTo>
                  <a:lnTo>
                    <a:pt x="1959" y="880"/>
                  </a:lnTo>
                  <a:lnTo>
                    <a:pt x="1946" y="879"/>
                  </a:lnTo>
                  <a:lnTo>
                    <a:pt x="1945" y="876"/>
                  </a:lnTo>
                  <a:lnTo>
                    <a:pt x="1944" y="873"/>
                  </a:lnTo>
                  <a:lnTo>
                    <a:pt x="1942" y="871"/>
                  </a:lnTo>
                  <a:lnTo>
                    <a:pt x="1938" y="869"/>
                  </a:lnTo>
                  <a:lnTo>
                    <a:pt x="1930" y="866"/>
                  </a:lnTo>
                  <a:lnTo>
                    <a:pt x="1925" y="865"/>
                  </a:lnTo>
                  <a:lnTo>
                    <a:pt x="1922" y="860"/>
                  </a:lnTo>
                  <a:lnTo>
                    <a:pt x="1914" y="854"/>
                  </a:lnTo>
                  <a:lnTo>
                    <a:pt x="1904" y="848"/>
                  </a:lnTo>
                  <a:lnTo>
                    <a:pt x="1891" y="840"/>
                  </a:lnTo>
                  <a:lnTo>
                    <a:pt x="1867" y="827"/>
                  </a:lnTo>
                  <a:lnTo>
                    <a:pt x="1852" y="821"/>
                  </a:lnTo>
                  <a:lnTo>
                    <a:pt x="1850" y="818"/>
                  </a:lnTo>
                  <a:lnTo>
                    <a:pt x="1843" y="812"/>
                  </a:lnTo>
                  <a:lnTo>
                    <a:pt x="1833" y="807"/>
                  </a:lnTo>
                  <a:lnTo>
                    <a:pt x="1822" y="800"/>
                  </a:lnTo>
                  <a:lnTo>
                    <a:pt x="1801" y="786"/>
                  </a:lnTo>
                  <a:lnTo>
                    <a:pt x="1788" y="777"/>
                  </a:lnTo>
                  <a:lnTo>
                    <a:pt x="1776" y="776"/>
                  </a:lnTo>
                  <a:lnTo>
                    <a:pt x="1766" y="774"/>
                  </a:lnTo>
                  <a:lnTo>
                    <a:pt x="1755" y="772"/>
                  </a:lnTo>
                  <a:lnTo>
                    <a:pt x="1744" y="771"/>
                  </a:lnTo>
                  <a:lnTo>
                    <a:pt x="1742" y="767"/>
                  </a:lnTo>
                  <a:lnTo>
                    <a:pt x="1735" y="763"/>
                  </a:lnTo>
                  <a:lnTo>
                    <a:pt x="1725" y="759"/>
                  </a:lnTo>
                  <a:lnTo>
                    <a:pt x="1714" y="753"/>
                  </a:lnTo>
                  <a:lnTo>
                    <a:pt x="1702" y="748"/>
                  </a:lnTo>
                  <a:lnTo>
                    <a:pt x="1689" y="745"/>
                  </a:lnTo>
                  <a:lnTo>
                    <a:pt x="1679" y="743"/>
                  </a:lnTo>
                  <a:lnTo>
                    <a:pt x="1673" y="742"/>
                  </a:lnTo>
                  <a:lnTo>
                    <a:pt x="1671" y="740"/>
                  </a:lnTo>
                  <a:lnTo>
                    <a:pt x="1670" y="737"/>
                  </a:lnTo>
                  <a:lnTo>
                    <a:pt x="1667" y="736"/>
                  </a:lnTo>
                  <a:lnTo>
                    <a:pt x="1664" y="735"/>
                  </a:lnTo>
                  <a:lnTo>
                    <a:pt x="1657" y="735"/>
                  </a:lnTo>
                  <a:lnTo>
                    <a:pt x="1650" y="734"/>
                  </a:lnTo>
                  <a:lnTo>
                    <a:pt x="1636" y="721"/>
                  </a:lnTo>
                  <a:lnTo>
                    <a:pt x="1626" y="721"/>
                  </a:lnTo>
                  <a:lnTo>
                    <a:pt x="1615" y="721"/>
                  </a:lnTo>
                  <a:lnTo>
                    <a:pt x="1615" y="717"/>
                  </a:lnTo>
                  <a:lnTo>
                    <a:pt x="1612" y="716"/>
                  </a:lnTo>
                  <a:lnTo>
                    <a:pt x="1610" y="715"/>
                  </a:lnTo>
                  <a:lnTo>
                    <a:pt x="1607" y="714"/>
                  </a:lnTo>
                  <a:lnTo>
                    <a:pt x="1599" y="713"/>
                  </a:lnTo>
                  <a:lnTo>
                    <a:pt x="1593" y="713"/>
                  </a:lnTo>
                  <a:lnTo>
                    <a:pt x="1586" y="706"/>
                  </a:lnTo>
                  <a:lnTo>
                    <a:pt x="1586" y="702"/>
                  </a:lnTo>
                  <a:lnTo>
                    <a:pt x="1584" y="699"/>
                  </a:lnTo>
                  <a:lnTo>
                    <a:pt x="1583" y="698"/>
                  </a:lnTo>
                  <a:lnTo>
                    <a:pt x="1582" y="698"/>
                  </a:lnTo>
                  <a:lnTo>
                    <a:pt x="1581" y="698"/>
                  </a:lnTo>
                  <a:lnTo>
                    <a:pt x="1580" y="697"/>
                  </a:lnTo>
                  <a:lnTo>
                    <a:pt x="1579" y="695"/>
                  </a:lnTo>
                  <a:lnTo>
                    <a:pt x="1579" y="692"/>
                  </a:lnTo>
                  <a:lnTo>
                    <a:pt x="1572" y="690"/>
                  </a:lnTo>
                  <a:lnTo>
                    <a:pt x="1565" y="687"/>
                  </a:lnTo>
                  <a:lnTo>
                    <a:pt x="1562" y="685"/>
                  </a:lnTo>
                  <a:lnTo>
                    <a:pt x="1560" y="683"/>
                  </a:lnTo>
                  <a:lnTo>
                    <a:pt x="1558" y="679"/>
                  </a:lnTo>
                  <a:lnTo>
                    <a:pt x="1556" y="677"/>
                  </a:lnTo>
                  <a:lnTo>
                    <a:pt x="1535" y="677"/>
                  </a:lnTo>
                  <a:lnTo>
                    <a:pt x="1535" y="675"/>
                  </a:lnTo>
                  <a:lnTo>
                    <a:pt x="1533" y="673"/>
                  </a:lnTo>
                  <a:lnTo>
                    <a:pt x="1531" y="670"/>
                  </a:lnTo>
                  <a:lnTo>
                    <a:pt x="1529" y="669"/>
                  </a:lnTo>
                  <a:lnTo>
                    <a:pt x="1525" y="667"/>
                  </a:lnTo>
                  <a:lnTo>
                    <a:pt x="1523" y="664"/>
                  </a:lnTo>
                  <a:lnTo>
                    <a:pt x="1522" y="660"/>
                  </a:lnTo>
                  <a:lnTo>
                    <a:pt x="1521" y="655"/>
                  </a:lnTo>
                  <a:lnTo>
                    <a:pt x="1506" y="655"/>
                  </a:lnTo>
                  <a:lnTo>
                    <a:pt x="1506" y="651"/>
                  </a:lnTo>
                  <a:lnTo>
                    <a:pt x="1505" y="649"/>
                  </a:lnTo>
                  <a:lnTo>
                    <a:pt x="1504" y="648"/>
                  </a:lnTo>
                  <a:lnTo>
                    <a:pt x="1503" y="648"/>
                  </a:lnTo>
                  <a:lnTo>
                    <a:pt x="1502" y="648"/>
                  </a:lnTo>
                  <a:lnTo>
                    <a:pt x="1501" y="647"/>
                  </a:lnTo>
                  <a:lnTo>
                    <a:pt x="1500" y="645"/>
                  </a:lnTo>
                  <a:lnTo>
                    <a:pt x="1500" y="641"/>
                  </a:lnTo>
                  <a:lnTo>
                    <a:pt x="1477" y="641"/>
                  </a:lnTo>
                  <a:lnTo>
                    <a:pt x="1477" y="638"/>
                  </a:lnTo>
                  <a:lnTo>
                    <a:pt x="1476" y="637"/>
                  </a:lnTo>
                  <a:lnTo>
                    <a:pt x="1475" y="636"/>
                  </a:lnTo>
                  <a:lnTo>
                    <a:pt x="1473" y="635"/>
                  </a:lnTo>
                  <a:lnTo>
                    <a:pt x="1468" y="634"/>
                  </a:lnTo>
                  <a:lnTo>
                    <a:pt x="1464" y="634"/>
                  </a:lnTo>
                  <a:lnTo>
                    <a:pt x="1460" y="630"/>
                  </a:lnTo>
                  <a:lnTo>
                    <a:pt x="1454" y="627"/>
                  </a:lnTo>
                  <a:lnTo>
                    <a:pt x="1445" y="623"/>
                  </a:lnTo>
                  <a:lnTo>
                    <a:pt x="1434" y="620"/>
                  </a:lnTo>
                  <a:lnTo>
                    <a:pt x="1411" y="615"/>
                  </a:lnTo>
                  <a:lnTo>
                    <a:pt x="1398" y="612"/>
                  </a:lnTo>
                  <a:lnTo>
                    <a:pt x="1385" y="598"/>
                  </a:lnTo>
                  <a:lnTo>
                    <a:pt x="1378" y="597"/>
                  </a:lnTo>
                  <a:lnTo>
                    <a:pt x="1372" y="596"/>
                  </a:lnTo>
                  <a:lnTo>
                    <a:pt x="1366" y="593"/>
                  </a:lnTo>
                  <a:lnTo>
                    <a:pt x="1359" y="590"/>
                  </a:lnTo>
                  <a:lnTo>
                    <a:pt x="1345" y="586"/>
                  </a:lnTo>
                  <a:lnTo>
                    <a:pt x="1333" y="583"/>
                  </a:lnTo>
                  <a:lnTo>
                    <a:pt x="1333" y="581"/>
                  </a:lnTo>
                  <a:lnTo>
                    <a:pt x="1331" y="578"/>
                  </a:lnTo>
                  <a:lnTo>
                    <a:pt x="1329" y="575"/>
                  </a:lnTo>
                  <a:lnTo>
                    <a:pt x="1324" y="572"/>
                  </a:lnTo>
                  <a:lnTo>
                    <a:pt x="1315" y="567"/>
                  </a:lnTo>
                  <a:lnTo>
                    <a:pt x="1305" y="562"/>
                  </a:lnTo>
                  <a:lnTo>
                    <a:pt x="1294" y="557"/>
                  </a:lnTo>
                  <a:lnTo>
                    <a:pt x="1285" y="551"/>
                  </a:lnTo>
                  <a:lnTo>
                    <a:pt x="1281" y="548"/>
                  </a:lnTo>
                  <a:lnTo>
                    <a:pt x="1279" y="545"/>
                  </a:lnTo>
                  <a:lnTo>
                    <a:pt x="1276" y="543"/>
                  </a:lnTo>
                  <a:lnTo>
                    <a:pt x="1276" y="540"/>
                  </a:lnTo>
                  <a:lnTo>
                    <a:pt x="1254" y="540"/>
                  </a:lnTo>
                  <a:lnTo>
                    <a:pt x="1254" y="538"/>
                  </a:lnTo>
                  <a:lnTo>
                    <a:pt x="1253" y="535"/>
                  </a:lnTo>
                  <a:lnTo>
                    <a:pt x="1252" y="534"/>
                  </a:lnTo>
                  <a:lnTo>
                    <a:pt x="1249" y="534"/>
                  </a:lnTo>
                  <a:lnTo>
                    <a:pt x="1245" y="533"/>
                  </a:lnTo>
                  <a:lnTo>
                    <a:pt x="1239" y="533"/>
                  </a:lnTo>
                  <a:lnTo>
                    <a:pt x="1229" y="522"/>
                  </a:lnTo>
                  <a:lnTo>
                    <a:pt x="1218" y="511"/>
                  </a:lnTo>
                  <a:lnTo>
                    <a:pt x="1204" y="504"/>
                  </a:lnTo>
                  <a:lnTo>
                    <a:pt x="1199" y="502"/>
                  </a:lnTo>
                  <a:lnTo>
                    <a:pt x="1193" y="497"/>
                  </a:lnTo>
                  <a:lnTo>
                    <a:pt x="1185" y="490"/>
                  </a:lnTo>
                  <a:lnTo>
                    <a:pt x="1175" y="482"/>
                  </a:lnTo>
                  <a:lnTo>
                    <a:pt x="1157" y="465"/>
                  </a:lnTo>
                  <a:lnTo>
                    <a:pt x="1146" y="454"/>
                  </a:lnTo>
                  <a:lnTo>
                    <a:pt x="1146" y="439"/>
                  </a:lnTo>
                  <a:lnTo>
                    <a:pt x="1143" y="439"/>
                  </a:lnTo>
                  <a:lnTo>
                    <a:pt x="1142" y="438"/>
                  </a:lnTo>
                  <a:lnTo>
                    <a:pt x="1141" y="436"/>
                  </a:lnTo>
                  <a:lnTo>
                    <a:pt x="1140" y="435"/>
                  </a:lnTo>
                  <a:lnTo>
                    <a:pt x="1139" y="430"/>
                  </a:lnTo>
                  <a:lnTo>
                    <a:pt x="1139" y="425"/>
                  </a:lnTo>
                  <a:lnTo>
                    <a:pt x="1138" y="425"/>
                  </a:lnTo>
                  <a:lnTo>
                    <a:pt x="1137" y="423"/>
                  </a:lnTo>
                  <a:lnTo>
                    <a:pt x="1136" y="421"/>
                  </a:lnTo>
                  <a:lnTo>
                    <a:pt x="1136" y="418"/>
                  </a:lnTo>
                  <a:lnTo>
                    <a:pt x="1136" y="410"/>
                  </a:lnTo>
                  <a:lnTo>
                    <a:pt x="1136" y="401"/>
                  </a:lnTo>
                  <a:lnTo>
                    <a:pt x="1138" y="376"/>
                  </a:lnTo>
                  <a:lnTo>
                    <a:pt x="1142" y="347"/>
                  </a:lnTo>
                  <a:lnTo>
                    <a:pt x="1147" y="318"/>
                  </a:lnTo>
                  <a:lnTo>
                    <a:pt x="1151" y="290"/>
                  </a:lnTo>
                  <a:lnTo>
                    <a:pt x="1155" y="267"/>
                  </a:lnTo>
                  <a:lnTo>
                    <a:pt x="1156" y="253"/>
                  </a:lnTo>
                  <a:lnTo>
                    <a:pt x="1153" y="253"/>
                  </a:lnTo>
                  <a:lnTo>
                    <a:pt x="1152" y="252"/>
                  </a:lnTo>
                  <a:lnTo>
                    <a:pt x="1150" y="251"/>
                  </a:lnTo>
                  <a:lnTo>
                    <a:pt x="1150" y="248"/>
                  </a:lnTo>
                  <a:lnTo>
                    <a:pt x="1149" y="244"/>
                  </a:lnTo>
                  <a:lnTo>
                    <a:pt x="1149" y="240"/>
                  </a:lnTo>
                  <a:lnTo>
                    <a:pt x="1135" y="232"/>
                  </a:lnTo>
                  <a:lnTo>
                    <a:pt x="1133" y="221"/>
                  </a:lnTo>
                  <a:lnTo>
                    <a:pt x="1131" y="211"/>
                  </a:lnTo>
                  <a:lnTo>
                    <a:pt x="1128" y="199"/>
                  </a:lnTo>
                  <a:lnTo>
                    <a:pt x="1127" y="188"/>
                  </a:lnTo>
                  <a:lnTo>
                    <a:pt x="1124" y="188"/>
                  </a:lnTo>
                  <a:lnTo>
                    <a:pt x="1123" y="186"/>
                  </a:lnTo>
                  <a:lnTo>
                    <a:pt x="1122" y="184"/>
                  </a:lnTo>
                  <a:lnTo>
                    <a:pt x="1121" y="180"/>
                  </a:lnTo>
                  <a:lnTo>
                    <a:pt x="1120" y="174"/>
                  </a:lnTo>
                  <a:lnTo>
                    <a:pt x="1120" y="167"/>
                  </a:lnTo>
                  <a:lnTo>
                    <a:pt x="1116" y="167"/>
                  </a:lnTo>
                  <a:lnTo>
                    <a:pt x="1113" y="166"/>
                  </a:lnTo>
                  <a:lnTo>
                    <a:pt x="1113" y="165"/>
                  </a:lnTo>
                  <a:lnTo>
                    <a:pt x="1113" y="164"/>
                  </a:lnTo>
                  <a:lnTo>
                    <a:pt x="1112" y="163"/>
                  </a:lnTo>
                  <a:lnTo>
                    <a:pt x="1112" y="161"/>
                  </a:lnTo>
                  <a:lnTo>
                    <a:pt x="1110" y="160"/>
                  </a:lnTo>
                  <a:lnTo>
                    <a:pt x="1105" y="160"/>
                  </a:lnTo>
                  <a:lnTo>
                    <a:pt x="1107" y="96"/>
                  </a:lnTo>
                  <a:lnTo>
                    <a:pt x="1099" y="89"/>
                  </a:lnTo>
                  <a:lnTo>
                    <a:pt x="1092" y="81"/>
                  </a:lnTo>
                  <a:lnTo>
                    <a:pt x="1082" y="82"/>
                  </a:lnTo>
                  <a:lnTo>
                    <a:pt x="1060" y="84"/>
                  </a:lnTo>
                  <a:lnTo>
                    <a:pt x="1037" y="88"/>
                  </a:lnTo>
                  <a:lnTo>
                    <a:pt x="1026" y="88"/>
                  </a:lnTo>
                  <a:lnTo>
                    <a:pt x="1026" y="86"/>
                  </a:lnTo>
                  <a:lnTo>
                    <a:pt x="1024" y="84"/>
                  </a:lnTo>
                  <a:lnTo>
                    <a:pt x="1022" y="83"/>
                  </a:lnTo>
                  <a:lnTo>
                    <a:pt x="1018" y="82"/>
                  </a:lnTo>
                  <a:lnTo>
                    <a:pt x="1012" y="81"/>
                  </a:lnTo>
                  <a:lnTo>
                    <a:pt x="1005" y="81"/>
                  </a:lnTo>
                  <a:lnTo>
                    <a:pt x="1005" y="72"/>
                  </a:lnTo>
                  <a:lnTo>
                    <a:pt x="1003" y="59"/>
                  </a:lnTo>
                  <a:lnTo>
                    <a:pt x="1002" y="53"/>
                  </a:lnTo>
                  <a:lnTo>
                    <a:pt x="999" y="48"/>
                  </a:lnTo>
                  <a:lnTo>
                    <a:pt x="997" y="44"/>
                  </a:lnTo>
                  <a:lnTo>
                    <a:pt x="995" y="43"/>
                  </a:lnTo>
                  <a:lnTo>
                    <a:pt x="995" y="39"/>
                  </a:lnTo>
                  <a:lnTo>
                    <a:pt x="994" y="36"/>
                  </a:lnTo>
                  <a:lnTo>
                    <a:pt x="993" y="35"/>
                  </a:lnTo>
                  <a:lnTo>
                    <a:pt x="992" y="35"/>
                  </a:lnTo>
                  <a:lnTo>
                    <a:pt x="989" y="35"/>
                  </a:lnTo>
                  <a:lnTo>
                    <a:pt x="988" y="34"/>
                  </a:lnTo>
                  <a:lnTo>
                    <a:pt x="988" y="33"/>
                  </a:lnTo>
                  <a:lnTo>
                    <a:pt x="987" y="29"/>
                  </a:lnTo>
                  <a:lnTo>
                    <a:pt x="974" y="29"/>
                  </a:lnTo>
                  <a:lnTo>
                    <a:pt x="973" y="24"/>
                  </a:lnTo>
                  <a:lnTo>
                    <a:pt x="973" y="22"/>
                  </a:lnTo>
                  <a:lnTo>
                    <a:pt x="970" y="21"/>
                  </a:lnTo>
                  <a:lnTo>
                    <a:pt x="969" y="21"/>
                  </a:lnTo>
                  <a:lnTo>
                    <a:pt x="968" y="21"/>
                  </a:lnTo>
                  <a:lnTo>
                    <a:pt x="967" y="21"/>
                  </a:lnTo>
                  <a:lnTo>
                    <a:pt x="966" y="19"/>
                  </a:lnTo>
                  <a:lnTo>
                    <a:pt x="966" y="14"/>
                  </a:lnTo>
                  <a:lnTo>
                    <a:pt x="951" y="14"/>
                  </a:lnTo>
                  <a:lnTo>
                    <a:pt x="951" y="12"/>
                  </a:lnTo>
                  <a:lnTo>
                    <a:pt x="949" y="10"/>
                  </a:lnTo>
                  <a:lnTo>
                    <a:pt x="947" y="9"/>
                  </a:lnTo>
                  <a:lnTo>
                    <a:pt x="944" y="7"/>
                  </a:lnTo>
                  <a:lnTo>
                    <a:pt x="937" y="7"/>
                  </a:lnTo>
                  <a:lnTo>
                    <a:pt x="930" y="6"/>
                  </a:lnTo>
                  <a:lnTo>
                    <a:pt x="929" y="5"/>
                  </a:lnTo>
                  <a:lnTo>
                    <a:pt x="926" y="4"/>
                  </a:lnTo>
                  <a:lnTo>
                    <a:pt x="922" y="4"/>
                  </a:lnTo>
                  <a:lnTo>
                    <a:pt x="917" y="3"/>
                  </a:lnTo>
                  <a:lnTo>
                    <a:pt x="902" y="2"/>
                  </a:lnTo>
                  <a:lnTo>
                    <a:pt x="884" y="1"/>
                  </a:lnTo>
                  <a:lnTo>
                    <a:pt x="851" y="0"/>
                  </a:lnTo>
                  <a:lnTo>
                    <a:pt x="829" y="0"/>
                  </a:lnTo>
                  <a:lnTo>
                    <a:pt x="829" y="2"/>
                  </a:lnTo>
                  <a:lnTo>
                    <a:pt x="826" y="4"/>
                  </a:lnTo>
                  <a:lnTo>
                    <a:pt x="824" y="5"/>
                  </a:lnTo>
                  <a:lnTo>
                    <a:pt x="821" y="6"/>
                  </a:lnTo>
                  <a:lnTo>
                    <a:pt x="814" y="6"/>
                  </a:lnTo>
                  <a:lnTo>
                    <a:pt x="807" y="6"/>
                  </a:lnTo>
                  <a:lnTo>
                    <a:pt x="806" y="9"/>
                  </a:lnTo>
                  <a:lnTo>
                    <a:pt x="802" y="10"/>
                  </a:lnTo>
                  <a:lnTo>
                    <a:pt x="795" y="12"/>
                  </a:lnTo>
                  <a:lnTo>
                    <a:pt x="786" y="13"/>
                  </a:lnTo>
                  <a:lnTo>
                    <a:pt x="764" y="16"/>
                  </a:lnTo>
                  <a:lnTo>
                    <a:pt x="737" y="21"/>
                  </a:lnTo>
                  <a:lnTo>
                    <a:pt x="686" y="26"/>
                  </a:lnTo>
                  <a:lnTo>
                    <a:pt x="657" y="29"/>
                  </a:lnTo>
                  <a:lnTo>
                    <a:pt x="656" y="32"/>
                  </a:lnTo>
                  <a:lnTo>
                    <a:pt x="653" y="35"/>
                  </a:lnTo>
                  <a:lnTo>
                    <a:pt x="651" y="39"/>
                  </a:lnTo>
                  <a:lnTo>
                    <a:pt x="648" y="42"/>
                  </a:lnTo>
                  <a:lnTo>
                    <a:pt x="644" y="45"/>
                  </a:lnTo>
                  <a:lnTo>
                    <a:pt x="641" y="48"/>
                  </a:lnTo>
                  <a:lnTo>
                    <a:pt x="638" y="50"/>
                  </a:lnTo>
                  <a:lnTo>
                    <a:pt x="634" y="50"/>
                  </a:lnTo>
                  <a:lnTo>
                    <a:pt x="628" y="58"/>
                  </a:lnTo>
                  <a:lnTo>
                    <a:pt x="627" y="61"/>
                  </a:lnTo>
                  <a:lnTo>
                    <a:pt x="627" y="63"/>
                  </a:lnTo>
                  <a:lnTo>
                    <a:pt x="625" y="64"/>
                  </a:lnTo>
                  <a:lnTo>
                    <a:pt x="623" y="64"/>
                  </a:lnTo>
                  <a:lnTo>
                    <a:pt x="622" y="64"/>
                  </a:lnTo>
                  <a:lnTo>
                    <a:pt x="621" y="65"/>
                  </a:lnTo>
                  <a:lnTo>
                    <a:pt x="621" y="68"/>
                  </a:lnTo>
                  <a:lnTo>
                    <a:pt x="620" y="72"/>
                  </a:lnTo>
                  <a:lnTo>
                    <a:pt x="595" y="73"/>
                  </a:lnTo>
                  <a:lnTo>
                    <a:pt x="566" y="75"/>
                  </a:lnTo>
                  <a:lnTo>
                    <a:pt x="537" y="78"/>
                  </a:lnTo>
                  <a:lnTo>
                    <a:pt x="512" y="79"/>
                  </a:lnTo>
                  <a:lnTo>
                    <a:pt x="512" y="81"/>
                  </a:lnTo>
                  <a:lnTo>
                    <a:pt x="510" y="83"/>
                  </a:lnTo>
                  <a:lnTo>
                    <a:pt x="509" y="84"/>
                  </a:lnTo>
                  <a:lnTo>
                    <a:pt x="507" y="86"/>
                  </a:lnTo>
                  <a:lnTo>
                    <a:pt x="503" y="86"/>
                  </a:lnTo>
                  <a:lnTo>
                    <a:pt x="498" y="86"/>
                  </a:lnTo>
                  <a:lnTo>
                    <a:pt x="490" y="100"/>
                  </a:lnTo>
                  <a:lnTo>
                    <a:pt x="484" y="108"/>
                  </a:lnTo>
                  <a:lnTo>
                    <a:pt x="473" y="108"/>
                  </a:lnTo>
                  <a:lnTo>
                    <a:pt x="461" y="108"/>
                  </a:lnTo>
                  <a:lnTo>
                    <a:pt x="461" y="110"/>
                  </a:lnTo>
                  <a:lnTo>
                    <a:pt x="460" y="112"/>
                  </a:lnTo>
                  <a:lnTo>
                    <a:pt x="458" y="113"/>
                  </a:lnTo>
                  <a:lnTo>
                    <a:pt x="456" y="115"/>
                  </a:lnTo>
                  <a:lnTo>
                    <a:pt x="447" y="118"/>
                  </a:lnTo>
                  <a:lnTo>
                    <a:pt x="432" y="122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48" name="Freeform 14"/>
            <p:cNvSpPr>
              <a:spLocks noChangeAspect="1"/>
            </p:cNvSpPr>
            <p:nvPr/>
          </p:nvSpPr>
          <p:spPr bwMode="gray">
            <a:xfrm rot="355651">
              <a:off x="6058808" y="4083050"/>
              <a:ext cx="343835" cy="339610"/>
            </a:xfrm>
            <a:custGeom>
              <a:avLst/>
              <a:gdLst/>
              <a:ahLst/>
              <a:cxnLst>
                <a:cxn ang="0">
                  <a:pos x="325" y="177"/>
                </a:cxn>
                <a:cxn ang="0">
                  <a:pos x="226" y="263"/>
                </a:cxn>
                <a:cxn ang="0">
                  <a:pos x="194" y="297"/>
                </a:cxn>
                <a:cxn ang="0">
                  <a:pos x="175" y="336"/>
                </a:cxn>
                <a:cxn ang="0">
                  <a:pos x="106" y="377"/>
                </a:cxn>
                <a:cxn ang="0">
                  <a:pos x="24" y="418"/>
                </a:cxn>
                <a:cxn ang="0">
                  <a:pos x="30" y="548"/>
                </a:cxn>
                <a:cxn ang="0">
                  <a:pos x="14" y="608"/>
                </a:cxn>
                <a:cxn ang="0">
                  <a:pos x="2" y="682"/>
                </a:cxn>
                <a:cxn ang="0">
                  <a:pos x="36" y="712"/>
                </a:cxn>
                <a:cxn ang="0">
                  <a:pos x="71" y="737"/>
                </a:cxn>
                <a:cxn ang="0">
                  <a:pos x="110" y="848"/>
                </a:cxn>
                <a:cxn ang="0">
                  <a:pos x="139" y="982"/>
                </a:cxn>
                <a:cxn ang="0">
                  <a:pos x="213" y="1100"/>
                </a:cxn>
                <a:cxn ang="0">
                  <a:pos x="251" y="1332"/>
                </a:cxn>
                <a:cxn ang="0">
                  <a:pos x="283" y="1363"/>
                </a:cxn>
                <a:cxn ang="0">
                  <a:pos x="288" y="1403"/>
                </a:cxn>
                <a:cxn ang="0">
                  <a:pos x="269" y="1428"/>
                </a:cxn>
                <a:cxn ang="0">
                  <a:pos x="220" y="1562"/>
                </a:cxn>
                <a:cxn ang="0">
                  <a:pos x="183" y="1907"/>
                </a:cxn>
                <a:cxn ang="0">
                  <a:pos x="261" y="1994"/>
                </a:cxn>
                <a:cxn ang="0">
                  <a:pos x="372" y="1965"/>
                </a:cxn>
                <a:cxn ang="0">
                  <a:pos x="437" y="1925"/>
                </a:cxn>
                <a:cxn ang="0">
                  <a:pos x="500" y="1692"/>
                </a:cxn>
                <a:cxn ang="0">
                  <a:pos x="549" y="1495"/>
                </a:cxn>
                <a:cxn ang="0">
                  <a:pos x="703" y="1261"/>
                </a:cxn>
                <a:cxn ang="0">
                  <a:pos x="813" y="1175"/>
                </a:cxn>
                <a:cxn ang="0">
                  <a:pos x="989" y="1138"/>
                </a:cxn>
                <a:cxn ang="0">
                  <a:pos x="1089" y="1485"/>
                </a:cxn>
                <a:cxn ang="0">
                  <a:pos x="1171" y="1519"/>
                </a:cxn>
                <a:cxn ang="0">
                  <a:pos x="1227" y="1586"/>
                </a:cxn>
                <a:cxn ang="0">
                  <a:pos x="1309" y="1771"/>
                </a:cxn>
                <a:cxn ang="0">
                  <a:pos x="1429" y="1821"/>
                </a:cxn>
                <a:cxn ang="0">
                  <a:pos x="1517" y="1916"/>
                </a:cxn>
                <a:cxn ang="0">
                  <a:pos x="1553" y="1945"/>
                </a:cxn>
                <a:cxn ang="0">
                  <a:pos x="1595" y="2003"/>
                </a:cxn>
                <a:cxn ang="0">
                  <a:pos x="1667" y="2089"/>
                </a:cxn>
                <a:cxn ang="0">
                  <a:pos x="1751" y="2032"/>
                </a:cxn>
                <a:cxn ang="0">
                  <a:pos x="1810" y="1989"/>
                </a:cxn>
                <a:cxn ang="0">
                  <a:pos x="1833" y="1970"/>
                </a:cxn>
                <a:cxn ang="0">
                  <a:pos x="1792" y="1817"/>
                </a:cxn>
                <a:cxn ang="0">
                  <a:pos x="1708" y="1751"/>
                </a:cxn>
                <a:cxn ang="0">
                  <a:pos x="1649" y="1714"/>
                </a:cxn>
                <a:cxn ang="0">
                  <a:pos x="1572" y="1642"/>
                </a:cxn>
                <a:cxn ang="0">
                  <a:pos x="1561" y="1461"/>
                </a:cxn>
                <a:cxn ang="0">
                  <a:pos x="1620" y="1423"/>
                </a:cxn>
                <a:cxn ang="0">
                  <a:pos x="1689" y="1395"/>
                </a:cxn>
                <a:cxn ang="0">
                  <a:pos x="1710" y="1337"/>
                </a:cxn>
                <a:cxn ang="0">
                  <a:pos x="1696" y="1282"/>
                </a:cxn>
                <a:cxn ang="0">
                  <a:pos x="1627" y="1189"/>
                </a:cxn>
                <a:cxn ang="0">
                  <a:pos x="1495" y="913"/>
                </a:cxn>
                <a:cxn ang="0">
                  <a:pos x="1441" y="802"/>
                </a:cxn>
                <a:cxn ang="0">
                  <a:pos x="1342" y="764"/>
                </a:cxn>
                <a:cxn ang="0">
                  <a:pos x="1226" y="768"/>
                </a:cxn>
                <a:cxn ang="0">
                  <a:pos x="1033" y="744"/>
                </a:cxn>
                <a:cxn ang="0">
                  <a:pos x="994" y="708"/>
                </a:cxn>
                <a:cxn ang="0">
                  <a:pos x="921" y="683"/>
                </a:cxn>
                <a:cxn ang="0">
                  <a:pos x="820" y="435"/>
                </a:cxn>
                <a:cxn ang="0">
                  <a:pos x="729" y="283"/>
                </a:cxn>
                <a:cxn ang="0">
                  <a:pos x="682" y="69"/>
                </a:cxn>
                <a:cxn ang="0">
                  <a:pos x="629" y="1"/>
                </a:cxn>
                <a:cxn ang="0">
                  <a:pos x="433" y="4"/>
                </a:cxn>
              </a:cxnLst>
              <a:rect l="0" t="0" r="r" b="b"/>
              <a:pathLst>
                <a:path w="1883" h="2109">
                  <a:moveTo>
                    <a:pt x="303" y="7"/>
                  </a:moveTo>
                  <a:lnTo>
                    <a:pt x="297" y="16"/>
                  </a:lnTo>
                  <a:lnTo>
                    <a:pt x="295" y="24"/>
                  </a:lnTo>
                  <a:lnTo>
                    <a:pt x="293" y="35"/>
                  </a:lnTo>
                  <a:lnTo>
                    <a:pt x="293" y="46"/>
                  </a:lnTo>
                  <a:lnTo>
                    <a:pt x="294" y="57"/>
                  </a:lnTo>
                  <a:lnTo>
                    <a:pt x="296" y="68"/>
                  </a:lnTo>
                  <a:lnTo>
                    <a:pt x="299" y="80"/>
                  </a:lnTo>
                  <a:lnTo>
                    <a:pt x="303" y="93"/>
                  </a:lnTo>
                  <a:lnTo>
                    <a:pt x="311" y="117"/>
                  </a:lnTo>
                  <a:lnTo>
                    <a:pt x="318" y="142"/>
                  </a:lnTo>
                  <a:lnTo>
                    <a:pt x="321" y="154"/>
                  </a:lnTo>
                  <a:lnTo>
                    <a:pt x="324" y="166"/>
                  </a:lnTo>
                  <a:lnTo>
                    <a:pt x="325" y="177"/>
                  </a:lnTo>
                  <a:lnTo>
                    <a:pt x="326" y="187"/>
                  </a:lnTo>
                  <a:lnTo>
                    <a:pt x="314" y="201"/>
                  </a:lnTo>
                  <a:lnTo>
                    <a:pt x="314" y="213"/>
                  </a:lnTo>
                  <a:lnTo>
                    <a:pt x="307" y="225"/>
                  </a:lnTo>
                  <a:lnTo>
                    <a:pt x="299" y="229"/>
                  </a:lnTo>
                  <a:lnTo>
                    <a:pt x="289" y="235"/>
                  </a:lnTo>
                  <a:lnTo>
                    <a:pt x="284" y="240"/>
                  </a:lnTo>
                  <a:lnTo>
                    <a:pt x="280" y="244"/>
                  </a:lnTo>
                  <a:lnTo>
                    <a:pt x="277" y="248"/>
                  </a:lnTo>
                  <a:lnTo>
                    <a:pt x="276" y="250"/>
                  </a:lnTo>
                  <a:lnTo>
                    <a:pt x="265" y="252"/>
                  </a:lnTo>
                  <a:lnTo>
                    <a:pt x="251" y="257"/>
                  </a:lnTo>
                  <a:lnTo>
                    <a:pt x="237" y="261"/>
                  </a:lnTo>
                  <a:lnTo>
                    <a:pt x="226" y="263"/>
                  </a:lnTo>
                  <a:lnTo>
                    <a:pt x="223" y="267"/>
                  </a:lnTo>
                  <a:lnTo>
                    <a:pt x="220" y="270"/>
                  </a:lnTo>
                  <a:lnTo>
                    <a:pt x="217" y="272"/>
                  </a:lnTo>
                  <a:lnTo>
                    <a:pt x="216" y="274"/>
                  </a:lnTo>
                  <a:lnTo>
                    <a:pt x="213" y="278"/>
                  </a:lnTo>
                  <a:lnTo>
                    <a:pt x="213" y="281"/>
                  </a:lnTo>
                  <a:lnTo>
                    <a:pt x="209" y="282"/>
                  </a:lnTo>
                  <a:lnTo>
                    <a:pt x="205" y="286"/>
                  </a:lnTo>
                  <a:lnTo>
                    <a:pt x="202" y="289"/>
                  </a:lnTo>
                  <a:lnTo>
                    <a:pt x="201" y="295"/>
                  </a:lnTo>
                  <a:lnTo>
                    <a:pt x="197" y="295"/>
                  </a:lnTo>
                  <a:lnTo>
                    <a:pt x="196" y="295"/>
                  </a:lnTo>
                  <a:lnTo>
                    <a:pt x="194" y="296"/>
                  </a:lnTo>
                  <a:lnTo>
                    <a:pt x="194" y="297"/>
                  </a:lnTo>
                  <a:lnTo>
                    <a:pt x="194" y="298"/>
                  </a:lnTo>
                  <a:lnTo>
                    <a:pt x="193" y="299"/>
                  </a:lnTo>
                  <a:lnTo>
                    <a:pt x="192" y="300"/>
                  </a:lnTo>
                  <a:lnTo>
                    <a:pt x="189" y="300"/>
                  </a:lnTo>
                  <a:lnTo>
                    <a:pt x="189" y="312"/>
                  </a:lnTo>
                  <a:lnTo>
                    <a:pt x="187" y="314"/>
                  </a:lnTo>
                  <a:lnTo>
                    <a:pt x="184" y="315"/>
                  </a:lnTo>
                  <a:lnTo>
                    <a:pt x="183" y="317"/>
                  </a:lnTo>
                  <a:lnTo>
                    <a:pt x="183" y="320"/>
                  </a:lnTo>
                  <a:lnTo>
                    <a:pt x="182" y="326"/>
                  </a:lnTo>
                  <a:lnTo>
                    <a:pt x="182" y="331"/>
                  </a:lnTo>
                  <a:lnTo>
                    <a:pt x="180" y="333"/>
                  </a:lnTo>
                  <a:lnTo>
                    <a:pt x="178" y="334"/>
                  </a:lnTo>
                  <a:lnTo>
                    <a:pt x="175" y="336"/>
                  </a:lnTo>
                  <a:lnTo>
                    <a:pt x="173" y="339"/>
                  </a:lnTo>
                  <a:lnTo>
                    <a:pt x="171" y="345"/>
                  </a:lnTo>
                  <a:lnTo>
                    <a:pt x="170" y="350"/>
                  </a:lnTo>
                  <a:lnTo>
                    <a:pt x="165" y="351"/>
                  </a:lnTo>
                  <a:lnTo>
                    <a:pt x="161" y="355"/>
                  </a:lnTo>
                  <a:lnTo>
                    <a:pt x="158" y="358"/>
                  </a:lnTo>
                  <a:lnTo>
                    <a:pt x="158" y="363"/>
                  </a:lnTo>
                  <a:lnTo>
                    <a:pt x="151" y="369"/>
                  </a:lnTo>
                  <a:lnTo>
                    <a:pt x="144" y="375"/>
                  </a:lnTo>
                  <a:lnTo>
                    <a:pt x="136" y="375"/>
                  </a:lnTo>
                  <a:lnTo>
                    <a:pt x="126" y="375"/>
                  </a:lnTo>
                  <a:lnTo>
                    <a:pt x="115" y="375"/>
                  </a:lnTo>
                  <a:lnTo>
                    <a:pt x="107" y="375"/>
                  </a:lnTo>
                  <a:lnTo>
                    <a:pt x="106" y="377"/>
                  </a:lnTo>
                  <a:lnTo>
                    <a:pt x="103" y="379"/>
                  </a:lnTo>
                  <a:lnTo>
                    <a:pt x="98" y="380"/>
                  </a:lnTo>
                  <a:lnTo>
                    <a:pt x="94" y="380"/>
                  </a:lnTo>
                  <a:lnTo>
                    <a:pt x="83" y="382"/>
                  </a:lnTo>
                  <a:lnTo>
                    <a:pt x="76" y="382"/>
                  </a:lnTo>
                  <a:lnTo>
                    <a:pt x="75" y="384"/>
                  </a:lnTo>
                  <a:lnTo>
                    <a:pt x="75" y="385"/>
                  </a:lnTo>
                  <a:lnTo>
                    <a:pt x="74" y="386"/>
                  </a:lnTo>
                  <a:lnTo>
                    <a:pt x="72" y="387"/>
                  </a:lnTo>
                  <a:lnTo>
                    <a:pt x="68" y="388"/>
                  </a:lnTo>
                  <a:lnTo>
                    <a:pt x="64" y="388"/>
                  </a:lnTo>
                  <a:lnTo>
                    <a:pt x="38" y="413"/>
                  </a:lnTo>
                  <a:lnTo>
                    <a:pt x="26" y="413"/>
                  </a:lnTo>
                  <a:lnTo>
                    <a:pt x="24" y="418"/>
                  </a:lnTo>
                  <a:lnTo>
                    <a:pt x="19" y="425"/>
                  </a:lnTo>
                  <a:lnTo>
                    <a:pt x="12" y="430"/>
                  </a:lnTo>
                  <a:lnTo>
                    <a:pt x="7" y="432"/>
                  </a:lnTo>
                  <a:lnTo>
                    <a:pt x="7" y="500"/>
                  </a:lnTo>
                  <a:lnTo>
                    <a:pt x="11" y="505"/>
                  </a:lnTo>
                  <a:lnTo>
                    <a:pt x="16" y="512"/>
                  </a:lnTo>
                  <a:lnTo>
                    <a:pt x="19" y="514"/>
                  </a:lnTo>
                  <a:lnTo>
                    <a:pt x="21" y="517"/>
                  </a:lnTo>
                  <a:lnTo>
                    <a:pt x="24" y="519"/>
                  </a:lnTo>
                  <a:lnTo>
                    <a:pt x="26" y="519"/>
                  </a:lnTo>
                  <a:lnTo>
                    <a:pt x="26" y="531"/>
                  </a:lnTo>
                  <a:lnTo>
                    <a:pt x="28" y="533"/>
                  </a:lnTo>
                  <a:lnTo>
                    <a:pt x="29" y="540"/>
                  </a:lnTo>
                  <a:lnTo>
                    <a:pt x="30" y="548"/>
                  </a:lnTo>
                  <a:lnTo>
                    <a:pt x="31" y="558"/>
                  </a:lnTo>
                  <a:lnTo>
                    <a:pt x="31" y="577"/>
                  </a:lnTo>
                  <a:lnTo>
                    <a:pt x="31" y="588"/>
                  </a:lnTo>
                  <a:lnTo>
                    <a:pt x="28" y="588"/>
                  </a:lnTo>
                  <a:lnTo>
                    <a:pt x="27" y="589"/>
                  </a:lnTo>
                  <a:lnTo>
                    <a:pt x="26" y="590"/>
                  </a:lnTo>
                  <a:lnTo>
                    <a:pt x="26" y="591"/>
                  </a:lnTo>
                  <a:lnTo>
                    <a:pt x="26" y="593"/>
                  </a:lnTo>
                  <a:lnTo>
                    <a:pt x="25" y="594"/>
                  </a:lnTo>
                  <a:lnTo>
                    <a:pt x="24" y="594"/>
                  </a:lnTo>
                  <a:lnTo>
                    <a:pt x="19" y="594"/>
                  </a:lnTo>
                  <a:lnTo>
                    <a:pt x="19" y="607"/>
                  </a:lnTo>
                  <a:lnTo>
                    <a:pt x="16" y="607"/>
                  </a:lnTo>
                  <a:lnTo>
                    <a:pt x="14" y="608"/>
                  </a:lnTo>
                  <a:lnTo>
                    <a:pt x="14" y="609"/>
                  </a:lnTo>
                  <a:lnTo>
                    <a:pt x="14" y="610"/>
                  </a:lnTo>
                  <a:lnTo>
                    <a:pt x="14" y="612"/>
                  </a:lnTo>
                  <a:lnTo>
                    <a:pt x="12" y="612"/>
                  </a:lnTo>
                  <a:lnTo>
                    <a:pt x="10" y="613"/>
                  </a:lnTo>
                  <a:lnTo>
                    <a:pt x="7" y="613"/>
                  </a:lnTo>
                  <a:lnTo>
                    <a:pt x="7" y="626"/>
                  </a:lnTo>
                  <a:lnTo>
                    <a:pt x="5" y="627"/>
                  </a:lnTo>
                  <a:lnTo>
                    <a:pt x="4" y="634"/>
                  </a:lnTo>
                  <a:lnTo>
                    <a:pt x="2" y="642"/>
                  </a:lnTo>
                  <a:lnTo>
                    <a:pt x="1" y="652"/>
                  </a:lnTo>
                  <a:lnTo>
                    <a:pt x="1" y="671"/>
                  </a:lnTo>
                  <a:lnTo>
                    <a:pt x="0" y="682"/>
                  </a:lnTo>
                  <a:lnTo>
                    <a:pt x="2" y="682"/>
                  </a:lnTo>
                  <a:lnTo>
                    <a:pt x="5" y="683"/>
                  </a:lnTo>
                  <a:lnTo>
                    <a:pt x="6" y="684"/>
                  </a:lnTo>
                  <a:lnTo>
                    <a:pt x="6" y="685"/>
                  </a:lnTo>
                  <a:lnTo>
                    <a:pt x="7" y="690"/>
                  </a:lnTo>
                  <a:lnTo>
                    <a:pt x="7" y="694"/>
                  </a:lnTo>
                  <a:lnTo>
                    <a:pt x="9" y="695"/>
                  </a:lnTo>
                  <a:lnTo>
                    <a:pt x="14" y="699"/>
                  </a:lnTo>
                  <a:lnTo>
                    <a:pt x="18" y="702"/>
                  </a:lnTo>
                  <a:lnTo>
                    <a:pt x="19" y="706"/>
                  </a:lnTo>
                  <a:lnTo>
                    <a:pt x="31" y="706"/>
                  </a:lnTo>
                  <a:lnTo>
                    <a:pt x="33" y="709"/>
                  </a:lnTo>
                  <a:lnTo>
                    <a:pt x="33" y="711"/>
                  </a:lnTo>
                  <a:lnTo>
                    <a:pt x="35" y="712"/>
                  </a:lnTo>
                  <a:lnTo>
                    <a:pt x="36" y="712"/>
                  </a:lnTo>
                  <a:lnTo>
                    <a:pt x="40" y="713"/>
                  </a:lnTo>
                  <a:lnTo>
                    <a:pt x="45" y="713"/>
                  </a:lnTo>
                  <a:lnTo>
                    <a:pt x="45" y="715"/>
                  </a:lnTo>
                  <a:lnTo>
                    <a:pt x="46" y="716"/>
                  </a:lnTo>
                  <a:lnTo>
                    <a:pt x="47" y="718"/>
                  </a:lnTo>
                  <a:lnTo>
                    <a:pt x="48" y="719"/>
                  </a:lnTo>
                  <a:lnTo>
                    <a:pt x="53" y="719"/>
                  </a:lnTo>
                  <a:lnTo>
                    <a:pt x="57" y="720"/>
                  </a:lnTo>
                  <a:lnTo>
                    <a:pt x="57" y="722"/>
                  </a:lnTo>
                  <a:lnTo>
                    <a:pt x="59" y="725"/>
                  </a:lnTo>
                  <a:lnTo>
                    <a:pt x="62" y="728"/>
                  </a:lnTo>
                  <a:lnTo>
                    <a:pt x="64" y="731"/>
                  </a:lnTo>
                  <a:lnTo>
                    <a:pt x="67" y="734"/>
                  </a:lnTo>
                  <a:lnTo>
                    <a:pt x="71" y="737"/>
                  </a:lnTo>
                  <a:lnTo>
                    <a:pt x="73" y="738"/>
                  </a:lnTo>
                  <a:lnTo>
                    <a:pt x="76" y="738"/>
                  </a:lnTo>
                  <a:lnTo>
                    <a:pt x="76" y="751"/>
                  </a:lnTo>
                  <a:lnTo>
                    <a:pt x="78" y="751"/>
                  </a:lnTo>
                  <a:lnTo>
                    <a:pt x="81" y="753"/>
                  </a:lnTo>
                  <a:lnTo>
                    <a:pt x="83" y="758"/>
                  </a:lnTo>
                  <a:lnTo>
                    <a:pt x="86" y="762"/>
                  </a:lnTo>
                  <a:lnTo>
                    <a:pt x="91" y="776"/>
                  </a:lnTo>
                  <a:lnTo>
                    <a:pt x="96" y="790"/>
                  </a:lnTo>
                  <a:lnTo>
                    <a:pt x="101" y="807"/>
                  </a:lnTo>
                  <a:lnTo>
                    <a:pt x="104" y="821"/>
                  </a:lnTo>
                  <a:lnTo>
                    <a:pt x="106" y="835"/>
                  </a:lnTo>
                  <a:lnTo>
                    <a:pt x="107" y="845"/>
                  </a:lnTo>
                  <a:lnTo>
                    <a:pt x="110" y="848"/>
                  </a:lnTo>
                  <a:lnTo>
                    <a:pt x="112" y="858"/>
                  </a:lnTo>
                  <a:lnTo>
                    <a:pt x="114" y="873"/>
                  </a:lnTo>
                  <a:lnTo>
                    <a:pt x="115" y="889"/>
                  </a:lnTo>
                  <a:lnTo>
                    <a:pt x="119" y="923"/>
                  </a:lnTo>
                  <a:lnTo>
                    <a:pt x="120" y="944"/>
                  </a:lnTo>
                  <a:lnTo>
                    <a:pt x="122" y="945"/>
                  </a:lnTo>
                  <a:lnTo>
                    <a:pt x="123" y="949"/>
                  </a:lnTo>
                  <a:lnTo>
                    <a:pt x="125" y="952"/>
                  </a:lnTo>
                  <a:lnTo>
                    <a:pt x="126" y="956"/>
                  </a:lnTo>
                  <a:lnTo>
                    <a:pt x="129" y="962"/>
                  </a:lnTo>
                  <a:lnTo>
                    <a:pt x="131" y="965"/>
                  </a:lnTo>
                  <a:lnTo>
                    <a:pt x="134" y="969"/>
                  </a:lnTo>
                  <a:lnTo>
                    <a:pt x="139" y="970"/>
                  </a:lnTo>
                  <a:lnTo>
                    <a:pt x="139" y="982"/>
                  </a:lnTo>
                  <a:lnTo>
                    <a:pt x="143" y="987"/>
                  </a:lnTo>
                  <a:lnTo>
                    <a:pt x="148" y="991"/>
                  </a:lnTo>
                  <a:lnTo>
                    <a:pt x="152" y="993"/>
                  </a:lnTo>
                  <a:lnTo>
                    <a:pt x="158" y="994"/>
                  </a:lnTo>
                  <a:lnTo>
                    <a:pt x="161" y="1004"/>
                  </a:lnTo>
                  <a:lnTo>
                    <a:pt x="171" y="1022"/>
                  </a:lnTo>
                  <a:lnTo>
                    <a:pt x="178" y="1032"/>
                  </a:lnTo>
                  <a:lnTo>
                    <a:pt x="183" y="1040"/>
                  </a:lnTo>
                  <a:lnTo>
                    <a:pt x="189" y="1047"/>
                  </a:lnTo>
                  <a:lnTo>
                    <a:pt x="194" y="1050"/>
                  </a:lnTo>
                  <a:lnTo>
                    <a:pt x="198" y="1064"/>
                  </a:lnTo>
                  <a:lnTo>
                    <a:pt x="201" y="1076"/>
                  </a:lnTo>
                  <a:lnTo>
                    <a:pt x="213" y="1088"/>
                  </a:lnTo>
                  <a:lnTo>
                    <a:pt x="213" y="1100"/>
                  </a:lnTo>
                  <a:lnTo>
                    <a:pt x="216" y="1103"/>
                  </a:lnTo>
                  <a:lnTo>
                    <a:pt x="217" y="1107"/>
                  </a:lnTo>
                  <a:lnTo>
                    <a:pt x="218" y="1113"/>
                  </a:lnTo>
                  <a:lnTo>
                    <a:pt x="219" y="1120"/>
                  </a:lnTo>
                  <a:lnTo>
                    <a:pt x="219" y="1135"/>
                  </a:lnTo>
                  <a:lnTo>
                    <a:pt x="220" y="1144"/>
                  </a:lnTo>
                  <a:lnTo>
                    <a:pt x="222" y="1147"/>
                  </a:lnTo>
                  <a:lnTo>
                    <a:pt x="225" y="1155"/>
                  </a:lnTo>
                  <a:lnTo>
                    <a:pt x="227" y="1166"/>
                  </a:lnTo>
                  <a:lnTo>
                    <a:pt x="228" y="1178"/>
                  </a:lnTo>
                  <a:lnTo>
                    <a:pt x="231" y="1203"/>
                  </a:lnTo>
                  <a:lnTo>
                    <a:pt x="232" y="1213"/>
                  </a:lnTo>
                  <a:lnTo>
                    <a:pt x="245" y="1326"/>
                  </a:lnTo>
                  <a:lnTo>
                    <a:pt x="251" y="1332"/>
                  </a:lnTo>
                  <a:lnTo>
                    <a:pt x="254" y="1332"/>
                  </a:lnTo>
                  <a:lnTo>
                    <a:pt x="257" y="1335"/>
                  </a:lnTo>
                  <a:lnTo>
                    <a:pt x="261" y="1338"/>
                  </a:lnTo>
                  <a:lnTo>
                    <a:pt x="266" y="1343"/>
                  </a:lnTo>
                  <a:lnTo>
                    <a:pt x="269" y="1346"/>
                  </a:lnTo>
                  <a:lnTo>
                    <a:pt x="273" y="1350"/>
                  </a:lnTo>
                  <a:lnTo>
                    <a:pt x="275" y="1354"/>
                  </a:lnTo>
                  <a:lnTo>
                    <a:pt x="276" y="1357"/>
                  </a:lnTo>
                  <a:lnTo>
                    <a:pt x="279" y="1357"/>
                  </a:lnTo>
                  <a:lnTo>
                    <a:pt x="282" y="1358"/>
                  </a:lnTo>
                  <a:lnTo>
                    <a:pt x="282" y="1359"/>
                  </a:lnTo>
                  <a:lnTo>
                    <a:pt x="283" y="1360"/>
                  </a:lnTo>
                  <a:lnTo>
                    <a:pt x="283" y="1362"/>
                  </a:lnTo>
                  <a:lnTo>
                    <a:pt x="283" y="1363"/>
                  </a:lnTo>
                  <a:lnTo>
                    <a:pt x="285" y="1363"/>
                  </a:lnTo>
                  <a:lnTo>
                    <a:pt x="288" y="1364"/>
                  </a:lnTo>
                  <a:lnTo>
                    <a:pt x="288" y="1376"/>
                  </a:lnTo>
                  <a:lnTo>
                    <a:pt x="290" y="1376"/>
                  </a:lnTo>
                  <a:lnTo>
                    <a:pt x="292" y="1378"/>
                  </a:lnTo>
                  <a:lnTo>
                    <a:pt x="293" y="1380"/>
                  </a:lnTo>
                  <a:lnTo>
                    <a:pt x="294" y="1383"/>
                  </a:lnTo>
                  <a:lnTo>
                    <a:pt x="295" y="1389"/>
                  </a:lnTo>
                  <a:lnTo>
                    <a:pt x="295" y="1395"/>
                  </a:lnTo>
                  <a:lnTo>
                    <a:pt x="293" y="1395"/>
                  </a:lnTo>
                  <a:lnTo>
                    <a:pt x="292" y="1396"/>
                  </a:lnTo>
                  <a:lnTo>
                    <a:pt x="290" y="1397"/>
                  </a:lnTo>
                  <a:lnTo>
                    <a:pt x="289" y="1398"/>
                  </a:lnTo>
                  <a:lnTo>
                    <a:pt x="288" y="1403"/>
                  </a:lnTo>
                  <a:lnTo>
                    <a:pt x="288" y="1407"/>
                  </a:lnTo>
                  <a:lnTo>
                    <a:pt x="285" y="1407"/>
                  </a:lnTo>
                  <a:lnTo>
                    <a:pt x="283" y="1408"/>
                  </a:lnTo>
                  <a:lnTo>
                    <a:pt x="283" y="1410"/>
                  </a:lnTo>
                  <a:lnTo>
                    <a:pt x="283" y="1411"/>
                  </a:lnTo>
                  <a:lnTo>
                    <a:pt x="282" y="1412"/>
                  </a:lnTo>
                  <a:lnTo>
                    <a:pt x="282" y="1413"/>
                  </a:lnTo>
                  <a:lnTo>
                    <a:pt x="279" y="1413"/>
                  </a:lnTo>
                  <a:lnTo>
                    <a:pt x="276" y="1413"/>
                  </a:lnTo>
                  <a:lnTo>
                    <a:pt x="276" y="1426"/>
                  </a:lnTo>
                  <a:lnTo>
                    <a:pt x="273" y="1426"/>
                  </a:lnTo>
                  <a:lnTo>
                    <a:pt x="270" y="1426"/>
                  </a:lnTo>
                  <a:lnTo>
                    <a:pt x="269" y="1427"/>
                  </a:lnTo>
                  <a:lnTo>
                    <a:pt x="269" y="1428"/>
                  </a:lnTo>
                  <a:lnTo>
                    <a:pt x="269" y="1430"/>
                  </a:lnTo>
                  <a:lnTo>
                    <a:pt x="269" y="1431"/>
                  </a:lnTo>
                  <a:lnTo>
                    <a:pt x="267" y="1432"/>
                  </a:lnTo>
                  <a:lnTo>
                    <a:pt x="264" y="1432"/>
                  </a:lnTo>
                  <a:lnTo>
                    <a:pt x="263" y="1439"/>
                  </a:lnTo>
                  <a:lnTo>
                    <a:pt x="259" y="1447"/>
                  </a:lnTo>
                  <a:lnTo>
                    <a:pt x="255" y="1457"/>
                  </a:lnTo>
                  <a:lnTo>
                    <a:pt x="249" y="1470"/>
                  </a:lnTo>
                  <a:lnTo>
                    <a:pt x="244" y="1481"/>
                  </a:lnTo>
                  <a:lnTo>
                    <a:pt x="237" y="1492"/>
                  </a:lnTo>
                  <a:lnTo>
                    <a:pt x="231" y="1501"/>
                  </a:lnTo>
                  <a:lnTo>
                    <a:pt x="226" y="1507"/>
                  </a:lnTo>
                  <a:lnTo>
                    <a:pt x="225" y="1533"/>
                  </a:lnTo>
                  <a:lnTo>
                    <a:pt x="220" y="1562"/>
                  </a:lnTo>
                  <a:lnTo>
                    <a:pt x="216" y="1591"/>
                  </a:lnTo>
                  <a:lnTo>
                    <a:pt x="209" y="1623"/>
                  </a:lnTo>
                  <a:lnTo>
                    <a:pt x="203" y="1654"/>
                  </a:lnTo>
                  <a:lnTo>
                    <a:pt x="198" y="1685"/>
                  </a:lnTo>
                  <a:lnTo>
                    <a:pt x="196" y="1701"/>
                  </a:lnTo>
                  <a:lnTo>
                    <a:pt x="193" y="1716"/>
                  </a:lnTo>
                  <a:lnTo>
                    <a:pt x="192" y="1732"/>
                  </a:lnTo>
                  <a:lnTo>
                    <a:pt x="192" y="1748"/>
                  </a:lnTo>
                  <a:lnTo>
                    <a:pt x="191" y="1762"/>
                  </a:lnTo>
                  <a:lnTo>
                    <a:pt x="190" y="1787"/>
                  </a:lnTo>
                  <a:lnTo>
                    <a:pt x="188" y="1817"/>
                  </a:lnTo>
                  <a:lnTo>
                    <a:pt x="186" y="1849"/>
                  </a:lnTo>
                  <a:lnTo>
                    <a:pt x="184" y="1880"/>
                  </a:lnTo>
                  <a:lnTo>
                    <a:pt x="183" y="1907"/>
                  </a:lnTo>
                  <a:lnTo>
                    <a:pt x="184" y="1917"/>
                  </a:lnTo>
                  <a:lnTo>
                    <a:pt x="184" y="1925"/>
                  </a:lnTo>
                  <a:lnTo>
                    <a:pt x="187" y="1931"/>
                  </a:lnTo>
                  <a:lnTo>
                    <a:pt x="189" y="1932"/>
                  </a:lnTo>
                  <a:lnTo>
                    <a:pt x="189" y="1951"/>
                  </a:lnTo>
                  <a:lnTo>
                    <a:pt x="194" y="1957"/>
                  </a:lnTo>
                  <a:lnTo>
                    <a:pt x="205" y="1968"/>
                  </a:lnTo>
                  <a:lnTo>
                    <a:pt x="213" y="1979"/>
                  </a:lnTo>
                  <a:lnTo>
                    <a:pt x="220" y="1989"/>
                  </a:lnTo>
                  <a:lnTo>
                    <a:pt x="232" y="1989"/>
                  </a:lnTo>
                  <a:lnTo>
                    <a:pt x="235" y="1991"/>
                  </a:lnTo>
                  <a:lnTo>
                    <a:pt x="241" y="1992"/>
                  </a:lnTo>
                  <a:lnTo>
                    <a:pt x="250" y="1993"/>
                  </a:lnTo>
                  <a:lnTo>
                    <a:pt x="261" y="1994"/>
                  </a:lnTo>
                  <a:lnTo>
                    <a:pt x="285" y="1994"/>
                  </a:lnTo>
                  <a:lnTo>
                    <a:pt x="301" y="1994"/>
                  </a:lnTo>
                  <a:lnTo>
                    <a:pt x="314" y="1982"/>
                  </a:lnTo>
                  <a:lnTo>
                    <a:pt x="321" y="1982"/>
                  </a:lnTo>
                  <a:lnTo>
                    <a:pt x="327" y="1980"/>
                  </a:lnTo>
                  <a:lnTo>
                    <a:pt x="334" y="1979"/>
                  </a:lnTo>
                  <a:lnTo>
                    <a:pt x="342" y="1976"/>
                  </a:lnTo>
                  <a:lnTo>
                    <a:pt x="349" y="1974"/>
                  </a:lnTo>
                  <a:lnTo>
                    <a:pt x="355" y="1972"/>
                  </a:lnTo>
                  <a:lnTo>
                    <a:pt x="363" y="1971"/>
                  </a:lnTo>
                  <a:lnTo>
                    <a:pt x="370" y="1970"/>
                  </a:lnTo>
                  <a:lnTo>
                    <a:pt x="370" y="1968"/>
                  </a:lnTo>
                  <a:lnTo>
                    <a:pt x="371" y="1966"/>
                  </a:lnTo>
                  <a:lnTo>
                    <a:pt x="372" y="1965"/>
                  </a:lnTo>
                  <a:lnTo>
                    <a:pt x="374" y="1964"/>
                  </a:lnTo>
                  <a:lnTo>
                    <a:pt x="378" y="1964"/>
                  </a:lnTo>
                  <a:lnTo>
                    <a:pt x="382" y="1963"/>
                  </a:lnTo>
                  <a:lnTo>
                    <a:pt x="386" y="1959"/>
                  </a:lnTo>
                  <a:lnTo>
                    <a:pt x="392" y="1955"/>
                  </a:lnTo>
                  <a:lnTo>
                    <a:pt x="399" y="1952"/>
                  </a:lnTo>
                  <a:lnTo>
                    <a:pt x="408" y="1951"/>
                  </a:lnTo>
                  <a:lnTo>
                    <a:pt x="410" y="1949"/>
                  </a:lnTo>
                  <a:lnTo>
                    <a:pt x="418" y="1942"/>
                  </a:lnTo>
                  <a:lnTo>
                    <a:pt x="426" y="1935"/>
                  </a:lnTo>
                  <a:lnTo>
                    <a:pt x="432" y="1932"/>
                  </a:lnTo>
                  <a:lnTo>
                    <a:pt x="433" y="1930"/>
                  </a:lnTo>
                  <a:lnTo>
                    <a:pt x="434" y="1927"/>
                  </a:lnTo>
                  <a:lnTo>
                    <a:pt x="437" y="1925"/>
                  </a:lnTo>
                  <a:lnTo>
                    <a:pt x="439" y="1924"/>
                  </a:lnTo>
                  <a:lnTo>
                    <a:pt x="446" y="1921"/>
                  </a:lnTo>
                  <a:lnTo>
                    <a:pt x="451" y="1920"/>
                  </a:lnTo>
                  <a:lnTo>
                    <a:pt x="457" y="1904"/>
                  </a:lnTo>
                  <a:lnTo>
                    <a:pt x="463" y="1888"/>
                  </a:lnTo>
                  <a:lnTo>
                    <a:pt x="466" y="1886"/>
                  </a:lnTo>
                  <a:lnTo>
                    <a:pt x="469" y="1880"/>
                  </a:lnTo>
                  <a:lnTo>
                    <a:pt x="471" y="1872"/>
                  </a:lnTo>
                  <a:lnTo>
                    <a:pt x="475" y="1859"/>
                  </a:lnTo>
                  <a:lnTo>
                    <a:pt x="481" y="1828"/>
                  </a:lnTo>
                  <a:lnTo>
                    <a:pt x="487" y="1791"/>
                  </a:lnTo>
                  <a:lnTo>
                    <a:pt x="493" y="1754"/>
                  </a:lnTo>
                  <a:lnTo>
                    <a:pt x="497" y="1720"/>
                  </a:lnTo>
                  <a:lnTo>
                    <a:pt x="500" y="1692"/>
                  </a:lnTo>
                  <a:lnTo>
                    <a:pt x="501" y="1676"/>
                  </a:lnTo>
                  <a:lnTo>
                    <a:pt x="504" y="1674"/>
                  </a:lnTo>
                  <a:lnTo>
                    <a:pt x="506" y="1667"/>
                  </a:lnTo>
                  <a:lnTo>
                    <a:pt x="508" y="1658"/>
                  </a:lnTo>
                  <a:lnTo>
                    <a:pt x="509" y="1648"/>
                  </a:lnTo>
                  <a:lnTo>
                    <a:pt x="513" y="1628"/>
                  </a:lnTo>
                  <a:lnTo>
                    <a:pt x="514" y="1619"/>
                  </a:lnTo>
                  <a:lnTo>
                    <a:pt x="517" y="1615"/>
                  </a:lnTo>
                  <a:lnTo>
                    <a:pt x="524" y="1604"/>
                  </a:lnTo>
                  <a:lnTo>
                    <a:pt x="532" y="1590"/>
                  </a:lnTo>
                  <a:lnTo>
                    <a:pt x="538" y="1582"/>
                  </a:lnTo>
                  <a:lnTo>
                    <a:pt x="539" y="1559"/>
                  </a:lnTo>
                  <a:lnTo>
                    <a:pt x="543" y="1529"/>
                  </a:lnTo>
                  <a:lnTo>
                    <a:pt x="549" y="1495"/>
                  </a:lnTo>
                  <a:lnTo>
                    <a:pt x="558" y="1460"/>
                  </a:lnTo>
                  <a:lnTo>
                    <a:pt x="563" y="1441"/>
                  </a:lnTo>
                  <a:lnTo>
                    <a:pt x="570" y="1422"/>
                  </a:lnTo>
                  <a:lnTo>
                    <a:pt x="576" y="1404"/>
                  </a:lnTo>
                  <a:lnTo>
                    <a:pt x="584" y="1386"/>
                  </a:lnTo>
                  <a:lnTo>
                    <a:pt x="592" y="1368"/>
                  </a:lnTo>
                  <a:lnTo>
                    <a:pt x="602" y="1353"/>
                  </a:lnTo>
                  <a:lnTo>
                    <a:pt x="612" y="1337"/>
                  </a:lnTo>
                  <a:lnTo>
                    <a:pt x="623" y="1324"/>
                  </a:lnTo>
                  <a:lnTo>
                    <a:pt x="635" y="1310"/>
                  </a:lnTo>
                  <a:lnTo>
                    <a:pt x="648" y="1298"/>
                  </a:lnTo>
                  <a:lnTo>
                    <a:pt x="662" y="1288"/>
                  </a:lnTo>
                  <a:lnTo>
                    <a:pt x="676" y="1278"/>
                  </a:lnTo>
                  <a:lnTo>
                    <a:pt x="703" y="1261"/>
                  </a:lnTo>
                  <a:lnTo>
                    <a:pt x="730" y="1248"/>
                  </a:lnTo>
                  <a:lnTo>
                    <a:pt x="741" y="1241"/>
                  </a:lnTo>
                  <a:lnTo>
                    <a:pt x="753" y="1234"/>
                  </a:lnTo>
                  <a:lnTo>
                    <a:pt x="763" y="1228"/>
                  </a:lnTo>
                  <a:lnTo>
                    <a:pt x="772" y="1221"/>
                  </a:lnTo>
                  <a:lnTo>
                    <a:pt x="779" y="1213"/>
                  </a:lnTo>
                  <a:lnTo>
                    <a:pt x="784" y="1206"/>
                  </a:lnTo>
                  <a:lnTo>
                    <a:pt x="786" y="1202"/>
                  </a:lnTo>
                  <a:lnTo>
                    <a:pt x="787" y="1197"/>
                  </a:lnTo>
                  <a:lnTo>
                    <a:pt x="788" y="1193"/>
                  </a:lnTo>
                  <a:lnTo>
                    <a:pt x="788" y="1189"/>
                  </a:lnTo>
                  <a:lnTo>
                    <a:pt x="795" y="1186"/>
                  </a:lnTo>
                  <a:lnTo>
                    <a:pt x="804" y="1181"/>
                  </a:lnTo>
                  <a:lnTo>
                    <a:pt x="813" y="1175"/>
                  </a:lnTo>
                  <a:lnTo>
                    <a:pt x="820" y="1170"/>
                  </a:lnTo>
                  <a:lnTo>
                    <a:pt x="829" y="1170"/>
                  </a:lnTo>
                  <a:lnTo>
                    <a:pt x="837" y="1167"/>
                  </a:lnTo>
                  <a:lnTo>
                    <a:pt x="846" y="1166"/>
                  </a:lnTo>
                  <a:lnTo>
                    <a:pt x="856" y="1164"/>
                  </a:lnTo>
                  <a:lnTo>
                    <a:pt x="875" y="1157"/>
                  </a:lnTo>
                  <a:lnTo>
                    <a:pt x="897" y="1151"/>
                  </a:lnTo>
                  <a:lnTo>
                    <a:pt x="918" y="1144"/>
                  </a:lnTo>
                  <a:lnTo>
                    <a:pt x="939" y="1138"/>
                  </a:lnTo>
                  <a:lnTo>
                    <a:pt x="950" y="1135"/>
                  </a:lnTo>
                  <a:lnTo>
                    <a:pt x="961" y="1134"/>
                  </a:lnTo>
                  <a:lnTo>
                    <a:pt x="971" y="1133"/>
                  </a:lnTo>
                  <a:lnTo>
                    <a:pt x="983" y="1132"/>
                  </a:lnTo>
                  <a:lnTo>
                    <a:pt x="989" y="1138"/>
                  </a:lnTo>
                  <a:lnTo>
                    <a:pt x="995" y="1144"/>
                  </a:lnTo>
                  <a:lnTo>
                    <a:pt x="996" y="1162"/>
                  </a:lnTo>
                  <a:lnTo>
                    <a:pt x="998" y="1197"/>
                  </a:lnTo>
                  <a:lnTo>
                    <a:pt x="1002" y="1247"/>
                  </a:lnTo>
                  <a:lnTo>
                    <a:pt x="1005" y="1302"/>
                  </a:lnTo>
                  <a:lnTo>
                    <a:pt x="1009" y="1357"/>
                  </a:lnTo>
                  <a:lnTo>
                    <a:pt x="1014" y="1405"/>
                  </a:lnTo>
                  <a:lnTo>
                    <a:pt x="1017" y="1439"/>
                  </a:lnTo>
                  <a:lnTo>
                    <a:pt x="1021" y="1451"/>
                  </a:lnTo>
                  <a:lnTo>
                    <a:pt x="1021" y="1470"/>
                  </a:lnTo>
                  <a:lnTo>
                    <a:pt x="1035" y="1475"/>
                  </a:lnTo>
                  <a:lnTo>
                    <a:pt x="1045" y="1482"/>
                  </a:lnTo>
                  <a:lnTo>
                    <a:pt x="1066" y="1483"/>
                  </a:lnTo>
                  <a:lnTo>
                    <a:pt x="1089" y="1485"/>
                  </a:lnTo>
                  <a:lnTo>
                    <a:pt x="1112" y="1488"/>
                  </a:lnTo>
                  <a:lnTo>
                    <a:pt x="1132" y="1489"/>
                  </a:lnTo>
                  <a:lnTo>
                    <a:pt x="1133" y="1490"/>
                  </a:lnTo>
                  <a:lnTo>
                    <a:pt x="1134" y="1492"/>
                  </a:lnTo>
                  <a:lnTo>
                    <a:pt x="1137" y="1493"/>
                  </a:lnTo>
                  <a:lnTo>
                    <a:pt x="1140" y="1494"/>
                  </a:lnTo>
                  <a:lnTo>
                    <a:pt x="1146" y="1494"/>
                  </a:lnTo>
                  <a:lnTo>
                    <a:pt x="1151" y="1494"/>
                  </a:lnTo>
                  <a:lnTo>
                    <a:pt x="1158" y="1501"/>
                  </a:lnTo>
                  <a:lnTo>
                    <a:pt x="1159" y="1505"/>
                  </a:lnTo>
                  <a:lnTo>
                    <a:pt x="1161" y="1510"/>
                  </a:lnTo>
                  <a:lnTo>
                    <a:pt x="1166" y="1512"/>
                  </a:lnTo>
                  <a:lnTo>
                    <a:pt x="1170" y="1513"/>
                  </a:lnTo>
                  <a:lnTo>
                    <a:pt x="1171" y="1519"/>
                  </a:lnTo>
                  <a:lnTo>
                    <a:pt x="1175" y="1526"/>
                  </a:lnTo>
                  <a:lnTo>
                    <a:pt x="1178" y="1532"/>
                  </a:lnTo>
                  <a:lnTo>
                    <a:pt x="1184" y="1540"/>
                  </a:lnTo>
                  <a:lnTo>
                    <a:pt x="1189" y="1547"/>
                  </a:lnTo>
                  <a:lnTo>
                    <a:pt x="1194" y="1552"/>
                  </a:lnTo>
                  <a:lnTo>
                    <a:pt x="1198" y="1556"/>
                  </a:lnTo>
                  <a:lnTo>
                    <a:pt x="1201" y="1557"/>
                  </a:lnTo>
                  <a:lnTo>
                    <a:pt x="1202" y="1560"/>
                  </a:lnTo>
                  <a:lnTo>
                    <a:pt x="1205" y="1565"/>
                  </a:lnTo>
                  <a:lnTo>
                    <a:pt x="1209" y="1569"/>
                  </a:lnTo>
                  <a:lnTo>
                    <a:pt x="1214" y="1575"/>
                  </a:lnTo>
                  <a:lnTo>
                    <a:pt x="1218" y="1579"/>
                  </a:lnTo>
                  <a:lnTo>
                    <a:pt x="1224" y="1584"/>
                  </a:lnTo>
                  <a:lnTo>
                    <a:pt x="1227" y="1586"/>
                  </a:lnTo>
                  <a:lnTo>
                    <a:pt x="1230" y="1587"/>
                  </a:lnTo>
                  <a:lnTo>
                    <a:pt x="1230" y="1601"/>
                  </a:lnTo>
                  <a:lnTo>
                    <a:pt x="1232" y="1615"/>
                  </a:lnTo>
                  <a:lnTo>
                    <a:pt x="1233" y="1627"/>
                  </a:lnTo>
                  <a:lnTo>
                    <a:pt x="1235" y="1638"/>
                  </a:lnTo>
                  <a:lnTo>
                    <a:pt x="1237" y="1649"/>
                  </a:lnTo>
                  <a:lnTo>
                    <a:pt x="1239" y="1661"/>
                  </a:lnTo>
                  <a:lnTo>
                    <a:pt x="1243" y="1671"/>
                  </a:lnTo>
                  <a:lnTo>
                    <a:pt x="1247" y="1681"/>
                  </a:lnTo>
                  <a:lnTo>
                    <a:pt x="1256" y="1700"/>
                  </a:lnTo>
                  <a:lnTo>
                    <a:pt x="1268" y="1719"/>
                  </a:lnTo>
                  <a:lnTo>
                    <a:pt x="1282" y="1739"/>
                  </a:lnTo>
                  <a:lnTo>
                    <a:pt x="1298" y="1760"/>
                  </a:lnTo>
                  <a:lnTo>
                    <a:pt x="1309" y="1771"/>
                  </a:lnTo>
                  <a:lnTo>
                    <a:pt x="1319" y="1781"/>
                  </a:lnTo>
                  <a:lnTo>
                    <a:pt x="1329" y="1789"/>
                  </a:lnTo>
                  <a:lnTo>
                    <a:pt x="1341" y="1796"/>
                  </a:lnTo>
                  <a:lnTo>
                    <a:pt x="1353" y="1801"/>
                  </a:lnTo>
                  <a:lnTo>
                    <a:pt x="1369" y="1805"/>
                  </a:lnTo>
                  <a:lnTo>
                    <a:pt x="1387" y="1807"/>
                  </a:lnTo>
                  <a:lnTo>
                    <a:pt x="1408" y="1807"/>
                  </a:lnTo>
                  <a:lnTo>
                    <a:pt x="1408" y="1809"/>
                  </a:lnTo>
                  <a:lnTo>
                    <a:pt x="1409" y="1811"/>
                  </a:lnTo>
                  <a:lnTo>
                    <a:pt x="1410" y="1812"/>
                  </a:lnTo>
                  <a:lnTo>
                    <a:pt x="1411" y="1812"/>
                  </a:lnTo>
                  <a:lnTo>
                    <a:pt x="1416" y="1814"/>
                  </a:lnTo>
                  <a:lnTo>
                    <a:pt x="1420" y="1814"/>
                  </a:lnTo>
                  <a:lnTo>
                    <a:pt x="1429" y="1821"/>
                  </a:lnTo>
                  <a:lnTo>
                    <a:pt x="1442" y="1831"/>
                  </a:lnTo>
                  <a:lnTo>
                    <a:pt x="1456" y="1840"/>
                  </a:lnTo>
                  <a:lnTo>
                    <a:pt x="1464" y="1845"/>
                  </a:lnTo>
                  <a:lnTo>
                    <a:pt x="1474" y="1860"/>
                  </a:lnTo>
                  <a:lnTo>
                    <a:pt x="1483" y="1876"/>
                  </a:lnTo>
                  <a:lnTo>
                    <a:pt x="1495" y="1883"/>
                  </a:lnTo>
                  <a:lnTo>
                    <a:pt x="1495" y="1895"/>
                  </a:lnTo>
                  <a:lnTo>
                    <a:pt x="1501" y="1896"/>
                  </a:lnTo>
                  <a:lnTo>
                    <a:pt x="1504" y="1898"/>
                  </a:lnTo>
                  <a:lnTo>
                    <a:pt x="1507" y="1903"/>
                  </a:lnTo>
                  <a:lnTo>
                    <a:pt x="1508" y="1907"/>
                  </a:lnTo>
                  <a:lnTo>
                    <a:pt x="1512" y="1910"/>
                  </a:lnTo>
                  <a:lnTo>
                    <a:pt x="1515" y="1914"/>
                  </a:lnTo>
                  <a:lnTo>
                    <a:pt x="1517" y="1916"/>
                  </a:lnTo>
                  <a:lnTo>
                    <a:pt x="1520" y="1917"/>
                  </a:lnTo>
                  <a:lnTo>
                    <a:pt x="1523" y="1920"/>
                  </a:lnTo>
                  <a:lnTo>
                    <a:pt x="1526" y="1920"/>
                  </a:lnTo>
                  <a:lnTo>
                    <a:pt x="1527" y="1923"/>
                  </a:lnTo>
                  <a:lnTo>
                    <a:pt x="1527" y="1925"/>
                  </a:lnTo>
                  <a:lnTo>
                    <a:pt x="1528" y="1926"/>
                  </a:lnTo>
                  <a:lnTo>
                    <a:pt x="1530" y="1926"/>
                  </a:lnTo>
                  <a:lnTo>
                    <a:pt x="1531" y="1926"/>
                  </a:lnTo>
                  <a:lnTo>
                    <a:pt x="1532" y="1927"/>
                  </a:lnTo>
                  <a:lnTo>
                    <a:pt x="1533" y="1928"/>
                  </a:lnTo>
                  <a:lnTo>
                    <a:pt x="1533" y="1932"/>
                  </a:lnTo>
                  <a:lnTo>
                    <a:pt x="1545" y="1932"/>
                  </a:lnTo>
                  <a:lnTo>
                    <a:pt x="1545" y="1945"/>
                  </a:lnTo>
                  <a:lnTo>
                    <a:pt x="1553" y="1945"/>
                  </a:lnTo>
                  <a:lnTo>
                    <a:pt x="1557" y="1945"/>
                  </a:lnTo>
                  <a:lnTo>
                    <a:pt x="1559" y="1946"/>
                  </a:lnTo>
                  <a:lnTo>
                    <a:pt x="1560" y="1947"/>
                  </a:lnTo>
                  <a:lnTo>
                    <a:pt x="1560" y="1949"/>
                  </a:lnTo>
                  <a:lnTo>
                    <a:pt x="1560" y="1950"/>
                  </a:lnTo>
                  <a:lnTo>
                    <a:pt x="1561" y="1951"/>
                  </a:lnTo>
                  <a:lnTo>
                    <a:pt x="1564" y="1951"/>
                  </a:lnTo>
                  <a:lnTo>
                    <a:pt x="1569" y="1959"/>
                  </a:lnTo>
                  <a:lnTo>
                    <a:pt x="1576" y="1969"/>
                  </a:lnTo>
                  <a:lnTo>
                    <a:pt x="1585" y="1979"/>
                  </a:lnTo>
                  <a:lnTo>
                    <a:pt x="1589" y="1982"/>
                  </a:lnTo>
                  <a:lnTo>
                    <a:pt x="1590" y="1990"/>
                  </a:lnTo>
                  <a:lnTo>
                    <a:pt x="1592" y="1997"/>
                  </a:lnTo>
                  <a:lnTo>
                    <a:pt x="1595" y="2003"/>
                  </a:lnTo>
                  <a:lnTo>
                    <a:pt x="1599" y="2010"/>
                  </a:lnTo>
                  <a:lnTo>
                    <a:pt x="1602" y="2016"/>
                  </a:lnTo>
                  <a:lnTo>
                    <a:pt x="1605" y="2022"/>
                  </a:lnTo>
                  <a:lnTo>
                    <a:pt x="1608" y="2028"/>
                  </a:lnTo>
                  <a:lnTo>
                    <a:pt x="1608" y="2032"/>
                  </a:lnTo>
                  <a:lnTo>
                    <a:pt x="1613" y="2037"/>
                  </a:lnTo>
                  <a:lnTo>
                    <a:pt x="1620" y="2045"/>
                  </a:lnTo>
                  <a:lnTo>
                    <a:pt x="1629" y="2053"/>
                  </a:lnTo>
                  <a:lnTo>
                    <a:pt x="1637" y="2064"/>
                  </a:lnTo>
                  <a:lnTo>
                    <a:pt x="1646" y="2074"/>
                  </a:lnTo>
                  <a:lnTo>
                    <a:pt x="1655" y="2082"/>
                  </a:lnTo>
                  <a:lnTo>
                    <a:pt x="1659" y="2086"/>
                  </a:lnTo>
                  <a:lnTo>
                    <a:pt x="1664" y="2088"/>
                  </a:lnTo>
                  <a:lnTo>
                    <a:pt x="1667" y="2089"/>
                  </a:lnTo>
                  <a:lnTo>
                    <a:pt x="1671" y="2090"/>
                  </a:lnTo>
                  <a:lnTo>
                    <a:pt x="1677" y="2103"/>
                  </a:lnTo>
                  <a:lnTo>
                    <a:pt x="1690" y="2109"/>
                  </a:lnTo>
                  <a:lnTo>
                    <a:pt x="1699" y="2106"/>
                  </a:lnTo>
                  <a:lnTo>
                    <a:pt x="1708" y="2103"/>
                  </a:lnTo>
                  <a:lnTo>
                    <a:pt x="1708" y="2090"/>
                  </a:lnTo>
                  <a:lnTo>
                    <a:pt x="1722" y="2078"/>
                  </a:lnTo>
                  <a:lnTo>
                    <a:pt x="1722" y="2065"/>
                  </a:lnTo>
                  <a:lnTo>
                    <a:pt x="1727" y="2052"/>
                  </a:lnTo>
                  <a:lnTo>
                    <a:pt x="1734" y="2047"/>
                  </a:lnTo>
                  <a:lnTo>
                    <a:pt x="1739" y="2040"/>
                  </a:lnTo>
                  <a:lnTo>
                    <a:pt x="1746" y="2033"/>
                  </a:lnTo>
                  <a:lnTo>
                    <a:pt x="1748" y="2033"/>
                  </a:lnTo>
                  <a:lnTo>
                    <a:pt x="1751" y="2032"/>
                  </a:lnTo>
                  <a:lnTo>
                    <a:pt x="1753" y="2030"/>
                  </a:lnTo>
                  <a:lnTo>
                    <a:pt x="1755" y="2027"/>
                  </a:lnTo>
                  <a:lnTo>
                    <a:pt x="1761" y="2021"/>
                  </a:lnTo>
                  <a:lnTo>
                    <a:pt x="1765" y="2016"/>
                  </a:lnTo>
                  <a:lnTo>
                    <a:pt x="1777" y="2016"/>
                  </a:lnTo>
                  <a:lnTo>
                    <a:pt x="1778" y="2011"/>
                  </a:lnTo>
                  <a:lnTo>
                    <a:pt x="1781" y="2007"/>
                  </a:lnTo>
                  <a:lnTo>
                    <a:pt x="1783" y="2003"/>
                  </a:lnTo>
                  <a:lnTo>
                    <a:pt x="1786" y="2000"/>
                  </a:lnTo>
                  <a:lnTo>
                    <a:pt x="1793" y="1995"/>
                  </a:lnTo>
                  <a:lnTo>
                    <a:pt x="1796" y="1990"/>
                  </a:lnTo>
                  <a:lnTo>
                    <a:pt x="1803" y="1990"/>
                  </a:lnTo>
                  <a:lnTo>
                    <a:pt x="1808" y="1989"/>
                  </a:lnTo>
                  <a:lnTo>
                    <a:pt x="1810" y="1989"/>
                  </a:lnTo>
                  <a:lnTo>
                    <a:pt x="1810" y="1987"/>
                  </a:lnTo>
                  <a:lnTo>
                    <a:pt x="1810" y="1985"/>
                  </a:lnTo>
                  <a:lnTo>
                    <a:pt x="1810" y="1985"/>
                  </a:lnTo>
                  <a:lnTo>
                    <a:pt x="1812" y="1984"/>
                  </a:lnTo>
                  <a:lnTo>
                    <a:pt x="1815" y="1984"/>
                  </a:lnTo>
                  <a:lnTo>
                    <a:pt x="1815" y="1980"/>
                  </a:lnTo>
                  <a:lnTo>
                    <a:pt x="1815" y="1979"/>
                  </a:lnTo>
                  <a:lnTo>
                    <a:pt x="1816" y="1978"/>
                  </a:lnTo>
                  <a:lnTo>
                    <a:pt x="1818" y="1978"/>
                  </a:lnTo>
                  <a:lnTo>
                    <a:pt x="1819" y="1978"/>
                  </a:lnTo>
                  <a:lnTo>
                    <a:pt x="1820" y="1976"/>
                  </a:lnTo>
                  <a:lnTo>
                    <a:pt x="1821" y="1975"/>
                  </a:lnTo>
                  <a:lnTo>
                    <a:pt x="1821" y="1971"/>
                  </a:lnTo>
                  <a:lnTo>
                    <a:pt x="1833" y="1970"/>
                  </a:lnTo>
                  <a:lnTo>
                    <a:pt x="1850" y="1965"/>
                  </a:lnTo>
                  <a:lnTo>
                    <a:pt x="1868" y="1961"/>
                  </a:lnTo>
                  <a:lnTo>
                    <a:pt x="1883" y="1959"/>
                  </a:lnTo>
                  <a:lnTo>
                    <a:pt x="1882" y="1946"/>
                  </a:lnTo>
                  <a:lnTo>
                    <a:pt x="1879" y="1934"/>
                  </a:lnTo>
                  <a:lnTo>
                    <a:pt x="1875" y="1922"/>
                  </a:lnTo>
                  <a:lnTo>
                    <a:pt x="1868" y="1910"/>
                  </a:lnTo>
                  <a:lnTo>
                    <a:pt x="1860" y="1897"/>
                  </a:lnTo>
                  <a:lnTo>
                    <a:pt x="1852" y="1885"/>
                  </a:lnTo>
                  <a:lnTo>
                    <a:pt x="1843" y="1874"/>
                  </a:lnTo>
                  <a:lnTo>
                    <a:pt x="1833" y="1863"/>
                  </a:lnTo>
                  <a:lnTo>
                    <a:pt x="1815" y="1841"/>
                  </a:lnTo>
                  <a:lnTo>
                    <a:pt x="1799" y="1824"/>
                  </a:lnTo>
                  <a:lnTo>
                    <a:pt x="1792" y="1817"/>
                  </a:lnTo>
                  <a:lnTo>
                    <a:pt x="1787" y="1810"/>
                  </a:lnTo>
                  <a:lnTo>
                    <a:pt x="1784" y="1805"/>
                  </a:lnTo>
                  <a:lnTo>
                    <a:pt x="1783" y="1801"/>
                  </a:lnTo>
                  <a:lnTo>
                    <a:pt x="1771" y="1801"/>
                  </a:lnTo>
                  <a:lnTo>
                    <a:pt x="1761" y="1795"/>
                  </a:lnTo>
                  <a:lnTo>
                    <a:pt x="1746" y="1789"/>
                  </a:lnTo>
                  <a:lnTo>
                    <a:pt x="1744" y="1786"/>
                  </a:lnTo>
                  <a:lnTo>
                    <a:pt x="1739" y="1781"/>
                  </a:lnTo>
                  <a:lnTo>
                    <a:pt x="1734" y="1776"/>
                  </a:lnTo>
                  <a:lnTo>
                    <a:pt x="1727" y="1770"/>
                  </a:lnTo>
                  <a:lnTo>
                    <a:pt x="1720" y="1764"/>
                  </a:lnTo>
                  <a:lnTo>
                    <a:pt x="1714" y="1759"/>
                  </a:lnTo>
                  <a:lnTo>
                    <a:pt x="1709" y="1754"/>
                  </a:lnTo>
                  <a:lnTo>
                    <a:pt x="1708" y="1751"/>
                  </a:lnTo>
                  <a:lnTo>
                    <a:pt x="1696" y="1751"/>
                  </a:lnTo>
                  <a:lnTo>
                    <a:pt x="1695" y="1749"/>
                  </a:lnTo>
                  <a:lnTo>
                    <a:pt x="1695" y="1748"/>
                  </a:lnTo>
                  <a:lnTo>
                    <a:pt x="1694" y="1747"/>
                  </a:lnTo>
                  <a:lnTo>
                    <a:pt x="1691" y="1745"/>
                  </a:lnTo>
                  <a:lnTo>
                    <a:pt x="1688" y="1744"/>
                  </a:lnTo>
                  <a:lnTo>
                    <a:pt x="1682" y="1744"/>
                  </a:lnTo>
                  <a:lnTo>
                    <a:pt x="1681" y="1742"/>
                  </a:lnTo>
                  <a:lnTo>
                    <a:pt x="1678" y="1738"/>
                  </a:lnTo>
                  <a:lnTo>
                    <a:pt x="1672" y="1732"/>
                  </a:lnTo>
                  <a:lnTo>
                    <a:pt x="1667" y="1726"/>
                  </a:lnTo>
                  <a:lnTo>
                    <a:pt x="1660" y="1722"/>
                  </a:lnTo>
                  <a:lnTo>
                    <a:pt x="1653" y="1718"/>
                  </a:lnTo>
                  <a:lnTo>
                    <a:pt x="1649" y="1714"/>
                  </a:lnTo>
                  <a:lnTo>
                    <a:pt x="1646" y="1713"/>
                  </a:lnTo>
                  <a:lnTo>
                    <a:pt x="1639" y="1707"/>
                  </a:lnTo>
                  <a:lnTo>
                    <a:pt x="1638" y="1704"/>
                  </a:lnTo>
                  <a:lnTo>
                    <a:pt x="1632" y="1700"/>
                  </a:lnTo>
                  <a:lnTo>
                    <a:pt x="1626" y="1694"/>
                  </a:lnTo>
                  <a:lnTo>
                    <a:pt x="1618" y="1689"/>
                  </a:lnTo>
                  <a:lnTo>
                    <a:pt x="1609" y="1683"/>
                  </a:lnTo>
                  <a:lnTo>
                    <a:pt x="1602" y="1677"/>
                  </a:lnTo>
                  <a:lnTo>
                    <a:pt x="1598" y="1673"/>
                  </a:lnTo>
                  <a:lnTo>
                    <a:pt x="1595" y="1670"/>
                  </a:lnTo>
                  <a:lnTo>
                    <a:pt x="1583" y="1670"/>
                  </a:lnTo>
                  <a:lnTo>
                    <a:pt x="1580" y="1657"/>
                  </a:lnTo>
                  <a:lnTo>
                    <a:pt x="1576" y="1645"/>
                  </a:lnTo>
                  <a:lnTo>
                    <a:pt x="1572" y="1642"/>
                  </a:lnTo>
                  <a:lnTo>
                    <a:pt x="1566" y="1636"/>
                  </a:lnTo>
                  <a:lnTo>
                    <a:pt x="1562" y="1629"/>
                  </a:lnTo>
                  <a:lnTo>
                    <a:pt x="1556" y="1622"/>
                  </a:lnTo>
                  <a:lnTo>
                    <a:pt x="1545" y="1604"/>
                  </a:lnTo>
                  <a:lnTo>
                    <a:pt x="1535" y="1584"/>
                  </a:lnTo>
                  <a:lnTo>
                    <a:pt x="1526" y="1565"/>
                  </a:lnTo>
                  <a:lnTo>
                    <a:pt x="1517" y="1548"/>
                  </a:lnTo>
                  <a:lnTo>
                    <a:pt x="1512" y="1537"/>
                  </a:lnTo>
                  <a:lnTo>
                    <a:pt x="1508" y="1532"/>
                  </a:lnTo>
                  <a:lnTo>
                    <a:pt x="1508" y="1501"/>
                  </a:lnTo>
                  <a:lnTo>
                    <a:pt x="1517" y="1494"/>
                  </a:lnTo>
                  <a:lnTo>
                    <a:pt x="1540" y="1479"/>
                  </a:lnTo>
                  <a:lnTo>
                    <a:pt x="1551" y="1470"/>
                  </a:lnTo>
                  <a:lnTo>
                    <a:pt x="1561" y="1461"/>
                  </a:lnTo>
                  <a:lnTo>
                    <a:pt x="1568" y="1455"/>
                  </a:lnTo>
                  <a:lnTo>
                    <a:pt x="1571" y="1451"/>
                  </a:lnTo>
                  <a:lnTo>
                    <a:pt x="1576" y="1449"/>
                  </a:lnTo>
                  <a:lnTo>
                    <a:pt x="1585" y="1444"/>
                  </a:lnTo>
                  <a:lnTo>
                    <a:pt x="1589" y="1441"/>
                  </a:lnTo>
                  <a:lnTo>
                    <a:pt x="1592" y="1437"/>
                  </a:lnTo>
                  <a:lnTo>
                    <a:pt x="1594" y="1435"/>
                  </a:lnTo>
                  <a:lnTo>
                    <a:pt x="1595" y="1432"/>
                  </a:lnTo>
                  <a:lnTo>
                    <a:pt x="1608" y="1432"/>
                  </a:lnTo>
                  <a:lnTo>
                    <a:pt x="1609" y="1430"/>
                  </a:lnTo>
                  <a:lnTo>
                    <a:pt x="1610" y="1428"/>
                  </a:lnTo>
                  <a:lnTo>
                    <a:pt x="1611" y="1426"/>
                  </a:lnTo>
                  <a:lnTo>
                    <a:pt x="1614" y="1425"/>
                  </a:lnTo>
                  <a:lnTo>
                    <a:pt x="1620" y="1423"/>
                  </a:lnTo>
                  <a:lnTo>
                    <a:pt x="1628" y="1421"/>
                  </a:lnTo>
                  <a:lnTo>
                    <a:pt x="1645" y="1420"/>
                  </a:lnTo>
                  <a:lnTo>
                    <a:pt x="1658" y="1420"/>
                  </a:lnTo>
                  <a:lnTo>
                    <a:pt x="1658" y="1417"/>
                  </a:lnTo>
                  <a:lnTo>
                    <a:pt x="1659" y="1416"/>
                  </a:lnTo>
                  <a:lnTo>
                    <a:pt x="1660" y="1415"/>
                  </a:lnTo>
                  <a:lnTo>
                    <a:pt x="1662" y="1414"/>
                  </a:lnTo>
                  <a:lnTo>
                    <a:pt x="1666" y="1413"/>
                  </a:lnTo>
                  <a:lnTo>
                    <a:pt x="1670" y="1413"/>
                  </a:lnTo>
                  <a:lnTo>
                    <a:pt x="1671" y="1408"/>
                  </a:lnTo>
                  <a:lnTo>
                    <a:pt x="1675" y="1405"/>
                  </a:lnTo>
                  <a:lnTo>
                    <a:pt x="1678" y="1402"/>
                  </a:lnTo>
                  <a:lnTo>
                    <a:pt x="1682" y="1401"/>
                  </a:lnTo>
                  <a:lnTo>
                    <a:pt x="1689" y="1395"/>
                  </a:lnTo>
                  <a:lnTo>
                    <a:pt x="1690" y="1389"/>
                  </a:lnTo>
                  <a:lnTo>
                    <a:pt x="1694" y="1383"/>
                  </a:lnTo>
                  <a:lnTo>
                    <a:pt x="1695" y="1380"/>
                  </a:lnTo>
                  <a:lnTo>
                    <a:pt x="1697" y="1378"/>
                  </a:lnTo>
                  <a:lnTo>
                    <a:pt x="1699" y="1376"/>
                  </a:lnTo>
                  <a:lnTo>
                    <a:pt x="1701" y="1376"/>
                  </a:lnTo>
                  <a:lnTo>
                    <a:pt x="1701" y="1357"/>
                  </a:lnTo>
                  <a:lnTo>
                    <a:pt x="1704" y="1356"/>
                  </a:lnTo>
                  <a:lnTo>
                    <a:pt x="1706" y="1355"/>
                  </a:lnTo>
                  <a:lnTo>
                    <a:pt x="1706" y="1353"/>
                  </a:lnTo>
                  <a:lnTo>
                    <a:pt x="1707" y="1350"/>
                  </a:lnTo>
                  <a:lnTo>
                    <a:pt x="1708" y="1344"/>
                  </a:lnTo>
                  <a:lnTo>
                    <a:pt x="1708" y="1338"/>
                  </a:lnTo>
                  <a:lnTo>
                    <a:pt x="1710" y="1337"/>
                  </a:lnTo>
                  <a:lnTo>
                    <a:pt x="1712" y="1334"/>
                  </a:lnTo>
                  <a:lnTo>
                    <a:pt x="1713" y="1328"/>
                  </a:lnTo>
                  <a:lnTo>
                    <a:pt x="1714" y="1321"/>
                  </a:lnTo>
                  <a:lnTo>
                    <a:pt x="1714" y="1309"/>
                  </a:lnTo>
                  <a:lnTo>
                    <a:pt x="1714" y="1301"/>
                  </a:lnTo>
                  <a:lnTo>
                    <a:pt x="1710" y="1300"/>
                  </a:lnTo>
                  <a:lnTo>
                    <a:pt x="1709" y="1300"/>
                  </a:lnTo>
                  <a:lnTo>
                    <a:pt x="1708" y="1299"/>
                  </a:lnTo>
                  <a:lnTo>
                    <a:pt x="1708" y="1298"/>
                  </a:lnTo>
                  <a:lnTo>
                    <a:pt x="1708" y="1297"/>
                  </a:lnTo>
                  <a:lnTo>
                    <a:pt x="1707" y="1296"/>
                  </a:lnTo>
                  <a:lnTo>
                    <a:pt x="1706" y="1295"/>
                  </a:lnTo>
                  <a:lnTo>
                    <a:pt x="1701" y="1295"/>
                  </a:lnTo>
                  <a:lnTo>
                    <a:pt x="1696" y="1282"/>
                  </a:lnTo>
                  <a:lnTo>
                    <a:pt x="1695" y="1278"/>
                  </a:lnTo>
                  <a:lnTo>
                    <a:pt x="1693" y="1272"/>
                  </a:lnTo>
                  <a:lnTo>
                    <a:pt x="1689" y="1268"/>
                  </a:lnTo>
                  <a:lnTo>
                    <a:pt x="1686" y="1262"/>
                  </a:lnTo>
                  <a:lnTo>
                    <a:pt x="1682" y="1257"/>
                  </a:lnTo>
                  <a:lnTo>
                    <a:pt x="1679" y="1251"/>
                  </a:lnTo>
                  <a:lnTo>
                    <a:pt x="1678" y="1245"/>
                  </a:lnTo>
                  <a:lnTo>
                    <a:pt x="1677" y="1239"/>
                  </a:lnTo>
                  <a:lnTo>
                    <a:pt x="1665" y="1232"/>
                  </a:lnTo>
                  <a:lnTo>
                    <a:pt x="1661" y="1223"/>
                  </a:lnTo>
                  <a:lnTo>
                    <a:pt x="1658" y="1213"/>
                  </a:lnTo>
                  <a:lnTo>
                    <a:pt x="1646" y="1201"/>
                  </a:lnTo>
                  <a:lnTo>
                    <a:pt x="1633" y="1201"/>
                  </a:lnTo>
                  <a:lnTo>
                    <a:pt x="1627" y="1189"/>
                  </a:lnTo>
                  <a:lnTo>
                    <a:pt x="1614" y="1189"/>
                  </a:lnTo>
                  <a:lnTo>
                    <a:pt x="1608" y="1178"/>
                  </a:lnTo>
                  <a:lnTo>
                    <a:pt x="1602" y="1170"/>
                  </a:lnTo>
                  <a:lnTo>
                    <a:pt x="1589" y="1163"/>
                  </a:lnTo>
                  <a:lnTo>
                    <a:pt x="1576" y="1157"/>
                  </a:lnTo>
                  <a:lnTo>
                    <a:pt x="1557" y="1138"/>
                  </a:lnTo>
                  <a:lnTo>
                    <a:pt x="1557" y="1126"/>
                  </a:lnTo>
                  <a:lnTo>
                    <a:pt x="1556" y="1125"/>
                  </a:lnTo>
                  <a:lnTo>
                    <a:pt x="1554" y="1124"/>
                  </a:lnTo>
                  <a:lnTo>
                    <a:pt x="1553" y="1122"/>
                  </a:lnTo>
                  <a:lnTo>
                    <a:pt x="1553" y="1118"/>
                  </a:lnTo>
                  <a:lnTo>
                    <a:pt x="1552" y="1113"/>
                  </a:lnTo>
                  <a:lnTo>
                    <a:pt x="1552" y="1107"/>
                  </a:lnTo>
                  <a:lnTo>
                    <a:pt x="1495" y="913"/>
                  </a:lnTo>
                  <a:lnTo>
                    <a:pt x="1489" y="907"/>
                  </a:lnTo>
                  <a:lnTo>
                    <a:pt x="1483" y="901"/>
                  </a:lnTo>
                  <a:lnTo>
                    <a:pt x="1477" y="894"/>
                  </a:lnTo>
                  <a:lnTo>
                    <a:pt x="1473" y="891"/>
                  </a:lnTo>
                  <a:lnTo>
                    <a:pt x="1469" y="886"/>
                  </a:lnTo>
                  <a:lnTo>
                    <a:pt x="1467" y="882"/>
                  </a:lnTo>
                  <a:lnTo>
                    <a:pt x="1465" y="877"/>
                  </a:lnTo>
                  <a:lnTo>
                    <a:pt x="1463" y="868"/>
                  </a:lnTo>
                  <a:lnTo>
                    <a:pt x="1461" y="858"/>
                  </a:lnTo>
                  <a:lnTo>
                    <a:pt x="1460" y="841"/>
                  </a:lnTo>
                  <a:lnTo>
                    <a:pt x="1457" y="827"/>
                  </a:lnTo>
                  <a:lnTo>
                    <a:pt x="1453" y="818"/>
                  </a:lnTo>
                  <a:lnTo>
                    <a:pt x="1448" y="810"/>
                  </a:lnTo>
                  <a:lnTo>
                    <a:pt x="1441" y="802"/>
                  </a:lnTo>
                  <a:lnTo>
                    <a:pt x="1436" y="795"/>
                  </a:lnTo>
                  <a:lnTo>
                    <a:pt x="1428" y="786"/>
                  </a:lnTo>
                  <a:lnTo>
                    <a:pt x="1420" y="776"/>
                  </a:lnTo>
                  <a:lnTo>
                    <a:pt x="1412" y="764"/>
                  </a:lnTo>
                  <a:lnTo>
                    <a:pt x="1405" y="752"/>
                  </a:lnTo>
                  <a:lnTo>
                    <a:pt x="1391" y="753"/>
                  </a:lnTo>
                  <a:lnTo>
                    <a:pt x="1378" y="755"/>
                  </a:lnTo>
                  <a:lnTo>
                    <a:pt x="1365" y="758"/>
                  </a:lnTo>
                  <a:lnTo>
                    <a:pt x="1354" y="758"/>
                  </a:lnTo>
                  <a:lnTo>
                    <a:pt x="1354" y="760"/>
                  </a:lnTo>
                  <a:lnTo>
                    <a:pt x="1353" y="762"/>
                  </a:lnTo>
                  <a:lnTo>
                    <a:pt x="1351" y="763"/>
                  </a:lnTo>
                  <a:lnTo>
                    <a:pt x="1348" y="763"/>
                  </a:lnTo>
                  <a:lnTo>
                    <a:pt x="1342" y="764"/>
                  </a:lnTo>
                  <a:lnTo>
                    <a:pt x="1336" y="764"/>
                  </a:lnTo>
                  <a:lnTo>
                    <a:pt x="1335" y="768"/>
                  </a:lnTo>
                  <a:lnTo>
                    <a:pt x="1335" y="770"/>
                  </a:lnTo>
                  <a:lnTo>
                    <a:pt x="1334" y="770"/>
                  </a:lnTo>
                  <a:lnTo>
                    <a:pt x="1333" y="771"/>
                  </a:lnTo>
                  <a:lnTo>
                    <a:pt x="1332" y="771"/>
                  </a:lnTo>
                  <a:lnTo>
                    <a:pt x="1331" y="771"/>
                  </a:lnTo>
                  <a:lnTo>
                    <a:pt x="1330" y="773"/>
                  </a:lnTo>
                  <a:lnTo>
                    <a:pt x="1330" y="777"/>
                  </a:lnTo>
                  <a:lnTo>
                    <a:pt x="1305" y="774"/>
                  </a:lnTo>
                  <a:lnTo>
                    <a:pt x="1271" y="771"/>
                  </a:lnTo>
                  <a:lnTo>
                    <a:pt x="1253" y="769"/>
                  </a:lnTo>
                  <a:lnTo>
                    <a:pt x="1237" y="768"/>
                  </a:lnTo>
                  <a:lnTo>
                    <a:pt x="1226" y="768"/>
                  </a:lnTo>
                  <a:lnTo>
                    <a:pt x="1220" y="769"/>
                  </a:lnTo>
                  <a:lnTo>
                    <a:pt x="1083" y="769"/>
                  </a:lnTo>
                  <a:lnTo>
                    <a:pt x="1082" y="766"/>
                  </a:lnTo>
                  <a:lnTo>
                    <a:pt x="1082" y="763"/>
                  </a:lnTo>
                  <a:lnTo>
                    <a:pt x="1081" y="763"/>
                  </a:lnTo>
                  <a:lnTo>
                    <a:pt x="1080" y="763"/>
                  </a:lnTo>
                  <a:lnTo>
                    <a:pt x="1079" y="763"/>
                  </a:lnTo>
                  <a:lnTo>
                    <a:pt x="1077" y="762"/>
                  </a:lnTo>
                  <a:lnTo>
                    <a:pt x="1076" y="760"/>
                  </a:lnTo>
                  <a:lnTo>
                    <a:pt x="1076" y="757"/>
                  </a:lnTo>
                  <a:lnTo>
                    <a:pt x="1057" y="757"/>
                  </a:lnTo>
                  <a:lnTo>
                    <a:pt x="1052" y="751"/>
                  </a:lnTo>
                  <a:lnTo>
                    <a:pt x="1045" y="744"/>
                  </a:lnTo>
                  <a:lnTo>
                    <a:pt x="1033" y="744"/>
                  </a:lnTo>
                  <a:lnTo>
                    <a:pt x="1033" y="732"/>
                  </a:lnTo>
                  <a:lnTo>
                    <a:pt x="1021" y="732"/>
                  </a:lnTo>
                  <a:lnTo>
                    <a:pt x="1019" y="729"/>
                  </a:lnTo>
                  <a:lnTo>
                    <a:pt x="1019" y="726"/>
                  </a:lnTo>
                  <a:lnTo>
                    <a:pt x="1018" y="725"/>
                  </a:lnTo>
                  <a:lnTo>
                    <a:pt x="1017" y="725"/>
                  </a:lnTo>
                  <a:lnTo>
                    <a:pt x="1016" y="725"/>
                  </a:lnTo>
                  <a:lnTo>
                    <a:pt x="1015" y="724"/>
                  </a:lnTo>
                  <a:lnTo>
                    <a:pt x="1014" y="723"/>
                  </a:lnTo>
                  <a:lnTo>
                    <a:pt x="1014" y="720"/>
                  </a:lnTo>
                  <a:lnTo>
                    <a:pt x="1005" y="716"/>
                  </a:lnTo>
                  <a:lnTo>
                    <a:pt x="995" y="713"/>
                  </a:lnTo>
                  <a:lnTo>
                    <a:pt x="995" y="710"/>
                  </a:lnTo>
                  <a:lnTo>
                    <a:pt x="994" y="708"/>
                  </a:lnTo>
                  <a:lnTo>
                    <a:pt x="993" y="706"/>
                  </a:lnTo>
                  <a:lnTo>
                    <a:pt x="992" y="706"/>
                  </a:lnTo>
                  <a:lnTo>
                    <a:pt x="990" y="706"/>
                  </a:lnTo>
                  <a:lnTo>
                    <a:pt x="990" y="706"/>
                  </a:lnTo>
                  <a:lnTo>
                    <a:pt x="989" y="704"/>
                  </a:lnTo>
                  <a:lnTo>
                    <a:pt x="989" y="701"/>
                  </a:lnTo>
                  <a:lnTo>
                    <a:pt x="976" y="701"/>
                  </a:lnTo>
                  <a:lnTo>
                    <a:pt x="970" y="689"/>
                  </a:lnTo>
                  <a:lnTo>
                    <a:pt x="960" y="689"/>
                  </a:lnTo>
                  <a:lnTo>
                    <a:pt x="951" y="689"/>
                  </a:lnTo>
                  <a:lnTo>
                    <a:pt x="949" y="686"/>
                  </a:lnTo>
                  <a:lnTo>
                    <a:pt x="942" y="684"/>
                  </a:lnTo>
                  <a:lnTo>
                    <a:pt x="932" y="683"/>
                  </a:lnTo>
                  <a:lnTo>
                    <a:pt x="921" y="683"/>
                  </a:lnTo>
                  <a:lnTo>
                    <a:pt x="899" y="682"/>
                  </a:lnTo>
                  <a:lnTo>
                    <a:pt x="882" y="682"/>
                  </a:lnTo>
                  <a:lnTo>
                    <a:pt x="871" y="681"/>
                  </a:lnTo>
                  <a:lnTo>
                    <a:pt x="862" y="678"/>
                  </a:lnTo>
                  <a:lnTo>
                    <a:pt x="856" y="675"/>
                  </a:lnTo>
                  <a:lnTo>
                    <a:pt x="852" y="671"/>
                  </a:lnTo>
                  <a:lnTo>
                    <a:pt x="850" y="666"/>
                  </a:lnTo>
                  <a:lnTo>
                    <a:pt x="847" y="663"/>
                  </a:lnTo>
                  <a:lnTo>
                    <a:pt x="844" y="661"/>
                  </a:lnTo>
                  <a:lnTo>
                    <a:pt x="841" y="660"/>
                  </a:lnTo>
                  <a:lnTo>
                    <a:pt x="841" y="478"/>
                  </a:lnTo>
                  <a:lnTo>
                    <a:pt x="836" y="472"/>
                  </a:lnTo>
                  <a:lnTo>
                    <a:pt x="829" y="458"/>
                  </a:lnTo>
                  <a:lnTo>
                    <a:pt x="820" y="435"/>
                  </a:lnTo>
                  <a:lnTo>
                    <a:pt x="810" y="411"/>
                  </a:lnTo>
                  <a:lnTo>
                    <a:pt x="791" y="365"/>
                  </a:lnTo>
                  <a:lnTo>
                    <a:pt x="783" y="344"/>
                  </a:lnTo>
                  <a:lnTo>
                    <a:pt x="770" y="338"/>
                  </a:lnTo>
                  <a:lnTo>
                    <a:pt x="764" y="331"/>
                  </a:lnTo>
                  <a:lnTo>
                    <a:pt x="764" y="319"/>
                  </a:lnTo>
                  <a:lnTo>
                    <a:pt x="758" y="314"/>
                  </a:lnTo>
                  <a:lnTo>
                    <a:pt x="751" y="307"/>
                  </a:lnTo>
                  <a:lnTo>
                    <a:pt x="745" y="302"/>
                  </a:lnTo>
                  <a:lnTo>
                    <a:pt x="739" y="300"/>
                  </a:lnTo>
                  <a:lnTo>
                    <a:pt x="738" y="296"/>
                  </a:lnTo>
                  <a:lnTo>
                    <a:pt x="736" y="292"/>
                  </a:lnTo>
                  <a:lnTo>
                    <a:pt x="733" y="288"/>
                  </a:lnTo>
                  <a:lnTo>
                    <a:pt x="729" y="283"/>
                  </a:lnTo>
                  <a:lnTo>
                    <a:pt x="726" y="280"/>
                  </a:lnTo>
                  <a:lnTo>
                    <a:pt x="722" y="274"/>
                  </a:lnTo>
                  <a:lnTo>
                    <a:pt x="720" y="269"/>
                  </a:lnTo>
                  <a:lnTo>
                    <a:pt x="720" y="263"/>
                  </a:lnTo>
                  <a:lnTo>
                    <a:pt x="716" y="259"/>
                  </a:lnTo>
                  <a:lnTo>
                    <a:pt x="710" y="253"/>
                  </a:lnTo>
                  <a:lnTo>
                    <a:pt x="706" y="245"/>
                  </a:lnTo>
                  <a:lnTo>
                    <a:pt x="702" y="238"/>
                  </a:lnTo>
                  <a:lnTo>
                    <a:pt x="695" y="222"/>
                  </a:lnTo>
                  <a:lnTo>
                    <a:pt x="689" y="213"/>
                  </a:lnTo>
                  <a:lnTo>
                    <a:pt x="688" y="181"/>
                  </a:lnTo>
                  <a:lnTo>
                    <a:pt x="686" y="143"/>
                  </a:lnTo>
                  <a:lnTo>
                    <a:pt x="683" y="105"/>
                  </a:lnTo>
                  <a:lnTo>
                    <a:pt x="682" y="69"/>
                  </a:lnTo>
                  <a:lnTo>
                    <a:pt x="670" y="57"/>
                  </a:lnTo>
                  <a:lnTo>
                    <a:pt x="669" y="51"/>
                  </a:lnTo>
                  <a:lnTo>
                    <a:pt x="667" y="46"/>
                  </a:lnTo>
                  <a:lnTo>
                    <a:pt x="663" y="39"/>
                  </a:lnTo>
                  <a:lnTo>
                    <a:pt x="660" y="33"/>
                  </a:lnTo>
                  <a:lnTo>
                    <a:pt x="655" y="28"/>
                  </a:lnTo>
                  <a:lnTo>
                    <a:pt x="651" y="23"/>
                  </a:lnTo>
                  <a:lnTo>
                    <a:pt x="648" y="20"/>
                  </a:lnTo>
                  <a:lnTo>
                    <a:pt x="645" y="19"/>
                  </a:lnTo>
                  <a:lnTo>
                    <a:pt x="644" y="14"/>
                  </a:lnTo>
                  <a:lnTo>
                    <a:pt x="642" y="11"/>
                  </a:lnTo>
                  <a:lnTo>
                    <a:pt x="639" y="8"/>
                  </a:lnTo>
                  <a:lnTo>
                    <a:pt x="635" y="4"/>
                  </a:lnTo>
                  <a:lnTo>
                    <a:pt x="629" y="1"/>
                  </a:lnTo>
                  <a:lnTo>
                    <a:pt x="626" y="0"/>
                  </a:lnTo>
                  <a:lnTo>
                    <a:pt x="545" y="0"/>
                  </a:lnTo>
                  <a:lnTo>
                    <a:pt x="545" y="4"/>
                  </a:lnTo>
                  <a:lnTo>
                    <a:pt x="544" y="5"/>
                  </a:lnTo>
                  <a:lnTo>
                    <a:pt x="543" y="7"/>
                  </a:lnTo>
                  <a:lnTo>
                    <a:pt x="542" y="7"/>
                  </a:lnTo>
                  <a:lnTo>
                    <a:pt x="541" y="7"/>
                  </a:lnTo>
                  <a:lnTo>
                    <a:pt x="539" y="8"/>
                  </a:lnTo>
                  <a:lnTo>
                    <a:pt x="539" y="9"/>
                  </a:lnTo>
                  <a:lnTo>
                    <a:pt x="538" y="12"/>
                  </a:lnTo>
                  <a:lnTo>
                    <a:pt x="445" y="12"/>
                  </a:lnTo>
                  <a:lnTo>
                    <a:pt x="443" y="10"/>
                  </a:lnTo>
                  <a:lnTo>
                    <a:pt x="439" y="7"/>
                  </a:lnTo>
                  <a:lnTo>
                    <a:pt x="433" y="4"/>
                  </a:lnTo>
                  <a:lnTo>
                    <a:pt x="426" y="3"/>
                  </a:lnTo>
                  <a:lnTo>
                    <a:pt x="404" y="1"/>
                  </a:lnTo>
                  <a:lnTo>
                    <a:pt x="381" y="0"/>
                  </a:lnTo>
                  <a:lnTo>
                    <a:pt x="356" y="1"/>
                  </a:lnTo>
                  <a:lnTo>
                    <a:pt x="333" y="2"/>
                  </a:lnTo>
                  <a:lnTo>
                    <a:pt x="314" y="4"/>
                  </a:lnTo>
                  <a:lnTo>
                    <a:pt x="303" y="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49" name="Freeform 15"/>
            <p:cNvSpPr>
              <a:spLocks noChangeAspect="1"/>
            </p:cNvSpPr>
            <p:nvPr/>
          </p:nvSpPr>
          <p:spPr bwMode="gray">
            <a:xfrm rot="355651">
              <a:off x="5808074" y="3995738"/>
              <a:ext cx="305749" cy="282119"/>
            </a:xfrm>
            <a:custGeom>
              <a:avLst/>
              <a:gdLst/>
              <a:ahLst/>
              <a:cxnLst>
                <a:cxn ang="0">
                  <a:pos x="1402" y="770"/>
                </a:cxn>
                <a:cxn ang="0">
                  <a:pos x="1286" y="763"/>
                </a:cxn>
                <a:cxn ang="0">
                  <a:pos x="1187" y="690"/>
                </a:cxn>
                <a:cxn ang="0">
                  <a:pos x="1112" y="619"/>
                </a:cxn>
                <a:cxn ang="0">
                  <a:pos x="1034" y="523"/>
                </a:cxn>
                <a:cxn ang="0">
                  <a:pos x="1008" y="483"/>
                </a:cxn>
                <a:cxn ang="0">
                  <a:pos x="977" y="436"/>
                </a:cxn>
                <a:cxn ang="0">
                  <a:pos x="961" y="349"/>
                </a:cxn>
                <a:cxn ang="0">
                  <a:pos x="938" y="183"/>
                </a:cxn>
                <a:cxn ang="0">
                  <a:pos x="932" y="2"/>
                </a:cxn>
                <a:cxn ang="0">
                  <a:pos x="846" y="19"/>
                </a:cxn>
                <a:cxn ang="0">
                  <a:pos x="754" y="36"/>
                </a:cxn>
                <a:cxn ang="0">
                  <a:pos x="724" y="52"/>
                </a:cxn>
                <a:cxn ang="0">
                  <a:pos x="667" y="118"/>
                </a:cxn>
                <a:cxn ang="0">
                  <a:pos x="590" y="145"/>
                </a:cxn>
                <a:cxn ang="0">
                  <a:pos x="543" y="138"/>
                </a:cxn>
                <a:cxn ang="0">
                  <a:pos x="453" y="111"/>
                </a:cxn>
                <a:cxn ang="0">
                  <a:pos x="336" y="98"/>
                </a:cxn>
                <a:cxn ang="0">
                  <a:pos x="196" y="165"/>
                </a:cxn>
                <a:cxn ang="0">
                  <a:pos x="141" y="466"/>
                </a:cxn>
                <a:cxn ang="0">
                  <a:pos x="93" y="564"/>
                </a:cxn>
                <a:cxn ang="0">
                  <a:pos x="112" y="627"/>
                </a:cxn>
                <a:cxn ang="0">
                  <a:pos x="122" y="669"/>
                </a:cxn>
                <a:cxn ang="0">
                  <a:pos x="70" y="790"/>
                </a:cxn>
                <a:cxn ang="0">
                  <a:pos x="32" y="856"/>
                </a:cxn>
                <a:cxn ang="0">
                  <a:pos x="7" y="915"/>
                </a:cxn>
                <a:cxn ang="0">
                  <a:pos x="96" y="1034"/>
                </a:cxn>
                <a:cxn ang="0">
                  <a:pos x="216" y="1063"/>
                </a:cxn>
                <a:cxn ang="0">
                  <a:pos x="366" y="1109"/>
                </a:cxn>
                <a:cxn ang="0">
                  <a:pos x="390" y="1179"/>
                </a:cxn>
                <a:cxn ang="0">
                  <a:pos x="375" y="1419"/>
                </a:cxn>
                <a:cxn ang="0">
                  <a:pos x="389" y="1543"/>
                </a:cxn>
                <a:cxn ang="0">
                  <a:pos x="541" y="1529"/>
                </a:cxn>
                <a:cxn ang="0">
                  <a:pos x="601" y="1596"/>
                </a:cxn>
                <a:cxn ang="0">
                  <a:pos x="603" y="1635"/>
                </a:cxn>
                <a:cxn ang="0">
                  <a:pos x="654" y="1680"/>
                </a:cxn>
                <a:cxn ang="0">
                  <a:pos x="722" y="1748"/>
                </a:cxn>
                <a:cxn ang="0">
                  <a:pos x="742" y="1667"/>
                </a:cxn>
                <a:cxn ang="0">
                  <a:pos x="755" y="1637"/>
                </a:cxn>
                <a:cxn ang="0">
                  <a:pos x="858" y="1522"/>
                </a:cxn>
                <a:cxn ang="0">
                  <a:pos x="851" y="1428"/>
                </a:cxn>
                <a:cxn ang="0">
                  <a:pos x="812" y="1263"/>
                </a:cxn>
                <a:cxn ang="0">
                  <a:pos x="850" y="1214"/>
                </a:cxn>
                <a:cxn ang="0">
                  <a:pos x="886" y="1020"/>
                </a:cxn>
                <a:cxn ang="0">
                  <a:pos x="1018" y="977"/>
                </a:cxn>
                <a:cxn ang="0">
                  <a:pos x="1088" y="1000"/>
                </a:cxn>
                <a:cxn ang="0">
                  <a:pos x="1210" y="1111"/>
                </a:cxn>
                <a:cxn ang="0">
                  <a:pos x="1360" y="1342"/>
                </a:cxn>
                <a:cxn ang="0">
                  <a:pos x="1473" y="1575"/>
                </a:cxn>
                <a:cxn ang="0">
                  <a:pos x="1629" y="1650"/>
                </a:cxn>
                <a:cxn ang="0">
                  <a:pos x="1656" y="1493"/>
                </a:cxn>
                <a:cxn ang="0">
                  <a:pos x="1630" y="1399"/>
                </a:cxn>
                <a:cxn ang="0">
                  <a:pos x="1575" y="1331"/>
                </a:cxn>
                <a:cxn ang="0">
                  <a:pos x="1555" y="1272"/>
                </a:cxn>
                <a:cxn ang="0">
                  <a:pos x="1527" y="1125"/>
                </a:cxn>
                <a:cxn ang="0">
                  <a:pos x="1500" y="1080"/>
                </a:cxn>
                <a:cxn ang="0">
                  <a:pos x="1481" y="1062"/>
                </a:cxn>
                <a:cxn ang="0">
                  <a:pos x="1445" y="1044"/>
                </a:cxn>
                <a:cxn ang="0">
                  <a:pos x="1438" y="991"/>
                </a:cxn>
                <a:cxn ang="0">
                  <a:pos x="1450" y="957"/>
                </a:cxn>
                <a:cxn ang="0">
                  <a:pos x="1464" y="937"/>
                </a:cxn>
                <a:cxn ang="0">
                  <a:pos x="1457" y="866"/>
                </a:cxn>
              </a:cxnLst>
              <a:rect l="0" t="0" r="r" b="b"/>
              <a:pathLst>
                <a:path w="1680" h="1756">
                  <a:moveTo>
                    <a:pt x="1462" y="764"/>
                  </a:moveTo>
                  <a:lnTo>
                    <a:pt x="1450" y="764"/>
                  </a:lnTo>
                  <a:lnTo>
                    <a:pt x="1438" y="764"/>
                  </a:lnTo>
                  <a:lnTo>
                    <a:pt x="1427" y="764"/>
                  </a:lnTo>
                  <a:lnTo>
                    <a:pt x="1416" y="764"/>
                  </a:lnTo>
                  <a:lnTo>
                    <a:pt x="1416" y="766"/>
                  </a:lnTo>
                  <a:lnTo>
                    <a:pt x="1414" y="767"/>
                  </a:lnTo>
                  <a:lnTo>
                    <a:pt x="1412" y="769"/>
                  </a:lnTo>
                  <a:lnTo>
                    <a:pt x="1408" y="769"/>
                  </a:lnTo>
                  <a:lnTo>
                    <a:pt x="1402" y="770"/>
                  </a:lnTo>
                  <a:lnTo>
                    <a:pt x="1397" y="770"/>
                  </a:lnTo>
                  <a:lnTo>
                    <a:pt x="1396" y="771"/>
                  </a:lnTo>
                  <a:lnTo>
                    <a:pt x="1393" y="772"/>
                  </a:lnTo>
                  <a:lnTo>
                    <a:pt x="1387" y="773"/>
                  </a:lnTo>
                  <a:lnTo>
                    <a:pt x="1380" y="773"/>
                  </a:lnTo>
                  <a:lnTo>
                    <a:pt x="1364" y="772"/>
                  </a:lnTo>
                  <a:lnTo>
                    <a:pt x="1345" y="771"/>
                  </a:lnTo>
                  <a:lnTo>
                    <a:pt x="1309" y="766"/>
                  </a:lnTo>
                  <a:lnTo>
                    <a:pt x="1293" y="764"/>
                  </a:lnTo>
                  <a:lnTo>
                    <a:pt x="1286" y="763"/>
                  </a:lnTo>
                  <a:lnTo>
                    <a:pt x="1278" y="761"/>
                  </a:lnTo>
                  <a:lnTo>
                    <a:pt x="1269" y="756"/>
                  </a:lnTo>
                  <a:lnTo>
                    <a:pt x="1259" y="751"/>
                  </a:lnTo>
                  <a:lnTo>
                    <a:pt x="1248" y="744"/>
                  </a:lnTo>
                  <a:lnTo>
                    <a:pt x="1238" y="736"/>
                  </a:lnTo>
                  <a:lnTo>
                    <a:pt x="1226" y="727"/>
                  </a:lnTo>
                  <a:lnTo>
                    <a:pt x="1216" y="718"/>
                  </a:lnTo>
                  <a:lnTo>
                    <a:pt x="1206" y="709"/>
                  </a:lnTo>
                  <a:lnTo>
                    <a:pt x="1196" y="699"/>
                  </a:lnTo>
                  <a:lnTo>
                    <a:pt x="1187" y="690"/>
                  </a:lnTo>
                  <a:lnTo>
                    <a:pt x="1181" y="682"/>
                  </a:lnTo>
                  <a:lnTo>
                    <a:pt x="1174" y="673"/>
                  </a:lnTo>
                  <a:lnTo>
                    <a:pt x="1169" y="665"/>
                  </a:lnTo>
                  <a:lnTo>
                    <a:pt x="1166" y="657"/>
                  </a:lnTo>
                  <a:lnTo>
                    <a:pt x="1165" y="651"/>
                  </a:lnTo>
                  <a:lnTo>
                    <a:pt x="1155" y="651"/>
                  </a:lnTo>
                  <a:lnTo>
                    <a:pt x="1143" y="638"/>
                  </a:lnTo>
                  <a:lnTo>
                    <a:pt x="1130" y="626"/>
                  </a:lnTo>
                  <a:lnTo>
                    <a:pt x="1120" y="626"/>
                  </a:lnTo>
                  <a:lnTo>
                    <a:pt x="1112" y="619"/>
                  </a:lnTo>
                  <a:lnTo>
                    <a:pt x="1096" y="601"/>
                  </a:lnTo>
                  <a:lnTo>
                    <a:pt x="1079" y="584"/>
                  </a:lnTo>
                  <a:lnTo>
                    <a:pt x="1071" y="577"/>
                  </a:lnTo>
                  <a:lnTo>
                    <a:pt x="1070" y="571"/>
                  </a:lnTo>
                  <a:lnTo>
                    <a:pt x="1069" y="565"/>
                  </a:lnTo>
                  <a:lnTo>
                    <a:pt x="1066" y="560"/>
                  </a:lnTo>
                  <a:lnTo>
                    <a:pt x="1062" y="554"/>
                  </a:lnTo>
                  <a:lnTo>
                    <a:pt x="1053" y="544"/>
                  </a:lnTo>
                  <a:lnTo>
                    <a:pt x="1044" y="533"/>
                  </a:lnTo>
                  <a:lnTo>
                    <a:pt x="1034" y="523"/>
                  </a:lnTo>
                  <a:lnTo>
                    <a:pt x="1025" y="512"/>
                  </a:lnTo>
                  <a:lnTo>
                    <a:pt x="1022" y="507"/>
                  </a:lnTo>
                  <a:lnTo>
                    <a:pt x="1019" y="503"/>
                  </a:lnTo>
                  <a:lnTo>
                    <a:pt x="1018" y="497"/>
                  </a:lnTo>
                  <a:lnTo>
                    <a:pt x="1016" y="493"/>
                  </a:lnTo>
                  <a:lnTo>
                    <a:pt x="1013" y="493"/>
                  </a:lnTo>
                  <a:lnTo>
                    <a:pt x="1011" y="492"/>
                  </a:lnTo>
                  <a:lnTo>
                    <a:pt x="1010" y="490"/>
                  </a:lnTo>
                  <a:lnTo>
                    <a:pt x="1009" y="487"/>
                  </a:lnTo>
                  <a:lnTo>
                    <a:pt x="1008" y="483"/>
                  </a:lnTo>
                  <a:lnTo>
                    <a:pt x="1006" y="478"/>
                  </a:lnTo>
                  <a:lnTo>
                    <a:pt x="1004" y="477"/>
                  </a:lnTo>
                  <a:lnTo>
                    <a:pt x="1001" y="473"/>
                  </a:lnTo>
                  <a:lnTo>
                    <a:pt x="996" y="468"/>
                  </a:lnTo>
                  <a:lnTo>
                    <a:pt x="993" y="462"/>
                  </a:lnTo>
                  <a:lnTo>
                    <a:pt x="989" y="455"/>
                  </a:lnTo>
                  <a:lnTo>
                    <a:pt x="985" y="449"/>
                  </a:lnTo>
                  <a:lnTo>
                    <a:pt x="983" y="443"/>
                  </a:lnTo>
                  <a:lnTo>
                    <a:pt x="982" y="438"/>
                  </a:lnTo>
                  <a:lnTo>
                    <a:pt x="977" y="436"/>
                  </a:lnTo>
                  <a:lnTo>
                    <a:pt x="972" y="434"/>
                  </a:lnTo>
                  <a:lnTo>
                    <a:pt x="972" y="415"/>
                  </a:lnTo>
                  <a:lnTo>
                    <a:pt x="970" y="395"/>
                  </a:lnTo>
                  <a:lnTo>
                    <a:pt x="968" y="376"/>
                  </a:lnTo>
                  <a:lnTo>
                    <a:pt x="967" y="360"/>
                  </a:lnTo>
                  <a:lnTo>
                    <a:pt x="964" y="359"/>
                  </a:lnTo>
                  <a:lnTo>
                    <a:pt x="963" y="357"/>
                  </a:lnTo>
                  <a:lnTo>
                    <a:pt x="963" y="353"/>
                  </a:lnTo>
                  <a:lnTo>
                    <a:pt x="963" y="350"/>
                  </a:lnTo>
                  <a:lnTo>
                    <a:pt x="961" y="349"/>
                  </a:lnTo>
                  <a:lnTo>
                    <a:pt x="958" y="348"/>
                  </a:lnTo>
                  <a:lnTo>
                    <a:pt x="956" y="346"/>
                  </a:lnTo>
                  <a:lnTo>
                    <a:pt x="954" y="343"/>
                  </a:lnTo>
                  <a:lnTo>
                    <a:pt x="951" y="336"/>
                  </a:lnTo>
                  <a:lnTo>
                    <a:pt x="948" y="324"/>
                  </a:lnTo>
                  <a:lnTo>
                    <a:pt x="944" y="299"/>
                  </a:lnTo>
                  <a:lnTo>
                    <a:pt x="941" y="267"/>
                  </a:lnTo>
                  <a:lnTo>
                    <a:pt x="939" y="236"/>
                  </a:lnTo>
                  <a:lnTo>
                    <a:pt x="938" y="206"/>
                  </a:lnTo>
                  <a:lnTo>
                    <a:pt x="938" y="183"/>
                  </a:lnTo>
                  <a:lnTo>
                    <a:pt x="937" y="167"/>
                  </a:lnTo>
                  <a:lnTo>
                    <a:pt x="938" y="148"/>
                  </a:lnTo>
                  <a:lnTo>
                    <a:pt x="939" y="128"/>
                  </a:lnTo>
                  <a:lnTo>
                    <a:pt x="941" y="107"/>
                  </a:lnTo>
                  <a:lnTo>
                    <a:pt x="943" y="86"/>
                  </a:lnTo>
                  <a:lnTo>
                    <a:pt x="945" y="63"/>
                  </a:lnTo>
                  <a:lnTo>
                    <a:pt x="946" y="42"/>
                  </a:lnTo>
                  <a:lnTo>
                    <a:pt x="947" y="20"/>
                  </a:lnTo>
                  <a:lnTo>
                    <a:pt x="947" y="0"/>
                  </a:lnTo>
                  <a:lnTo>
                    <a:pt x="932" y="2"/>
                  </a:lnTo>
                  <a:lnTo>
                    <a:pt x="912" y="6"/>
                  </a:lnTo>
                  <a:lnTo>
                    <a:pt x="902" y="10"/>
                  </a:lnTo>
                  <a:lnTo>
                    <a:pt x="890" y="12"/>
                  </a:lnTo>
                  <a:lnTo>
                    <a:pt x="879" y="14"/>
                  </a:lnTo>
                  <a:lnTo>
                    <a:pt x="869" y="14"/>
                  </a:lnTo>
                  <a:lnTo>
                    <a:pt x="868" y="16"/>
                  </a:lnTo>
                  <a:lnTo>
                    <a:pt x="865" y="17"/>
                  </a:lnTo>
                  <a:lnTo>
                    <a:pt x="860" y="17"/>
                  </a:lnTo>
                  <a:lnTo>
                    <a:pt x="856" y="19"/>
                  </a:lnTo>
                  <a:lnTo>
                    <a:pt x="846" y="19"/>
                  </a:lnTo>
                  <a:lnTo>
                    <a:pt x="839" y="19"/>
                  </a:lnTo>
                  <a:lnTo>
                    <a:pt x="838" y="21"/>
                  </a:lnTo>
                  <a:lnTo>
                    <a:pt x="836" y="23"/>
                  </a:lnTo>
                  <a:lnTo>
                    <a:pt x="832" y="24"/>
                  </a:lnTo>
                  <a:lnTo>
                    <a:pt x="828" y="25"/>
                  </a:lnTo>
                  <a:lnTo>
                    <a:pt x="817" y="29"/>
                  </a:lnTo>
                  <a:lnTo>
                    <a:pt x="802" y="30"/>
                  </a:lnTo>
                  <a:lnTo>
                    <a:pt x="774" y="33"/>
                  </a:lnTo>
                  <a:lnTo>
                    <a:pt x="755" y="34"/>
                  </a:lnTo>
                  <a:lnTo>
                    <a:pt x="754" y="36"/>
                  </a:lnTo>
                  <a:lnTo>
                    <a:pt x="753" y="39"/>
                  </a:lnTo>
                  <a:lnTo>
                    <a:pt x="751" y="39"/>
                  </a:lnTo>
                  <a:lnTo>
                    <a:pt x="747" y="40"/>
                  </a:lnTo>
                  <a:lnTo>
                    <a:pt x="745" y="40"/>
                  </a:lnTo>
                  <a:lnTo>
                    <a:pt x="743" y="42"/>
                  </a:lnTo>
                  <a:lnTo>
                    <a:pt x="741" y="44"/>
                  </a:lnTo>
                  <a:lnTo>
                    <a:pt x="741" y="49"/>
                  </a:lnTo>
                  <a:lnTo>
                    <a:pt x="735" y="49"/>
                  </a:lnTo>
                  <a:lnTo>
                    <a:pt x="730" y="51"/>
                  </a:lnTo>
                  <a:lnTo>
                    <a:pt x="724" y="52"/>
                  </a:lnTo>
                  <a:lnTo>
                    <a:pt x="718" y="55"/>
                  </a:lnTo>
                  <a:lnTo>
                    <a:pt x="708" y="61"/>
                  </a:lnTo>
                  <a:lnTo>
                    <a:pt x="698" y="69"/>
                  </a:lnTo>
                  <a:lnTo>
                    <a:pt x="689" y="75"/>
                  </a:lnTo>
                  <a:lnTo>
                    <a:pt x="682" y="82"/>
                  </a:lnTo>
                  <a:lnTo>
                    <a:pt x="676" y="87"/>
                  </a:lnTo>
                  <a:lnTo>
                    <a:pt x="672" y="88"/>
                  </a:lnTo>
                  <a:lnTo>
                    <a:pt x="670" y="99"/>
                  </a:lnTo>
                  <a:lnTo>
                    <a:pt x="668" y="108"/>
                  </a:lnTo>
                  <a:lnTo>
                    <a:pt x="667" y="118"/>
                  </a:lnTo>
                  <a:lnTo>
                    <a:pt x="666" y="128"/>
                  </a:lnTo>
                  <a:lnTo>
                    <a:pt x="668" y="128"/>
                  </a:lnTo>
                  <a:lnTo>
                    <a:pt x="669" y="130"/>
                  </a:lnTo>
                  <a:lnTo>
                    <a:pt x="670" y="132"/>
                  </a:lnTo>
                  <a:lnTo>
                    <a:pt x="670" y="136"/>
                  </a:lnTo>
                  <a:lnTo>
                    <a:pt x="672" y="142"/>
                  </a:lnTo>
                  <a:lnTo>
                    <a:pt x="672" y="147"/>
                  </a:lnTo>
                  <a:lnTo>
                    <a:pt x="592" y="147"/>
                  </a:lnTo>
                  <a:lnTo>
                    <a:pt x="592" y="146"/>
                  </a:lnTo>
                  <a:lnTo>
                    <a:pt x="590" y="145"/>
                  </a:lnTo>
                  <a:lnTo>
                    <a:pt x="589" y="144"/>
                  </a:lnTo>
                  <a:lnTo>
                    <a:pt x="587" y="144"/>
                  </a:lnTo>
                  <a:lnTo>
                    <a:pt x="582" y="142"/>
                  </a:lnTo>
                  <a:lnTo>
                    <a:pt x="578" y="142"/>
                  </a:lnTo>
                  <a:lnTo>
                    <a:pt x="577" y="141"/>
                  </a:lnTo>
                  <a:lnTo>
                    <a:pt x="572" y="139"/>
                  </a:lnTo>
                  <a:lnTo>
                    <a:pt x="568" y="139"/>
                  </a:lnTo>
                  <a:lnTo>
                    <a:pt x="562" y="138"/>
                  </a:lnTo>
                  <a:lnTo>
                    <a:pt x="550" y="138"/>
                  </a:lnTo>
                  <a:lnTo>
                    <a:pt x="543" y="138"/>
                  </a:lnTo>
                  <a:lnTo>
                    <a:pt x="540" y="136"/>
                  </a:lnTo>
                  <a:lnTo>
                    <a:pt x="531" y="132"/>
                  </a:lnTo>
                  <a:lnTo>
                    <a:pt x="517" y="129"/>
                  </a:lnTo>
                  <a:lnTo>
                    <a:pt x="503" y="126"/>
                  </a:lnTo>
                  <a:lnTo>
                    <a:pt x="474" y="120"/>
                  </a:lnTo>
                  <a:lnTo>
                    <a:pt x="459" y="118"/>
                  </a:lnTo>
                  <a:lnTo>
                    <a:pt x="458" y="116"/>
                  </a:lnTo>
                  <a:lnTo>
                    <a:pt x="457" y="115"/>
                  </a:lnTo>
                  <a:lnTo>
                    <a:pt x="455" y="112"/>
                  </a:lnTo>
                  <a:lnTo>
                    <a:pt x="453" y="111"/>
                  </a:lnTo>
                  <a:lnTo>
                    <a:pt x="446" y="109"/>
                  </a:lnTo>
                  <a:lnTo>
                    <a:pt x="439" y="108"/>
                  </a:lnTo>
                  <a:lnTo>
                    <a:pt x="438" y="107"/>
                  </a:lnTo>
                  <a:lnTo>
                    <a:pt x="437" y="104"/>
                  </a:lnTo>
                  <a:lnTo>
                    <a:pt x="434" y="103"/>
                  </a:lnTo>
                  <a:lnTo>
                    <a:pt x="430" y="102"/>
                  </a:lnTo>
                  <a:lnTo>
                    <a:pt x="420" y="100"/>
                  </a:lnTo>
                  <a:lnTo>
                    <a:pt x="407" y="99"/>
                  </a:lnTo>
                  <a:lnTo>
                    <a:pt x="375" y="97"/>
                  </a:lnTo>
                  <a:lnTo>
                    <a:pt x="336" y="98"/>
                  </a:lnTo>
                  <a:lnTo>
                    <a:pt x="296" y="101"/>
                  </a:lnTo>
                  <a:lnTo>
                    <a:pt x="260" y="106"/>
                  </a:lnTo>
                  <a:lnTo>
                    <a:pt x="245" y="108"/>
                  </a:lnTo>
                  <a:lnTo>
                    <a:pt x="232" y="111"/>
                  </a:lnTo>
                  <a:lnTo>
                    <a:pt x="223" y="115"/>
                  </a:lnTo>
                  <a:lnTo>
                    <a:pt x="217" y="118"/>
                  </a:lnTo>
                  <a:lnTo>
                    <a:pt x="212" y="126"/>
                  </a:lnTo>
                  <a:lnTo>
                    <a:pt x="206" y="136"/>
                  </a:lnTo>
                  <a:lnTo>
                    <a:pt x="200" y="149"/>
                  </a:lnTo>
                  <a:lnTo>
                    <a:pt x="196" y="165"/>
                  </a:lnTo>
                  <a:lnTo>
                    <a:pt x="187" y="199"/>
                  </a:lnTo>
                  <a:lnTo>
                    <a:pt x="178" y="237"/>
                  </a:lnTo>
                  <a:lnTo>
                    <a:pt x="171" y="274"/>
                  </a:lnTo>
                  <a:lnTo>
                    <a:pt x="165" y="305"/>
                  </a:lnTo>
                  <a:lnTo>
                    <a:pt x="160" y="327"/>
                  </a:lnTo>
                  <a:lnTo>
                    <a:pt x="158" y="336"/>
                  </a:lnTo>
                  <a:lnTo>
                    <a:pt x="157" y="357"/>
                  </a:lnTo>
                  <a:lnTo>
                    <a:pt x="154" y="388"/>
                  </a:lnTo>
                  <a:lnTo>
                    <a:pt x="149" y="426"/>
                  </a:lnTo>
                  <a:lnTo>
                    <a:pt x="141" y="466"/>
                  </a:lnTo>
                  <a:lnTo>
                    <a:pt x="137" y="485"/>
                  </a:lnTo>
                  <a:lnTo>
                    <a:pt x="131" y="504"/>
                  </a:lnTo>
                  <a:lnTo>
                    <a:pt x="125" y="521"/>
                  </a:lnTo>
                  <a:lnTo>
                    <a:pt x="118" y="536"/>
                  </a:lnTo>
                  <a:lnTo>
                    <a:pt x="115" y="543"/>
                  </a:lnTo>
                  <a:lnTo>
                    <a:pt x="111" y="549"/>
                  </a:lnTo>
                  <a:lnTo>
                    <a:pt x="107" y="554"/>
                  </a:lnTo>
                  <a:lnTo>
                    <a:pt x="102" y="559"/>
                  </a:lnTo>
                  <a:lnTo>
                    <a:pt x="98" y="562"/>
                  </a:lnTo>
                  <a:lnTo>
                    <a:pt x="93" y="564"/>
                  </a:lnTo>
                  <a:lnTo>
                    <a:pt x="89" y="567"/>
                  </a:lnTo>
                  <a:lnTo>
                    <a:pt x="83" y="567"/>
                  </a:lnTo>
                  <a:lnTo>
                    <a:pt x="83" y="591"/>
                  </a:lnTo>
                  <a:lnTo>
                    <a:pt x="88" y="593"/>
                  </a:lnTo>
                  <a:lnTo>
                    <a:pt x="92" y="597"/>
                  </a:lnTo>
                  <a:lnTo>
                    <a:pt x="98" y="601"/>
                  </a:lnTo>
                  <a:lnTo>
                    <a:pt x="102" y="608"/>
                  </a:lnTo>
                  <a:lnTo>
                    <a:pt x="107" y="615"/>
                  </a:lnTo>
                  <a:lnTo>
                    <a:pt x="110" y="621"/>
                  </a:lnTo>
                  <a:lnTo>
                    <a:pt x="112" y="627"/>
                  </a:lnTo>
                  <a:lnTo>
                    <a:pt x="113" y="631"/>
                  </a:lnTo>
                  <a:lnTo>
                    <a:pt x="117" y="632"/>
                  </a:lnTo>
                  <a:lnTo>
                    <a:pt x="118" y="635"/>
                  </a:lnTo>
                  <a:lnTo>
                    <a:pt x="118" y="637"/>
                  </a:lnTo>
                  <a:lnTo>
                    <a:pt x="118" y="641"/>
                  </a:lnTo>
                  <a:lnTo>
                    <a:pt x="120" y="642"/>
                  </a:lnTo>
                  <a:lnTo>
                    <a:pt x="121" y="645"/>
                  </a:lnTo>
                  <a:lnTo>
                    <a:pt x="122" y="649"/>
                  </a:lnTo>
                  <a:lnTo>
                    <a:pt x="122" y="655"/>
                  </a:lnTo>
                  <a:lnTo>
                    <a:pt x="122" y="669"/>
                  </a:lnTo>
                  <a:lnTo>
                    <a:pt x="121" y="687"/>
                  </a:lnTo>
                  <a:lnTo>
                    <a:pt x="120" y="704"/>
                  </a:lnTo>
                  <a:lnTo>
                    <a:pt x="118" y="721"/>
                  </a:lnTo>
                  <a:lnTo>
                    <a:pt x="116" y="733"/>
                  </a:lnTo>
                  <a:lnTo>
                    <a:pt x="113" y="740"/>
                  </a:lnTo>
                  <a:lnTo>
                    <a:pt x="108" y="750"/>
                  </a:lnTo>
                  <a:lnTo>
                    <a:pt x="100" y="759"/>
                  </a:lnTo>
                  <a:lnTo>
                    <a:pt x="90" y="769"/>
                  </a:lnTo>
                  <a:lnTo>
                    <a:pt x="80" y="780"/>
                  </a:lnTo>
                  <a:lnTo>
                    <a:pt x="70" y="790"/>
                  </a:lnTo>
                  <a:lnTo>
                    <a:pt x="62" y="800"/>
                  </a:lnTo>
                  <a:lnTo>
                    <a:pt x="59" y="804"/>
                  </a:lnTo>
                  <a:lnTo>
                    <a:pt x="56" y="809"/>
                  </a:lnTo>
                  <a:lnTo>
                    <a:pt x="54" y="814"/>
                  </a:lnTo>
                  <a:lnTo>
                    <a:pt x="54" y="819"/>
                  </a:lnTo>
                  <a:lnTo>
                    <a:pt x="44" y="819"/>
                  </a:lnTo>
                  <a:lnTo>
                    <a:pt x="43" y="827"/>
                  </a:lnTo>
                  <a:lnTo>
                    <a:pt x="41" y="837"/>
                  </a:lnTo>
                  <a:lnTo>
                    <a:pt x="37" y="846"/>
                  </a:lnTo>
                  <a:lnTo>
                    <a:pt x="32" y="856"/>
                  </a:lnTo>
                  <a:lnTo>
                    <a:pt x="26" y="865"/>
                  </a:lnTo>
                  <a:lnTo>
                    <a:pt x="20" y="871"/>
                  </a:lnTo>
                  <a:lnTo>
                    <a:pt x="16" y="875"/>
                  </a:lnTo>
                  <a:lnTo>
                    <a:pt x="12" y="876"/>
                  </a:lnTo>
                  <a:lnTo>
                    <a:pt x="8" y="878"/>
                  </a:lnTo>
                  <a:lnTo>
                    <a:pt x="5" y="878"/>
                  </a:lnTo>
                  <a:lnTo>
                    <a:pt x="0" y="882"/>
                  </a:lnTo>
                  <a:lnTo>
                    <a:pt x="1" y="892"/>
                  </a:lnTo>
                  <a:lnTo>
                    <a:pt x="3" y="902"/>
                  </a:lnTo>
                  <a:lnTo>
                    <a:pt x="7" y="915"/>
                  </a:lnTo>
                  <a:lnTo>
                    <a:pt x="13" y="927"/>
                  </a:lnTo>
                  <a:lnTo>
                    <a:pt x="20" y="940"/>
                  </a:lnTo>
                  <a:lnTo>
                    <a:pt x="27" y="954"/>
                  </a:lnTo>
                  <a:lnTo>
                    <a:pt x="35" y="967"/>
                  </a:lnTo>
                  <a:lnTo>
                    <a:pt x="45" y="981"/>
                  </a:lnTo>
                  <a:lnTo>
                    <a:pt x="54" y="994"/>
                  </a:lnTo>
                  <a:lnTo>
                    <a:pt x="64" y="1006"/>
                  </a:lnTo>
                  <a:lnTo>
                    <a:pt x="75" y="1016"/>
                  </a:lnTo>
                  <a:lnTo>
                    <a:pt x="85" y="1026"/>
                  </a:lnTo>
                  <a:lnTo>
                    <a:pt x="96" y="1034"/>
                  </a:lnTo>
                  <a:lnTo>
                    <a:pt x="106" y="1041"/>
                  </a:lnTo>
                  <a:lnTo>
                    <a:pt x="110" y="1043"/>
                  </a:lnTo>
                  <a:lnTo>
                    <a:pt x="115" y="1044"/>
                  </a:lnTo>
                  <a:lnTo>
                    <a:pt x="119" y="1045"/>
                  </a:lnTo>
                  <a:lnTo>
                    <a:pt x="123" y="1045"/>
                  </a:lnTo>
                  <a:lnTo>
                    <a:pt x="139" y="1046"/>
                  </a:lnTo>
                  <a:lnTo>
                    <a:pt x="155" y="1048"/>
                  </a:lnTo>
                  <a:lnTo>
                    <a:pt x="170" y="1051"/>
                  </a:lnTo>
                  <a:lnTo>
                    <a:pt x="186" y="1054"/>
                  </a:lnTo>
                  <a:lnTo>
                    <a:pt x="216" y="1063"/>
                  </a:lnTo>
                  <a:lnTo>
                    <a:pt x="246" y="1073"/>
                  </a:lnTo>
                  <a:lnTo>
                    <a:pt x="275" y="1083"/>
                  </a:lnTo>
                  <a:lnTo>
                    <a:pt x="304" y="1091"/>
                  </a:lnTo>
                  <a:lnTo>
                    <a:pt x="318" y="1094"/>
                  </a:lnTo>
                  <a:lnTo>
                    <a:pt x="330" y="1098"/>
                  </a:lnTo>
                  <a:lnTo>
                    <a:pt x="343" y="1099"/>
                  </a:lnTo>
                  <a:lnTo>
                    <a:pt x="356" y="1100"/>
                  </a:lnTo>
                  <a:lnTo>
                    <a:pt x="357" y="1103"/>
                  </a:lnTo>
                  <a:lnTo>
                    <a:pt x="361" y="1107"/>
                  </a:lnTo>
                  <a:lnTo>
                    <a:pt x="366" y="1109"/>
                  </a:lnTo>
                  <a:lnTo>
                    <a:pt x="370" y="1110"/>
                  </a:lnTo>
                  <a:lnTo>
                    <a:pt x="370" y="1125"/>
                  </a:lnTo>
                  <a:lnTo>
                    <a:pt x="372" y="1125"/>
                  </a:lnTo>
                  <a:lnTo>
                    <a:pt x="376" y="1127"/>
                  </a:lnTo>
                  <a:lnTo>
                    <a:pt x="378" y="1129"/>
                  </a:lnTo>
                  <a:lnTo>
                    <a:pt x="380" y="1132"/>
                  </a:lnTo>
                  <a:lnTo>
                    <a:pt x="384" y="1140"/>
                  </a:lnTo>
                  <a:lnTo>
                    <a:pt x="387" y="1151"/>
                  </a:lnTo>
                  <a:lnTo>
                    <a:pt x="389" y="1164"/>
                  </a:lnTo>
                  <a:lnTo>
                    <a:pt x="390" y="1179"/>
                  </a:lnTo>
                  <a:lnTo>
                    <a:pt x="392" y="1195"/>
                  </a:lnTo>
                  <a:lnTo>
                    <a:pt x="392" y="1211"/>
                  </a:lnTo>
                  <a:lnTo>
                    <a:pt x="394" y="1244"/>
                  </a:lnTo>
                  <a:lnTo>
                    <a:pt x="392" y="1274"/>
                  </a:lnTo>
                  <a:lnTo>
                    <a:pt x="391" y="1299"/>
                  </a:lnTo>
                  <a:lnTo>
                    <a:pt x="390" y="1312"/>
                  </a:lnTo>
                  <a:lnTo>
                    <a:pt x="385" y="1339"/>
                  </a:lnTo>
                  <a:lnTo>
                    <a:pt x="380" y="1365"/>
                  </a:lnTo>
                  <a:lnTo>
                    <a:pt x="377" y="1391"/>
                  </a:lnTo>
                  <a:lnTo>
                    <a:pt x="375" y="1419"/>
                  </a:lnTo>
                  <a:lnTo>
                    <a:pt x="372" y="1446"/>
                  </a:lnTo>
                  <a:lnTo>
                    <a:pt x="371" y="1474"/>
                  </a:lnTo>
                  <a:lnTo>
                    <a:pt x="370" y="1502"/>
                  </a:lnTo>
                  <a:lnTo>
                    <a:pt x="370" y="1530"/>
                  </a:lnTo>
                  <a:lnTo>
                    <a:pt x="380" y="1530"/>
                  </a:lnTo>
                  <a:lnTo>
                    <a:pt x="380" y="1533"/>
                  </a:lnTo>
                  <a:lnTo>
                    <a:pt x="381" y="1535"/>
                  </a:lnTo>
                  <a:lnTo>
                    <a:pt x="382" y="1539"/>
                  </a:lnTo>
                  <a:lnTo>
                    <a:pt x="384" y="1541"/>
                  </a:lnTo>
                  <a:lnTo>
                    <a:pt x="389" y="1543"/>
                  </a:lnTo>
                  <a:lnTo>
                    <a:pt x="395" y="1545"/>
                  </a:lnTo>
                  <a:lnTo>
                    <a:pt x="403" y="1545"/>
                  </a:lnTo>
                  <a:lnTo>
                    <a:pt x="410" y="1545"/>
                  </a:lnTo>
                  <a:lnTo>
                    <a:pt x="419" y="1544"/>
                  </a:lnTo>
                  <a:lnTo>
                    <a:pt x="428" y="1542"/>
                  </a:lnTo>
                  <a:lnTo>
                    <a:pt x="465" y="1531"/>
                  </a:lnTo>
                  <a:lnTo>
                    <a:pt x="488" y="1524"/>
                  </a:lnTo>
                  <a:lnTo>
                    <a:pt x="511" y="1525"/>
                  </a:lnTo>
                  <a:lnTo>
                    <a:pt x="531" y="1527"/>
                  </a:lnTo>
                  <a:lnTo>
                    <a:pt x="541" y="1529"/>
                  </a:lnTo>
                  <a:lnTo>
                    <a:pt x="551" y="1532"/>
                  </a:lnTo>
                  <a:lnTo>
                    <a:pt x="559" y="1534"/>
                  </a:lnTo>
                  <a:lnTo>
                    <a:pt x="568" y="1539"/>
                  </a:lnTo>
                  <a:lnTo>
                    <a:pt x="576" y="1543"/>
                  </a:lnTo>
                  <a:lnTo>
                    <a:pt x="582" y="1550"/>
                  </a:lnTo>
                  <a:lnTo>
                    <a:pt x="588" y="1556"/>
                  </a:lnTo>
                  <a:lnTo>
                    <a:pt x="592" y="1564"/>
                  </a:lnTo>
                  <a:lnTo>
                    <a:pt x="597" y="1573"/>
                  </a:lnTo>
                  <a:lnTo>
                    <a:pt x="600" y="1583"/>
                  </a:lnTo>
                  <a:lnTo>
                    <a:pt x="601" y="1596"/>
                  </a:lnTo>
                  <a:lnTo>
                    <a:pt x="602" y="1608"/>
                  </a:lnTo>
                  <a:lnTo>
                    <a:pt x="600" y="1609"/>
                  </a:lnTo>
                  <a:lnTo>
                    <a:pt x="599" y="1610"/>
                  </a:lnTo>
                  <a:lnTo>
                    <a:pt x="598" y="1611"/>
                  </a:lnTo>
                  <a:lnTo>
                    <a:pt x="597" y="1613"/>
                  </a:lnTo>
                  <a:lnTo>
                    <a:pt x="597" y="1619"/>
                  </a:lnTo>
                  <a:lnTo>
                    <a:pt x="598" y="1626"/>
                  </a:lnTo>
                  <a:lnTo>
                    <a:pt x="599" y="1629"/>
                  </a:lnTo>
                  <a:lnTo>
                    <a:pt x="601" y="1632"/>
                  </a:lnTo>
                  <a:lnTo>
                    <a:pt x="603" y="1635"/>
                  </a:lnTo>
                  <a:lnTo>
                    <a:pt x="607" y="1638"/>
                  </a:lnTo>
                  <a:lnTo>
                    <a:pt x="611" y="1640"/>
                  </a:lnTo>
                  <a:lnTo>
                    <a:pt x="616" y="1641"/>
                  </a:lnTo>
                  <a:lnTo>
                    <a:pt x="620" y="1642"/>
                  </a:lnTo>
                  <a:lnTo>
                    <a:pt x="627" y="1642"/>
                  </a:lnTo>
                  <a:lnTo>
                    <a:pt x="641" y="1634"/>
                  </a:lnTo>
                  <a:lnTo>
                    <a:pt x="643" y="1641"/>
                  </a:lnTo>
                  <a:lnTo>
                    <a:pt x="646" y="1652"/>
                  </a:lnTo>
                  <a:lnTo>
                    <a:pt x="649" y="1666"/>
                  </a:lnTo>
                  <a:lnTo>
                    <a:pt x="654" y="1680"/>
                  </a:lnTo>
                  <a:lnTo>
                    <a:pt x="658" y="1695"/>
                  </a:lnTo>
                  <a:lnTo>
                    <a:pt x="663" y="1711"/>
                  </a:lnTo>
                  <a:lnTo>
                    <a:pt x="665" y="1726"/>
                  </a:lnTo>
                  <a:lnTo>
                    <a:pt x="666" y="1742"/>
                  </a:lnTo>
                  <a:lnTo>
                    <a:pt x="682" y="1756"/>
                  </a:lnTo>
                  <a:lnTo>
                    <a:pt x="691" y="1756"/>
                  </a:lnTo>
                  <a:lnTo>
                    <a:pt x="701" y="1756"/>
                  </a:lnTo>
                  <a:lnTo>
                    <a:pt x="712" y="1756"/>
                  </a:lnTo>
                  <a:lnTo>
                    <a:pt x="721" y="1756"/>
                  </a:lnTo>
                  <a:lnTo>
                    <a:pt x="722" y="1748"/>
                  </a:lnTo>
                  <a:lnTo>
                    <a:pt x="725" y="1740"/>
                  </a:lnTo>
                  <a:lnTo>
                    <a:pt x="728" y="1729"/>
                  </a:lnTo>
                  <a:lnTo>
                    <a:pt x="731" y="1722"/>
                  </a:lnTo>
                  <a:lnTo>
                    <a:pt x="732" y="1719"/>
                  </a:lnTo>
                  <a:lnTo>
                    <a:pt x="734" y="1714"/>
                  </a:lnTo>
                  <a:lnTo>
                    <a:pt x="735" y="1705"/>
                  </a:lnTo>
                  <a:lnTo>
                    <a:pt x="737" y="1695"/>
                  </a:lnTo>
                  <a:lnTo>
                    <a:pt x="740" y="1676"/>
                  </a:lnTo>
                  <a:lnTo>
                    <a:pt x="741" y="1667"/>
                  </a:lnTo>
                  <a:lnTo>
                    <a:pt x="742" y="1667"/>
                  </a:lnTo>
                  <a:lnTo>
                    <a:pt x="743" y="1665"/>
                  </a:lnTo>
                  <a:lnTo>
                    <a:pt x="744" y="1663"/>
                  </a:lnTo>
                  <a:lnTo>
                    <a:pt x="744" y="1659"/>
                  </a:lnTo>
                  <a:lnTo>
                    <a:pt x="745" y="1652"/>
                  </a:lnTo>
                  <a:lnTo>
                    <a:pt x="745" y="1648"/>
                  </a:lnTo>
                  <a:lnTo>
                    <a:pt x="749" y="1647"/>
                  </a:lnTo>
                  <a:lnTo>
                    <a:pt x="751" y="1646"/>
                  </a:lnTo>
                  <a:lnTo>
                    <a:pt x="753" y="1645"/>
                  </a:lnTo>
                  <a:lnTo>
                    <a:pt x="754" y="1642"/>
                  </a:lnTo>
                  <a:lnTo>
                    <a:pt x="755" y="1637"/>
                  </a:lnTo>
                  <a:lnTo>
                    <a:pt x="755" y="1634"/>
                  </a:lnTo>
                  <a:lnTo>
                    <a:pt x="760" y="1631"/>
                  </a:lnTo>
                  <a:lnTo>
                    <a:pt x="766" y="1628"/>
                  </a:lnTo>
                  <a:lnTo>
                    <a:pt x="774" y="1621"/>
                  </a:lnTo>
                  <a:lnTo>
                    <a:pt x="783" y="1612"/>
                  </a:lnTo>
                  <a:lnTo>
                    <a:pt x="804" y="1590"/>
                  </a:lnTo>
                  <a:lnTo>
                    <a:pt x="827" y="1564"/>
                  </a:lnTo>
                  <a:lnTo>
                    <a:pt x="838" y="1550"/>
                  </a:lnTo>
                  <a:lnTo>
                    <a:pt x="848" y="1535"/>
                  </a:lnTo>
                  <a:lnTo>
                    <a:pt x="858" y="1522"/>
                  </a:lnTo>
                  <a:lnTo>
                    <a:pt x="866" y="1509"/>
                  </a:lnTo>
                  <a:lnTo>
                    <a:pt x="874" y="1495"/>
                  </a:lnTo>
                  <a:lnTo>
                    <a:pt x="879" y="1484"/>
                  </a:lnTo>
                  <a:lnTo>
                    <a:pt x="883" y="1474"/>
                  </a:lnTo>
                  <a:lnTo>
                    <a:pt x="884" y="1465"/>
                  </a:lnTo>
                  <a:lnTo>
                    <a:pt x="879" y="1463"/>
                  </a:lnTo>
                  <a:lnTo>
                    <a:pt x="872" y="1457"/>
                  </a:lnTo>
                  <a:lnTo>
                    <a:pt x="866" y="1448"/>
                  </a:lnTo>
                  <a:lnTo>
                    <a:pt x="859" y="1438"/>
                  </a:lnTo>
                  <a:lnTo>
                    <a:pt x="851" y="1428"/>
                  </a:lnTo>
                  <a:lnTo>
                    <a:pt x="845" y="1419"/>
                  </a:lnTo>
                  <a:lnTo>
                    <a:pt x="839" y="1414"/>
                  </a:lnTo>
                  <a:lnTo>
                    <a:pt x="835" y="1411"/>
                  </a:lnTo>
                  <a:lnTo>
                    <a:pt x="831" y="1397"/>
                  </a:lnTo>
                  <a:lnTo>
                    <a:pt x="826" y="1373"/>
                  </a:lnTo>
                  <a:lnTo>
                    <a:pt x="819" y="1343"/>
                  </a:lnTo>
                  <a:lnTo>
                    <a:pt x="813" y="1310"/>
                  </a:lnTo>
                  <a:lnTo>
                    <a:pt x="812" y="1293"/>
                  </a:lnTo>
                  <a:lnTo>
                    <a:pt x="812" y="1277"/>
                  </a:lnTo>
                  <a:lnTo>
                    <a:pt x="812" y="1263"/>
                  </a:lnTo>
                  <a:lnTo>
                    <a:pt x="816" y="1250"/>
                  </a:lnTo>
                  <a:lnTo>
                    <a:pt x="818" y="1244"/>
                  </a:lnTo>
                  <a:lnTo>
                    <a:pt x="820" y="1238"/>
                  </a:lnTo>
                  <a:lnTo>
                    <a:pt x="823" y="1234"/>
                  </a:lnTo>
                  <a:lnTo>
                    <a:pt x="827" y="1231"/>
                  </a:lnTo>
                  <a:lnTo>
                    <a:pt x="831" y="1227"/>
                  </a:lnTo>
                  <a:lnTo>
                    <a:pt x="837" y="1225"/>
                  </a:lnTo>
                  <a:lnTo>
                    <a:pt x="842" y="1224"/>
                  </a:lnTo>
                  <a:lnTo>
                    <a:pt x="849" y="1223"/>
                  </a:lnTo>
                  <a:lnTo>
                    <a:pt x="850" y="1214"/>
                  </a:lnTo>
                  <a:lnTo>
                    <a:pt x="852" y="1192"/>
                  </a:lnTo>
                  <a:lnTo>
                    <a:pt x="856" y="1161"/>
                  </a:lnTo>
                  <a:lnTo>
                    <a:pt x="860" y="1127"/>
                  </a:lnTo>
                  <a:lnTo>
                    <a:pt x="865" y="1091"/>
                  </a:lnTo>
                  <a:lnTo>
                    <a:pt x="870" y="1060"/>
                  </a:lnTo>
                  <a:lnTo>
                    <a:pt x="872" y="1048"/>
                  </a:lnTo>
                  <a:lnTo>
                    <a:pt x="875" y="1038"/>
                  </a:lnTo>
                  <a:lnTo>
                    <a:pt x="877" y="1030"/>
                  </a:lnTo>
                  <a:lnTo>
                    <a:pt x="878" y="1026"/>
                  </a:lnTo>
                  <a:lnTo>
                    <a:pt x="886" y="1020"/>
                  </a:lnTo>
                  <a:lnTo>
                    <a:pt x="895" y="1015"/>
                  </a:lnTo>
                  <a:lnTo>
                    <a:pt x="904" y="1012"/>
                  </a:lnTo>
                  <a:lnTo>
                    <a:pt x="914" y="1010"/>
                  </a:lnTo>
                  <a:lnTo>
                    <a:pt x="935" y="1007"/>
                  </a:lnTo>
                  <a:lnTo>
                    <a:pt x="955" y="1005"/>
                  </a:lnTo>
                  <a:lnTo>
                    <a:pt x="970" y="1002"/>
                  </a:lnTo>
                  <a:lnTo>
                    <a:pt x="982" y="996"/>
                  </a:lnTo>
                  <a:lnTo>
                    <a:pt x="994" y="990"/>
                  </a:lnTo>
                  <a:lnTo>
                    <a:pt x="1006" y="983"/>
                  </a:lnTo>
                  <a:lnTo>
                    <a:pt x="1018" y="977"/>
                  </a:lnTo>
                  <a:lnTo>
                    <a:pt x="1031" y="972"/>
                  </a:lnTo>
                  <a:lnTo>
                    <a:pt x="1038" y="969"/>
                  </a:lnTo>
                  <a:lnTo>
                    <a:pt x="1046" y="968"/>
                  </a:lnTo>
                  <a:lnTo>
                    <a:pt x="1053" y="967"/>
                  </a:lnTo>
                  <a:lnTo>
                    <a:pt x="1061" y="967"/>
                  </a:lnTo>
                  <a:lnTo>
                    <a:pt x="1066" y="974"/>
                  </a:lnTo>
                  <a:lnTo>
                    <a:pt x="1075" y="986"/>
                  </a:lnTo>
                  <a:lnTo>
                    <a:pt x="1079" y="992"/>
                  </a:lnTo>
                  <a:lnTo>
                    <a:pt x="1085" y="996"/>
                  </a:lnTo>
                  <a:lnTo>
                    <a:pt x="1088" y="1000"/>
                  </a:lnTo>
                  <a:lnTo>
                    <a:pt x="1091" y="1001"/>
                  </a:lnTo>
                  <a:lnTo>
                    <a:pt x="1091" y="1006"/>
                  </a:lnTo>
                  <a:lnTo>
                    <a:pt x="1095" y="1012"/>
                  </a:lnTo>
                  <a:lnTo>
                    <a:pt x="1098" y="1017"/>
                  </a:lnTo>
                  <a:lnTo>
                    <a:pt x="1105" y="1024"/>
                  </a:lnTo>
                  <a:lnTo>
                    <a:pt x="1119" y="1038"/>
                  </a:lnTo>
                  <a:lnTo>
                    <a:pt x="1138" y="1053"/>
                  </a:lnTo>
                  <a:lnTo>
                    <a:pt x="1160" y="1070"/>
                  </a:lnTo>
                  <a:lnTo>
                    <a:pt x="1185" y="1089"/>
                  </a:lnTo>
                  <a:lnTo>
                    <a:pt x="1210" y="1111"/>
                  </a:lnTo>
                  <a:lnTo>
                    <a:pt x="1234" y="1136"/>
                  </a:lnTo>
                  <a:lnTo>
                    <a:pt x="1255" y="1159"/>
                  </a:lnTo>
                  <a:lnTo>
                    <a:pt x="1274" y="1185"/>
                  </a:lnTo>
                  <a:lnTo>
                    <a:pt x="1291" y="1211"/>
                  </a:lnTo>
                  <a:lnTo>
                    <a:pt x="1307" y="1236"/>
                  </a:lnTo>
                  <a:lnTo>
                    <a:pt x="1320" y="1260"/>
                  </a:lnTo>
                  <a:lnTo>
                    <a:pt x="1332" y="1281"/>
                  </a:lnTo>
                  <a:lnTo>
                    <a:pt x="1341" y="1299"/>
                  </a:lnTo>
                  <a:lnTo>
                    <a:pt x="1348" y="1312"/>
                  </a:lnTo>
                  <a:lnTo>
                    <a:pt x="1360" y="1342"/>
                  </a:lnTo>
                  <a:lnTo>
                    <a:pt x="1373" y="1376"/>
                  </a:lnTo>
                  <a:lnTo>
                    <a:pt x="1385" y="1413"/>
                  </a:lnTo>
                  <a:lnTo>
                    <a:pt x="1399" y="1450"/>
                  </a:lnTo>
                  <a:lnTo>
                    <a:pt x="1406" y="1469"/>
                  </a:lnTo>
                  <a:lnTo>
                    <a:pt x="1415" y="1488"/>
                  </a:lnTo>
                  <a:lnTo>
                    <a:pt x="1424" y="1507"/>
                  </a:lnTo>
                  <a:lnTo>
                    <a:pt x="1435" y="1525"/>
                  </a:lnTo>
                  <a:lnTo>
                    <a:pt x="1446" y="1543"/>
                  </a:lnTo>
                  <a:lnTo>
                    <a:pt x="1459" y="1560"/>
                  </a:lnTo>
                  <a:lnTo>
                    <a:pt x="1473" y="1575"/>
                  </a:lnTo>
                  <a:lnTo>
                    <a:pt x="1489" y="1590"/>
                  </a:lnTo>
                  <a:lnTo>
                    <a:pt x="1502" y="1600"/>
                  </a:lnTo>
                  <a:lnTo>
                    <a:pt x="1517" y="1610"/>
                  </a:lnTo>
                  <a:lnTo>
                    <a:pt x="1531" y="1618"/>
                  </a:lnTo>
                  <a:lnTo>
                    <a:pt x="1546" y="1625"/>
                  </a:lnTo>
                  <a:lnTo>
                    <a:pt x="1561" y="1630"/>
                  </a:lnTo>
                  <a:lnTo>
                    <a:pt x="1578" y="1636"/>
                  </a:lnTo>
                  <a:lnTo>
                    <a:pt x="1595" y="1641"/>
                  </a:lnTo>
                  <a:lnTo>
                    <a:pt x="1614" y="1646"/>
                  </a:lnTo>
                  <a:lnTo>
                    <a:pt x="1629" y="1650"/>
                  </a:lnTo>
                  <a:lnTo>
                    <a:pt x="1646" y="1657"/>
                  </a:lnTo>
                  <a:lnTo>
                    <a:pt x="1663" y="1663"/>
                  </a:lnTo>
                  <a:lnTo>
                    <a:pt x="1680" y="1669"/>
                  </a:lnTo>
                  <a:lnTo>
                    <a:pt x="1668" y="1562"/>
                  </a:lnTo>
                  <a:lnTo>
                    <a:pt x="1667" y="1552"/>
                  </a:lnTo>
                  <a:lnTo>
                    <a:pt x="1664" y="1527"/>
                  </a:lnTo>
                  <a:lnTo>
                    <a:pt x="1663" y="1515"/>
                  </a:lnTo>
                  <a:lnTo>
                    <a:pt x="1661" y="1504"/>
                  </a:lnTo>
                  <a:lnTo>
                    <a:pt x="1658" y="1496"/>
                  </a:lnTo>
                  <a:lnTo>
                    <a:pt x="1656" y="1493"/>
                  </a:lnTo>
                  <a:lnTo>
                    <a:pt x="1655" y="1484"/>
                  </a:lnTo>
                  <a:lnTo>
                    <a:pt x="1655" y="1469"/>
                  </a:lnTo>
                  <a:lnTo>
                    <a:pt x="1654" y="1462"/>
                  </a:lnTo>
                  <a:lnTo>
                    <a:pt x="1653" y="1456"/>
                  </a:lnTo>
                  <a:lnTo>
                    <a:pt x="1652" y="1452"/>
                  </a:lnTo>
                  <a:lnTo>
                    <a:pt x="1649" y="1449"/>
                  </a:lnTo>
                  <a:lnTo>
                    <a:pt x="1649" y="1437"/>
                  </a:lnTo>
                  <a:lnTo>
                    <a:pt x="1637" y="1425"/>
                  </a:lnTo>
                  <a:lnTo>
                    <a:pt x="1634" y="1413"/>
                  </a:lnTo>
                  <a:lnTo>
                    <a:pt x="1630" y="1399"/>
                  </a:lnTo>
                  <a:lnTo>
                    <a:pt x="1625" y="1396"/>
                  </a:lnTo>
                  <a:lnTo>
                    <a:pt x="1619" y="1389"/>
                  </a:lnTo>
                  <a:lnTo>
                    <a:pt x="1614" y="1381"/>
                  </a:lnTo>
                  <a:lnTo>
                    <a:pt x="1607" y="1371"/>
                  </a:lnTo>
                  <a:lnTo>
                    <a:pt x="1597" y="1353"/>
                  </a:lnTo>
                  <a:lnTo>
                    <a:pt x="1594" y="1343"/>
                  </a:lnTo>
                  <a:lnTo>
                    <a:pt x="1588" y="1342"/>
                  </a:lnTo>
                  <a:lnTo>
                    <a:pt x="1584" y="1340"/>
                  </a:lnTo>
                  <a:lnTo>
                    <a:pt x="1579" y="1336"/>
                  </a:lnTo>
                  <a:lnTo>
                    <a:pt x="1575" y="1331"/>
                  </a:lnTo>
                  <a:lnTo>
                    <a:pt x="1575" y="1319"/>
                  </a:lnTo>
                  <a:lnTo>
                    <a:pt x="1570" y="1318"/>
                  </a:lnTo>
                  <a:lnTo>
                    <a:pt x="1567" y="1314"/>
                  </a:lnTo>
                  <a:lnTo>
                    <a:pt x="1565" y="1311"/>
                  </a:lnTo>
                  <a:lnTo>
                    <a:pt x="1562" y="1305"/>
                  </a:lnTo>
                  <a:lnTo>
                    <a:pt x="1561" y="1301"/>
                  </a:lnTo>
                  <a:lnTo>
                    <a:pt x="1559" y="1298"/>
                  </a:lnTo>
                  <a:lnTo>
                    <a:pt x="1558" y="1294"/>
                  </a:lnTo>
                  <a:lnTo>
                    <a:pt x="1556" y="1293"/>
                  </a:lnTo>
                  <a:lnTo>
                    <a:pt x="1555" y="1272"/>
                  </a:lnTo>
                  <a:lnTo>
                    <a:pt x="1551" y="1238"/>
                  </a:lnTo>
                  <a:lnTo>
                    <a:pt x="1550" y="1222"/>
                  </a:lnTo>
                  <a:lnTo>
                    <a:pt x="1548" y="1207"/>
                  </a:lnTo>
                  <a:lnTo>
                    <a:pt x="1546" y="1197"/>
                  </a:lnTo>
                  <a:lnTo>
                    <a:pt x="1543" y="1194"/>
                  </a:lnTo>
                  <a:lnTo>
                    <a:pt x="1542" y="1184"/>
                  </a:lnTo>
                  <a:lnTo>
                    <a:pt x="1540" y="1170"/>
                  </a:lnTo>
                  <a:lnTo>
                    <a:pt x="1537" y="1156"/>
                  </a:lnTo>
                  <a:lnTo>
                    <a:pt x="1532" y="1139"/>
                  </a:lnTo>
                  <a:lnTo>
                    <a:pt x="1527" y="1125"/>
                  </a:lnTo>
                  <a:lnTo>
                    <a:pt x="1522" y="1111"/>
                  </a:lnTo>
                  <a:lnTo>
                    <a:pt x="1519" y="1107"/>
                  </a:lnTo>
                  <a:lnTo>
                    <a:pt x="1517" y="1102"/>
                  </a:lnTo>
                  <a:lnTo>
                    <a:pt x="1514" y="1100"/>
                  </a:lnTo>
                  <a:lnTo>
                    <a:pt x="1512" y="1100"/>
                  </a:lnTo>
                  <a:lnTo>
                    <a:pt x="1512" y="1087"/>
                  </a:lnTo>
                  <a:lnTo>
                    <a:pt x="1509" y="1087"/>
                  </a:lnTo>
                  <a:lnTo>
                    <a:pt x="1507" y="1086"/>
                  </a:lnTo>
                  <a:lnTo>
                    <a:pt x="1503" y="1083"/>
                  </a:lnTo>
                  <a:lnTo>
                    <a:pt x="1500" y="1080"/>
                  </a:lnTo>
                  <a:lnTo>
                    <a:pt x="1498" y="1077"/>
                  </a:lnTo>
                  <a:lnTo>
                    <a:pt x="1495" y="1074"/>
                  </a:lnTo>
                  <a:lnTo>
                    <a:pt x="1493" y="1071"/>
                  </a:lnTo>
                  <a:lnTo>
                    <a:pt x="1493" y="1069"/>
                  </a:lnTo>
                  <a:lnTo>
                    <a:pt x="1489" y="1068"/>
                  </a:lnTo>
                  <a:lnTo>
                    <a:pt x="1484" y="1068"/>
                  </a:lnTo>
                  <a:lnTo>
                    <a:pt x="1483" y="1067"/>
                  </a:lnTo>
                  <a:lnTo>
                    <a:pt x="1482" y="1065"/>
                  </a:lnTo>
                  <a:lnTo>
                    <a:pt x="1481" y="1064"/>
                  </a:lnTo>
                  <a:lnTo>
                    <a:pt x="1481" y="1062"/>
                  </a:lnTo>
                  <a:lnTo>
                    <a:pt x="1476" y="1062"/>
                  </a:lnTo>
                  <a:lnTo>
                    <a:pt x="1472" y="1061"/>
                  </a:lnTo>
                  <a:lnTo>
                    <a:pt x="1471" y="1061"/>
                  </a:lnTo>
                  <a:lnTo>
                    <a:pt x="1469" y="1060"/>
                  </a:lnTo>
                  <a:lnTo>
                    <a:pt x="1469" y="1058"/>
                  </a:lnTo>
                  <a:lnTo>
                    <a:pt x="1467" y="1055"/>
                  </a:lnTo>
                  <a:lnTo>
                    <a:pt x="1455" y="1055"/>
                  </a:lnTo>
                  <a:lnTo>
                    <a:pt x="1454" y="1051"/>
                  </a:lnTo>
                  <a:lnTo>
                    <a:pt x="1450" y="1048"/>
                  </a:lnTo>
                  <a:lnTo>
                    <a:pt x="1445" y="1044"/>
                  </a:lnTo>
                  <a:lnTo>
                    <a:pt x="1443" y="1043"/>
                  </a:lnTo>
                  <a:lnTo>
                    <a:pt x="1443" y="1039"/>
                  </a:lnTo>
                  <a:lnTo>
                    <a:pt x="1442" y="1034"/>
                  </a:lnTo>
                  <a:lnTo>
                    <a:pt x="1442" y="1033"/>
                  </a:lnTo>
                  <a:lnTo>
                    <a:pt x="1441" y="1032"/>
                  </a:lnTo>
                  <a:lnTo>
                    <a:pt x="1438" y="1031"/>
                  </a:lnTo>
                  <a:lnTo>
                    <a:pt x="1436" y="1031"/>
                  </a:lnTo>
                  <a:lnTo>
                    <a:pt x="1437" y="1020"/>
                  </a:lnTo>
                  <a:lnTo>
                    <a:pt x="1437" y="1001"/>
                  </a:lnTo>
                  <a:lnTo>
                    <a:pt x="1438" y="991"/>
                  </a:lnTo>
                  <a:lnTo>
                    <a:pt x="1440" y="983"/>
                  </a:lnTo>
                  <a:lnTo>
                    <a:pt x="1441" y="976"/>
                  </a:lnTo>
                  <a:lnTo>
                    <a:pt x="1443" y="975"/>
                  </a:lnTo>
                  <a:lnTo>
                    <a:pt x="1443" y="962"/>
                  </a:lnTo>
                  <a:lnTo>
                    <a:pt x="1446" y="962"/>
                  </a:lnTo>
                  <a:lnTo>
                    <a:pt x="1448" y="961"/>
                  </a:lnTo>
                  <a:lnTo>
                    <a:pt x="1450" y="961"/>
                  </a:lnTo>
                  <a:lnTo>
                    <a:pt x="1450" y="959"/>
                  </a:lnTo>
                  <a:lnTo>
                    <a:pt x="1450" y="958"/>
                  </a:lnTo>
                  <a:lnTo>
                    <a:pt x="1450" y="957"/>
                  </a:lnTo>
                  <a:lnTo>
                    <a:pt x="1452" y="956"/>
                  </a:lnTo>
                  <a:lnTo>
                    <a:pt x="1455" y="956"/>
                  </a:lnTo>
                  <a:lnTo>
                    <a:pt x="1455" y="943"/>
                  </a:lnTo>
                  <a:lnTo>
                    <a:pt x="1460" y="943"/>
                  </a:lnTo>
                  <a:lnTo>
                    <a:pt x="1461" y="943"/>
                  </a:lnTo>
                  <a:lnTo>
                    <a:pt x="1462" y="942"/>
                  </a:lnTo>
                  <a:lnTo>
                    <a:pt x="1462" y="940"/>
                  </a:lnTo>
                  <a:lnTo>
                    <a:pt x="1462" y="939"/>
                  </a:lnTo>
                  <a:lnTo>
                    <a:pt x="1463" y="938"/>
                  </a:lnTo>
                  <a:lnTo>
                    <a:pt x="1464" y="937"/>
                  </a:lnTo>
                  <a:lnTo>
                    <a:pt x="1467" y="937"/>
                  </a:lnTo>
                  <a:lnTo>
                    <a:pt x="1467" y="926"/>
                  </a:lnTo>
                  <a:lnTo>
                    <a:pt x="1467" y="907"/>
                  </a:lnTo>
                  <a:lnTo>
                    <a:pt x="1466" y="897"/>
                  </a:lnTo>
                  <a:lnTo>
                    <a:pt x="1465" y="889"/>
                  </a:lnTo>
                  <a:lnTo>
                    <a:pt x="1464" y="882"/>
                  </a:lnTo>
                  <a:lnTo>
                    <a:pt x="1462" y="880"/>
                  </a:lnTo>
                  <a:lnTo>
                    <a:pt x="1462" y="868"/>
                  </a:lnTo>
                  <a:lnTo>
                    <a:pt x="1460" y="868"/>
                  </a:lnTo>
                  <a:lnTo>
                    <a:pt x="1457" y="866"/>
                  </a:lnTo>
                  <a:lnTo>
                    <a:pt x="1455" y="863"/>
                  </a:lnTo>
                  <a:lnTo>
                    <a:pt x="1452" y="861"/>
                  </a:lnTo>
                  <a:lnTo>
                    <a:pt x="1447" y="854"/>
                  </a:lnTo>
                  <a:lnTo>
                    <a:pt x="1443" y="849"/>
                  </a:lnTo>
                  <a:lnTo>
                    <a:pt x="1443" y="781"/>
                  </a:lnTo>
                  <a:lnTo>
                    <a:pt x="1447" y="779"/>
                  </a:lnTo>
                  <a:lnTo>
                    <a:pt x="1453" y="775"/>
                  </a:lnTo>
                  <a:lnTo>
                    <a:pt x="1459" y="770"/>
                  </a:lnTo>
                  <a:lnTo>
                    <a:pt x="1462" y="76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50" name="Freeform 16"/>
            <p:cNvSpPr>
              <a:spLocks noChangeAspect="1"/>
            </p:cNvSpPr>
            <p:nvPr/>
          </p:nvSpPr>
          <p:spPr bwMode="gray">
            <a:xfrm rot="355651">
              <a:off x="5919158" y="3854450"/>
              <a:ext cx="416835" cy="342803"/>
            </a:xfrm>
            <a:custGeom>
              <a:avLst/>
              <a:gdLst/>
              <a:ahLst/>
              <a:cxnLst>
                <a:cxn ang="0">
                  <a:pos x="788" y="36"/>
                </a:cxn>
                <a:cxn ang="0">
                  <a:pos x="639" y="88"/>
                </a:cxn>
                <a:cxn ang="0">
                  <a:pos x="519" y="119"/>
                </a:cxn>
                <a:cxn ang="0">
                  <a:pos x="463" y="153"/>
                </a:cxn>
                <a:cxn ang="0">
                  <a:pos x="345" y="144"/>
                </a:cxn>
                <a:cxn ang="0">
                  <a:pos x="227" y="53"/>
                </a:cxn>
                <a:cxn ang="0">
                  <a:pos x="128" y="15"/>
                </a:cxn>
                <a:cxn ang="0">
                  <a:pos x="61" y="76"/>
                </a:cxn>
                <a:cxn ang="0">
                  <a:pos x="16" y="250"/>
                </a:cxn>
                <a:cxn ang="0">
                  <a:pos x="5" y="461"/>
                </a:cxn>
                <a:cxn ang="0">
                  <a:pos x="22" y="644"/>
                </a:cxn>
                <a:cxn ang="0">
                  <a:pos x="126" y="721"/>
                </a:cxn>
                <a:cxn ang="0">
                  <a:pos x="244" y="755"/>
                </a:cxn>
                <a:cxn ang="0">
                  <a:pos x="307" y="795"/>
                </a:cxn>
                <a:cxn ang="0">
                  <a:pos x="369" y="879"/>
                </a:cxn>
                <a:cxn ang="0">
                  <a:pos x="382" y="1122"/>
                </a:cxn>
                <a:cxn ang="0">
                  <a:pos x="406" y="1344"/>
                </a:cxn>
                <a:cxn ang="0">
                  <a:pos x="436" y="1456"/>
                </a:cxn>
                <a:cxn ang="0">
                  <a:pos x="468" y="1506"/>
                </a:cxn>
                <a:cxn ang="0">
                  <a:pos x="586" y="1632"/>
                </a:cxn>
                <a:cxn ang="0">
                  <a:pos x="702" y="1745"/>
                </a:cxn>
                <a:cxn ang="0">
                  <a:pos x="851" y="1763"/>
                </a:cxn>
                <a:cxn ang="0">
                  <a:pos x="951" y="1730"/>
                </a:cxn>
                <a:cxn ang="0">
                  <a:pos x="1023" y="1718"/>
                </a:cxn>
                <a:cxn ang="0">
                  <a:pos x="1062" y="1663"/>
                </a:cxn>
                <a:cxn ang="0">
                  <a:pos x="1081" y="1632"/>
                </a:cxn>
                <a:cxn ang="0">
                  <a:pos x="1156" y="1591"/>
                </a:cxn>
                <a:cxn ang="0">
                  <a:pos x="1182" y="1436"/>
                </a:cxn>
                <a:cxn ang="0">
                  <a:pos x="1305" y="1346"/>
                </a:cxn>
                <a:cxn ang="0">
                  <a:pos x="1505" y="1343"/>
                </a:cxn>
                <a:cxn ang="0">
                  <a:pos x="1549" y="1400"/>
                </a:cxn>
                <a:cxn ang="0">
                  <a:pos x="1605" y="1623"/>
                </a:cxn>
                <a:cxn ang="0">
                  <a:pos x="1689" y="1754"/>
                </a:cxn>
                <a:cxn ang="0">
                  <a:pos x="1778" y="2025"/>
                </a:cxn>
                <a:cxn ang="0">
                  <a:pos x="1872" y="2049"/>
                </a:cxn>
                <a:cxn ang="0">
                  <a:pos x="1912" y="2075"/>
                </a:cxn>
                <a:cxn ang="0">
                  <a:pos x="2099" y="2112"/>
                </a:cxn>
                <a:cxn ang="0">
                  <a:pos x="2215" y="2107"/>
                </a:cxn>
                <a:cxn ang="0">
                  <a:pos x="2280" y="2083"/>
                </a:cxn>
                <a:cxn ang="0">
                  <a:pos x="2275" y="1946"/>
                </a:cxn>
                <a:cxn ang="0">
                  <a:pos x="2256" y="1668"/>
                </a:cxn>
                <a:cxn ang="0">
                  <a:pos x="2219" y="1578"/>
                </a:cxn>
                <a:cxn ang="0">
                  <a:pos x="2173" y="1516"/>
                </a:cxn>
                <a:cxn ang="0">
                  <a:pos x="2122" y="1441"/>
                </a:cxn>
                <a:cxn ang="0">
                  <a:pos x="2048" y="1263"/>
                </a:cxn>
                <a:cxn ang="0">
                  <a:pos x="1968" y="1088"/>
                </a:cxn>
                <a:cxn ang="0">
                  <a:pos x="1889" y="974"/>
                </a:cxn>
                <a:cxn ang="0">
                  <a:pos x="1836" y="901"/>
                </a:cxn>
                <a:cxn ang="0">
                  <a:pos x="1769" y="946"/>
                </a:cxn>
                <a:cxn ang="0">
                  <a:pos x="1744" y="977"/>
                </a:cxn>
                <a:cxn ang="0">
                  <a:pos x="1656" y="1016"/>
                </a:cxn>
                <a:cxn ang="0">
                  <a:pos x="1497" y="1039"/>
                </a:cxn>
                <a:cxn ang="0">
                  <a:pos x="1454" y="827"/>
                </a:cxn>
                <a:cxn ang="0">
                  <a:pos x="1413" y="710"/>
                </a:cxn>
                <a:cxn ang="0">
                  <a:pos x="1355" y="634"/>
                </a:cxn>
                <a:cxn ang="0">
                  <a:pos x="1288" y="536"/>
                </a:cxn>
                <a:cxn ang="0">
                  <a:pos x="1239" y="489"/>
                </a:cxn>
                <a:cxn ang="0">
                  <a:pos x="1198" y="433"/>
                </a:cxn>
                <a:cxn ang="0">
                  <a:pos x="1158" y="107"/>
                </a:cxn>
                <a:cxn ang="0">
                  <a:pos x="1073" y="95"/>
                </a:cxn>
                <a:cxn ang="0">
                  <a:pos x="948" y="81"/>
                </a:cxn>
                <a:cxn ang="0">
                  <a:pos x="913" y="61"/>
                </a:cxn>
                <a:cxn ang="0">
                  <a:pos x="868" y="18"/>
                </a:cxn>
              </a:cxnLst>
              <a:rect l="0" t="0" r="r" b="b"/>
              <a:pathLst>
                <a:path w="2286" h="2120">
                  <a:moveTo>
                    <a:pt x="846" y="0"/>
                  </a:moveTo>
                  <a:lnTo>
                    <a:pt x="837" y="1"/>
                  </a:lnTo>
                  <a:lnTo>
                    <a:pt x="831" y="1"/>
                  </a:lnTo>
                  <a:lnTo>
                    <a:pt x="829" y="3"/>
                  </a:lnTo>
                  <a:lnTo>
                    <a:pt x="828" y="3"/>
                  </a:lnTo>
                  <a:lnTo>
                    <a:pt x="828" y="4"/>
                  </a:lnTo>
                  <a:lnTo>
                    <a:pt x="828" y="5"/>
                  </a:lnTo>
                  <a:lnTo>
                    <a:pt x="827" y="5"/>
                  </a:lnTo>
                  <a:lnTo>
                    <a:pt x="823" y="5"/>
                  </a:lnTo>
                  <a:lnTo>
                    <a:pt x="819" y="14"/>
                  </a:lnTo>
                  <a:lnTo>
                    <a:pt x="808" y="20"/>
                  </a:lnTo>
                  <a:lnTo>
                    <a:pt x="797" y="27"/>
                  </a:lnTo>
                  <a:lnTo>
                    <a:pt x="792" y="32"/>
                  </a:lnTo>
                  <a:lnTo>
                    <a:pt x="788" y="36"/>
                  </a:lnTo>
                  <a:lnTo>
                    <a:pt x="788" y="45"/>
                  </a:lnTo>
                  <a:lnTo>
                    <a:pt x="783" y="49"/>
                  </a:lnTo>
                  <a:lnTo>
                    <a:pt x="779" y="54"/>
                  </a:lnTo>
                  <a:lnTo>
                    <a:pt x="779" y="67"/>
                  </a:lnTo>
                  <a:lnTo>
                    <a:pt x="774" y="73"/>
                  </a:lnTo>
                  <a:lnTo>
                    <a:pt x="770" y="81"/>
                  </a:lnTo>
                  <a:lnTo>
                    <a:pt x="766" y="81"/>
                  </a:lnTo>
                  <a:lnTo>
                    <a:pt x="764" y="82"/>
                  </a:lnTo>
                  <a:lnTo>
                    <a:pt x="762" y="83"/>
                  </a:lnTo>
                  <a:lnTo>
                    <a:pt x="761" y="85"/>
                  </a:lnTo>
                  <a:lnTo>
                    <a:pt x="753" y="87"/>
                  </a:lnTo>
                  <a:lnTo>
                    <a:pt x="747" y="90"/>
                  </a:lnTo>
                  <a:lnTo>
                    <a:pt x="640" y="85"/>
                  </a:lnTo>
                  <a:lnTo>
                    <a:pt x="639" y="88"/>
                  </a:lnTo>
                  <a:lnTo>
                    <a:pt x="636" y="92"/>
                  </a:lnTo>
                  <a:lnTo>
                    <a:pt x="634" y="94"/>
                  </a:lnTo>
                  <a:lnTo>
                    <a:pt x="631" y="94"/>
                  </a:lnTo>
                  <a:lnTo>
                    <a:pt x="631" y="99"/>
                  </a:lnTo>
                  <a:lnTo>
                    <a:pt x="629" y="103"/>
                  </a:lnTo>
                  <a:lnTo>
                    <a:pt x="626" y="106"/>
                  </a:lnTo>
                  <a:lnTo>
                    <a:pt x="622" y="107"/>
                  </a:lnTo>
                  <a:lnTo>
                    <a:pt x="622" y="116"/>
                  </a:lnTo>
                  <a:lnTo>
                    <a:pt x="619" y="116"/>
                  </a:lnTo>
                  <a:lnTo>
                    <a:pt x="617" y="117"/>
                  </a:lnTo>
                  <a:lnTo>
                    <a:pt x="615" y="119"/>
                  </a:lnTo>
                  <a:lnTo>
                    <a:pt x="614" y="121"/>
                  </a:lnTo>
                  <a:lnTo>
                    <a:pt x="524" y="121"/>
                  </a:lnTo>
                  <a:lnTo>
                    <a:pt x="519" y="119"/>
                  </a:lnTo>
                  <a:lnTo>
                    <a:pt x="511" y="117"/>
                  </a:lnTo>
                  <a:lnTo>
                    <a:pt x="502" y="116"/>
                  </a:lnTo>
                  <a:lnTo>
                    <a:pt x="493" y="116"/>
                  </a:lnTo>
                  <a:lnTo>
                    <a:pt x="493" y="119"/>
                  </a:lnTo>
                  <a:lnTo>
                    <a:pt x="492" y="120"/>
                  </a:lnTo>
                  <a:lnTo>
                    <a:pt x="491" y="120"/>
                  </a:lnTo>
                  <a:lnTo>
                    <a:pt x="489" y="121"/>
                  </a:lnTo>
                  <a:lnTo>
                    <a:pt x="484" y="121"/>
                  </a:lnTo>
                  <a:lnTo>
                    <a:pt x="480" y="121"/>
                  </a:lnTo>
                  <a:lnTo>
                    <a:pt x="475" y="136"/>
                  </a:lnTo>
                  <a:lnTo>
                    <a:pt x="471" y="148"/>
                  </a:lnTo>
                  <a:lnTo>
                    <a:pt x="468" y="149"/>
                  </a:lnTo>
                  <a:lnTo>
                    <a:pt x="465" y="151"/>
                  </a:lnTo>
                  <a:lnTo>
                    <a:pt x="463" y="153"/>
                  </a:lnTo>
                  <a:lnTo>
                    <a:pt x="462" y="157"/>
                  </a:lnTo>
                  <a:lnTo>
                    <a:pt x="457" y="161"/>
                  </a:lnTo>
                  <a:lnTo>
                    <a:pt x="444" y="161"/>
                  </a:lnTo>
                  <a:lnTo>
                    <a:pt x="439" y="164"/>
                  </a:lnTo>
                  <a:lnTo>
                    <a:pt x="434" y="167"/>
                  </a:lnTo>
                  <a:lnTo>
                    <a:pt x="425" y="168"/>
                  </a:lnTo>
                  <a:lnTo>
                    <a:pt x="416" y="169"/>
                  </a:lnTo>
                  <a:lnTo>
                    <a:pt x="396" y="170"/>
                  </a:lnTo>
                  <a:lnTo>
                    <a:pt x="378" y="170"/>
                  </a:lnTo>
                  <a:lnTo>
                    <a:pt x="375" y="167"/>
                  </a:lnTo>
                  <a:lnTo>
                    <a:pt x="371" y="162"/>
                  </a:lnTo>
                  <a:lnTo>
                    <a:pt x="366" y="159"/>
                  </a:lnTo>
                  <a:lnTo>
                    <a:pt x="359" y="154"/>
                  </a:lnTo>
                  <a:lnTo>
                    <a:pt x="345" y="144"/>
                  </a:lnTo>
                  <a:lnTo>
                    <a:pt x="328" y="133"/>
                  </a:lnTo>
                  <a:lnTo>
                    <a:pt x="310" y="122"/>
                  </a:lnTo>
                  <a:lnTo>
                    <a:pt x="293" y="111"/>
                  </a:lnTo>
                  <a:lnTo>
                    <a:pt x="286" y="105"/>
                  </a:lnTo>
                  <a:lnTo>
                    <a:pt x="280" y="101"/>
                  </a:lnTo>
                  <a:lnTo>
                    <a:pt x="274" y="95"/>
                  </a:lnTo>
                  <a:lnTo>
                    <a:pt x="271" y="90"/>
                  </a:lnTo>
                  <a:lnTo>
                    <a:pt x="267" y="90"/>
                  </a:lnTo>
                  <a:lnTo>
                    <a:pt x="263" y="87"/>
                  </a:lnTo>
                  <a:lnTo>
                    <a:pt x="260" y="85"/>
                  </a:lnTo>
                  <a:lnTo>
                    <a:pt x="255" y="82"/>
                  </a:lnTo>
                  <a:lnTo>
                    <a:pt x="246" y="73"/>
                  </a:lnTo>
                  <a:lnTo>
                    <a:pt x="236" y="63"/>
                  </a:lnTo>
                  <a:lnTo>
                    <a:pt x="227" y="53"/>
                  </a:lnTo>
                  <a:lnTo>
                    <a:pt x="217" y="45"/>
                  </a:lnTo>
                  <a:lnTo>
                    <a:pt x="213" y="42"/>
                  </a:lnTo>
                  <a:lnTo>
                    <a:pt x="208" y="38"/>
                  </a:lnTo>
                  <a:lnTo>
                    <a:pt x="204" y="37"/>
                  </a:lnTo>
                  <a:lnTo>
                    <a:pt x="199" y="36"/>
                  </a:lnTo>
                  <a:lnTo>
                    <a:pt x="197" y="33"/>
                  </a:lnTo>
                  <a:lnTo>
                    <a:pt x="194" y="30"/>
                  </a:lnTo>
                  <a:lnTo>
                    <a:pt x="189" y="28"/>
                  </a:lnTo>
                  <a:lnTo>
                    <a:pt x="186" y="27"/>
                  </a:lnTo>
                  <a:lnTo>
                    <a:pt x="184" y="23"/>
                  </a:lnTo>
                  <a:lnTo>
                    <a:pt x="182" y="18"/>
                  </a:lnTo>
                  <a:lnTo>
                    <a:pt x="166" y="18"/>
                  </a:lnTo>
                  <a:lnTo>
                    <a:pt x="147" y="16"/>
                  </a:lnTo>
                  <a:lnTo>
                    <a:pt x="128" y="15"/>
                  </a:lnTo>
                  <a:lnTo>
                    <a:pt x="110" y="14"/>
                  </a:lnTo>
                  <a:lnTo>
                    <a:pt x="106" y="18"/>
                  </a:lnTo>
                  <a:lnTo>
                    <a:pt x="102" y="24"/>
                  </a:lnTo>
                  <a:lnTo>
                    <a:pt x="93" y="35"/>
                  </a:lnTo>
                  <a:lnTo>
                    <a:pt x="84" y="47"/>
                  </a:lnTo>
                  <a:lnTo>
                    <a:pt x="79" y="54"/>
                  </a:lnTo>
                  <a:lnTo>
                    <a:pt x="79" y="63"/>
                  </a:lnTo>
                  <a:lnTo>
                    <a:pt x="75" y="64"/>
                  </a:lnTo>
                  <a:lnTo>
                    <a:pt x="73" y="65"/>
                  </a:lnTo>
                  <a:lnTo>
                    <a:pt x="72" y="66"/>
                  </a:lnTo>
                  <a:lnTo>
                    <a:pt x="71" y="68"/>
                  </a:lnTo>
                  <a:lnTo>
                    <a:pt x="70" y="73"/>
                  </a:lnTo>
                  <a:lnTo>
                    <a:pt x="70" y="76"/>
                  </a:lnTo>
                  <a:lnTo>
                    <a:pt x="61" y="76"/>
                  </a:lnTo>
                  <a:lnTo>
                    <a:pt x="60" y="81"/>
                  </a:lnTo>
                  <a:lnTo>
                    <a:pt x="55" y="85"/>
                  </a:lnTo>
                  <a:lnTo>
                    <a:pt x="51" y="91"/>
                  </a:lnTo>
                  <a:lnTo>
                    <a:pt x="48" y="94"/>
                  </a:lnTo>
                  <a:lnTo>
                    <a:pt x="39" y="94"/>
                  </a:lnTo>
                  <a:lnTo>
                    <a:pt x="34" y="99"/>
                  </a:lnTo>
                  <a:lnTo>
                    <a:pt x="33" y="103"/>
                  </a:lnTo>
                  <a:lnTo>
                    <a:pt x="31" y="110"/>
                  </a:lnTo>
                  <a:lnTo>
                    <a:pt x="29" y="114"/>
                  </a:lnTo>
                  <a:lnTo>
                    <a:pt x="25" y="116"/>
                  </a:lnTo>
                  <a:lnTo>
                    <a:pt x="24" y="151"/>
                  </a:lnTo>
                  <a:lnTo>
                    <a:pt x="21" y="186"/>
                  </a:lnTo>
                  <a:lnTo>
                    <a:pt x="17" y="219"/>
                  </a:lnTo>
                  <a:lnTo>
                    <a:pt x="16" y="250"/>
                  </a:lnTo>
                  <a:lnTo>
                    <a:pt x="15" y="250"/>
                  </a:lnTo>
                  <a:lnTo>
                    <a:pt x="14" y="251"/>
                  </a:lnTo>
                  <a:lnTo>
                    <a:pt x="13" y="254"/>
                  </a:lnTo>
                  <a:lnTo>
                    <a:pt x="12" y="256"/>
                  </a:lnTo>
                  <a:lnTo>
                    <a:pt x="12" y="261"/>
                  </a:lnTo>
                  <a:lnTo>
                    <a:pt x="12" y="268"/>
                  </a:lnTo>
                  <a:lnTo>
                    <a:pt x="12" y="275"/>
                  </a:lnTo>
                  <a:lnTo>
                    <a:pt x="11" y="280"/>
                  </a:lnTo>
                  <a:lnTo>
                    <a:pt x="11" y="283"/>
                  </a:lnTo>
                  <a:lnTo>
                    <a:pt x="10" y="285"/>
                  </a:lnTo>
                  <a:lnTo>
                    <a:pt x="8" y="286"/>
                  </a:lnTo>
                  <a:lnTo>
                    <a:pt x="7" y="286"/>
                  </a:lnTo>
                  <a:lnTo>
                    <a:pt x="7" y="456"/>
                  </a:lnTo>
                  <a:lnTo>
                    <a:pt x="5" y="461"/>
                  </a:lnTo>
                  <a:lnTo>
                    <a:pt x="3" y="468"/>
                  </a:lnTo>
                  <a:lnTo>
                    <a:pt x="2" y="477"/>
                  </a:lnTo>
                  <a:lnTo>
                    <a:pt x="1" y="486"/>
                  </a:lnTo>
                  <a:lnTo>
                    <a:pt x="0" y="506"/>
                  </a:lnTo>
                  <a:lnTo>
                    <a:pt x="0" y="528"/>
                  </a:lnTo>
                  <a:lnTo>
                    <a:pt x="2" y="572"/>
                  </a:lnTo>
                  <a:lnTo>
                    <a:pt x="3" y="607"/>
                  </a:lnTo>
                  <a:lnTo>
                    <a:pt x="5" y="607"/>
                  </a:lnTo>
                  <a:lnTo>
                    <a:pt x="6" y="610"/>
                  </a:lnTo>
                  <a:lnTo>
                    <a:pt x="7" y="613"/>
                  </a:lnTo>
                  <a:lnTo>
                    <a:pt x="7" y="616"/>
                  </a:lnTo>
                  <a:lnTo>
                    <a:pt x="10" y="621"/>
                  </a:lnTo>
                  <a:lnTo>
                    <a:pt x="16" y="632"/>
                  </a:lnTo>
                  <a:lnTo>
                    <a:pt x="22" y="644"/>
                  </a:lnTo>
                  <a:lnTo>
                    <a:pt x="25" y="652"/>
                  </a:lnTo>
                  <a:lnTo>
                    <a:pt x="29" y="653"/>
                  </a:lnTo>
                  <a:lnTo>
                    <a:pt x="34" y="655"/>
                  </a:lnTo>
                  <a:lnTo>
                    <a:pt x="39" y="659"/>
                  </a:lnTo>
                  <a:lnTo>
                    <a:pt x="44" y="664"/>
                  </a:lnTo>
                  <a:lnTo>
                    <a:pt x="54" y="674"/>
                  </a:lnTo>
                  <a:lnTo>
                    <a:pt x="61" y="683"/>
                  </a:lnTo>
                  <a:lnTo>
                    <a:pt x="77" y="692"/>
                  </a:lnTo>
                  <a:lnTo>
                    <a:pt x="92" y="701"/>
                  </a:lnTo>
                  <a:lnTo>
                    <a:pt x="93" y="705"/>
                  </a:lnTo>
                  <a:lnTo>
                    <a:pt x="98" y="708"/>
                  </a:lnTo>
                  <a:lnTo>
                    <a:pt x="103" y="711"/>
                  </a:lnTo>
                  <a:lnTo>
                    <a:pt x="111" y="715"/>
                  </a:lnTo>
                  <a:lnTo>
                    <a:pt x="126" y="721"/>
                  </a:lnTo>
                  <a:lnTo>
                    <a:pt x="137" y="728"/>
                  </a:lnTo>
                  <a:lnTo>
                    <a:pt x="149" y="728"/>
                  </a:lnTo>
                  <a:lnTo>
                    <a:pt x="167" y="729"/>
                  </a:lnTo>
                  <a:lnTo>
                    <a:pt x="176" y="730"/>
                  </a:lnTo>
                  <a:lnTo>
                    <a:pt x="183" y="731"/>
                  </a:lnTo>
                  <a:lnTo>
                    <a:pt x="186" y="732"/>
                  </a:lnTo>
                  <a:lnTo>
                    <a:pt x="188" y="734"/>
                  </a:lnTo>
                  <a:lnTo>
                    <a:pt x="189" y="735"/>
                  </a:lnTo>
                  <a:lnTo>
                    <a:pt x="190" y="737"/>
                  </a:lnTo>
                  <a:lnTo>
                    <a:pt x="206" y="739"/>
                  </a:lnTo>
                  <a:lnTo>
                    <a:pt x="222" y="741"/>
                  </a:lnTo>
                  <a:lnTo>
                    <a:pt x="231" y="750"/>
                  </a:lnTo>
                  <a:lnTo>
                    <a:pt x="237" y="753"/>
                  </a:lnTo>
                  <a:lnTo>
                    <a:pt x="244" y="755"/>
                  </a:lnTo>
                  <a:lnTo>
                    <a:pt x="252" y="757"/>
                  </a:lnTo>
                  <a:lnTo>
                    <a:pt x="257" y="759"/>
                  </a:lnTo>
                  <a:lnTo>
                    <a:pt x="271" y="759"/>
                  </a:lnTo>
                  <a:lnTo>
                    <a:pt x="272" y="763"/>
                  </a:lnTo>
                  <a:lnTo>
                    <a:pt x="275" y="767"/>
                  </a:lnTo>
                  <a:lnTo>
                    <a:pt x="280" y="770"/>
                  </a:lnTo>
                  <a:lnTo>
                    <a:pt x="284" y="773"/>
                  </a:lnTo>
                  <a:lnTo>
                    <a:pt x="285" y="776"/>
                  </a:lnTo>
                  <a:lnTo>
                    <a:pt x="290" y="780"/>
                  </a:lnTo>
                  <a:lnTo>
                    <a:pt x="292" y="783"/>
                  </a:lnTo>
                  <a:lnTo>
                    <a:pt x="295" y="784"/>
                  </a:lnTo>
                  <a:lnTo>
                    <a:pt x="299" y="785"/>
                  </a:lnTo>
                  <a:lnTo>
                    <a:pt x="302" y="786"/>
                  </a:lnTo>
                  <a:lnTo>
                    <a:pt x="307" y="795"/>
                  </a:lnTo>
                  <a:lnTo>
                    <a:pt x="313" y="797"/>
                  </a:lnTo>
                  <a:lnTo>
                    <a:pt x="320" y="799"/>
                  </a:lnTo>
                  <a:lnTo>
                    <a:pt x="324" y="804"/>
                  </a:lnTo>
                  <a:lnTo>
                    <a:pt x="329" y="813"/>
                  </a:lnTo>
                  <a:lnTo>
                    <a:pt x="333" y="815"/>
                  </a:lnTo>
                  <a:lnTo>
                    <a:pt x="338" y="817"/>
                  </a:lnTo>
                  <a:lnTo>
                    <a:pt x="340" y="824"/>
                  </a:lnTo>
                  <a:lnTo>
                    <a:pt x="342" y="830"/>
                  </a:lnTo>
                  <a:lnTo>
                    <a:pt x="346" y="832"/>
                  </a:lnTo>
                  <a:lnTo>
                    <a:pt x="349" y="836"/>
                  </a:lnTo>
                  <a:lnTo>
                    <a:pt x="352" y="843"/>
                  </a:lnTo>
                  <a:lnTo>
                    <a:pt x="356" y="851"/>
                  </a:lnTo>
                  <a:lnTo>
                    <a:pt x="362" y="867"/>
                  </a:lnTo>
                  <a:lnTo>
                    <a:pt x="369" y="879"/>
                  </a:lnTo>
                  <a:lnTo>
                    <a:pt x="369" y="892"/>
                  </a:lnTo>
                  <a:lnTo>
                    <a:pt x="378" y="901"/>
                  </a:lnTo>
                  <a:lnTo>
                    <a:pt x="379" y="921"/>
                  </a:lnTo>
                  <a:lnTo>
                    <a:pt x="381" y="943"/>
                  </a:lnTo>
                  <a:lnTo>
                    <a:pt x="385" y="968"/>
                  </a:lnTo>
                  <a:lnTo>
                    <a:pt x="386" y="994"/>
                  </a:lnTo>
                  <a:lnTo>
                    <a:pt x="388" y="994"/>
                  </a:lnTo>
                  <a:lnTo>
                    <a:pt x="390" y="994"/>
                  </a:lnTo>
                  <a:lnTo>
                    <a:pt x="390" y="1014"/>
                  </a:lnTo>
                  <a:lnTo>
                    <a:pt x="389" y="1036"/>
                  </a:lnTo>
                  <a:lnTo>
                    <a:pt x="388" y="1057"/>
                  </a:lnTo>
                  <a:lnTo>
                    <a:pt x="386" y="1080"/>
                  </a:lnTo>
                  <a:lnTo>
                    <a:pt x="384" y="1101"/>
                  </a:lnTo>
                  <a:lnTo>
                    <a:pt x="382" y="1122"/>
                  </a:lnTo>
                  <a:lnTo>
                    <a:pt x="381" y="1142"/>
                  </a:lnTo>
                  <a:lnTo>
                    <a:pt x="380" y="1161"/>
                  </a:lnTo>
                  <a:lnTo>
                    <a:pt x="381" y="1177"/>
                  </a:lnTo>
                  <a:lnTo>
                    <a:pt x="381" y="1200"/>
                  </a:lnTo>
                  <a:lnTo>
                    <a:pt x="382" y="1230"/>
                  </a:lnTo>
                  <a:lnTo>
                    <a:pt x="384" y="1261"/>
                  </a:lnTo>
                  <a:lnTo>
                    <a:pt x="387" y="1293"/>
                  </a:lnTo>
                  <a:lnTo>
                    <a:pt x="391" y="1318"/>
                  </a:lnTo>
                  <a:lnTo>
                    <a:pt x="394" y="1330"/>
                  </a:lnTo>
                  <a:lnTo>
                    <a:pt x="397" y="1337"/>
                  </a:lnTo>
                  <a:lnTo>
                    <a:pt x="399" y="1340"/>
                  </a:lnTo>
                  <a:lnTo>
                    <a:pt x="401" y="1342"/>
                  </a:lnTo>
                  <a:lnTo>
                    <a:pt x="404" y="1343"/>
                  </a:lnTo>
                  <a:lnTo>
                    <a:pt x="406" y="1344"/>
                  </a:lnTo>
                  <a:lnTo>
                    <a:pt x="406" y="1347"/>
                  </a:lnTo>
                  <a:lnTo>
                    <a:pt x="406" y="1351"/>
                  </a:lnTo>
                  <a:lnTo>
                    <a:pt x="407" y="1353"/>
                  </a:lnTo>
                  <a:lnTo>
                    <a:pt x="410" y="1354"/>
                  </a:lnTo>
                  <a:lnTo>
                    <a:pt x="411" y="1370"/>
                  </a:lnTo>
                  <a:lnTo>
                    <a:pt x="413" y="1389"/>
                  </a:lnTo>
                  <a:lnTo>
                    <a:pt x="415" y="1409"/>
                  </a:lnTo>
                  <a:lnTo>
                    <a:pt x="415" y="1428"/>
                  </a:lnTo>
                  <a:lnTo>
                    <a:pt x="420" y="1430"/>
                  </a:lnTo>
                  <a:lnTo>
                    <a:pt x="425" y="1432"/>
                  </a:lnTo>
                  <a:lnTo>
                    <a:pt x="426" y="1437"/>
                  </a:lnTo>
                  <a:lnTo>
                    <a:pt x="428" y="1443"/>
                  </a:lnTo>
                  <a:lnTo>
                    <a:pt x="432" y="1449"/>
                  </a:lnTo>
                  <a:lnTo>
                    <a:pt x="436" y="1456"/>
                  </a:lnTo>
                  <a:lnTo>
                    <a:pt x="439" y="1462"/>
                  </a:lnTo>
                  <a:lnTo>
                    <a:pt x="444" y="1467"/>
                  </a:lnTo>
                  <a:lnTo>
                    <a:pt x="447" y="1471"/>
                  </a:lnTo>
                  <a:lnTo>
                    <a:pt x="449" y="1472"/>
                  </a:lnTo>
                  <a:lnTo>
                    <a:pt x="451" y="1477"/>
                  </a:lnTo>
                  <a:lnTo>
                    <a:pt x="452" y="1481"/>
                  </a:lnTo>
                  <a:lnTo>
                    <a:pt x="453" y="1484"/>
                  </a:lnTo>
                  <a:lnTo>
                    <a:pt x="454" y="1486"/>
                  </a:lnTo>
                  <a:lnTo>
                    <a:pt x="456" y="1487"/>
                  </a:lnTo>
                  <a:lnTo>
                    <a:pt x="459" y="1487"/>
                  </a:lnTo>
                  <a:lnTo>
                    <a:pt x="461" y="1491"/>
                  </a:lnTo>
                  <a:lnTo>
                    <a:pt x="462" y="1497"/>
                  </a:lnTo>
                  <a:lnTo>
                    <a:pt x="465" y="1501"/>
                  </a:lnTo>
                  <a:lnTo>
                    <a:pt x="468" y="1506"/>
                  </a:lnTo>
                  <a:lnTo>
                    <a:pt x="477" y="1517"/>
                  </a:lnTo>
                  <a:lnTo>
                    <a:pt x="487" y="1527"/>
                  </a:lnTo>
                  <a:lnTo>
                    <a:pt x="496" y="1538"/>
                  </a:lnTo>
                  <a:lnTo>
                    <a:pt x="505" y="1548"/>
                  </a:lnTo>
                  <a:lnTo>
                    <a:pt x="509" y="1554"/>
                  </a:lnTo>
                  <a:lnTo>
                    <a:pt x="512" y="1559"/>
                  </a:lnTo>
                  <a:lnTo>
                    <a:pt x="513" y="1565"/>
                  </a:lnTo>
                  <a:lnTo>
                    <a:pt x="514" y="1571"/>
                  </a:lnTo>
                  <a:lnTo>
                    <a:pt x="522" y="1578"/>
                  </a:lnTo>
                  <a:lnTo>
                    <a:pt x="539" y="1595"/>
                  </a:lnTo>
                  <a:lnTo>
                    <a:pt x="555" y="1613"/>
                  </a:lnTo>
                  <a:lnTo>
                    <a:pt x="563" y="1620"/>
                  </a:lnTo>
                  <a:lnTo>
                    <a:pt x="573" y="1620"/>
                  </a:lnTo>
                  <a:lnTo>
                    <a:pt x="586" y="1632"/>
                  </a:lnTo>
                  <a:lnTo>
                    <a:pt x="598" y="1645"/>
                  </a:lnTo>
                  <a:lnTo>
                    <a:pt x="608" y="1645"/>
                  </a:lnTo>
                  <a:lnTo>
                    <a:pt x="609" y="1651"/>
                  </a:lnTo>
                  <a:lnTo>
                    <a:pt x="612" y="1659"/>
                  </a:lnTo>
                  <a:lnTo>
                    <a:pt x="617" y="1667"/>
                  </a:lnTo>
                  <a:lnTo>
                    <a:pt x="624" y="1676"/>
                  </a:lnTo>
                  <a:lnTo>
                    <a:pt x="630" y="1684"/>
                  </a:lnTo>
                  <a:lnTo>
                    <a:pt x="639" y="1693"/>
                  </a:lnTo>
                  <a:lnTo>
                    <a:pt x="649" y="1703"/>
                  </a:lnTo>
                  <a:lnTo>
                    <a:pt x="659" y="1712"/>
                  </a:lnTo>
                  <a:lnTo>
                    <a:pt x="669" y="1721"/>
                  </a:lnTo>
                  <a:lnTo>
                    <a:pt x="681" y="1730"/>
                  </a:lnTo>
                  <a:lnTo>
                    <a:pt x="691" y="1738"/>
                  </a:lnTo>
                  <a:lnTo>
                    <a:pt x="702" y="1745"/>
                  </a:lnTo>
                  <a:lnTo>
                    <a:pt x="712" y="1750"/>
                  </a:lnTo>
                  <a:lnTo>
                    <a:pt x="721" y="1755"/>
                  </a:lnTo>
                  <a:lnTo>
                    <a:pt x="729" y="1757"/>
                  </a:lnTo>
                  <a:lnTo>
                    <a:pt x="736" y="1758"/>
                  </a:lnTo>
                  <a:lnTo>
                    <a:pt x="752" y="1760"/>
                  </a:lnTo>
                  <a:lnTo>
                    <a:pt x="788" y="1765"/>
                  </a:lnTo>
                  <a:lnTo>
                    <a:pt x="807" y="1766"/>
                  </a:lnTo>
                  <a:lnTo>
                    <a:pt x="823" y="1767"/>
                  </a:lnTo>
                  <a:lnTo>
                    <a:pt x="830" y="1767"/>
                  </a:lnTo>
                  <a:lnTo>
                    <a:pt x="836" y="1766"/>
                  </a:lnTo>
                  <a:lnTo>
                    <a:pt x="839" y="1765"/>
                  </a:lnTo>
                  <a:lnTo>
                    <a:pt x="840" y="1764"/>
                  </a:lnTo>
                  <a:lnTo>
                    <a:pt x="845" y="1764"/>
                  </a:lnTo>
                  <a:lnTo>
                    <a:pt x="851" y="1763"/>
                  </a:lnTo>
                  <a:lnTo>
                    <a:pt x="855" y="1763"/>
                  </a:lnTo>
                  <a:lnTo>
                    <a:pt x="857" y="1761"/>
                  </a:lnTo>
                  <a:lnTo>
                    <a:pt x="859" y="1760"/>
                  </a:lnTo>
                  <a:lnTo>
                    <a:pt x="859" y="1758"/>
                  </a:lnTo>
                  <a:lnTo>
                    <a:pt x="870" y="1758"/>
                  </a:lnTo>
                  <a:lnTo>
                    <a:pt x="880" y="1758"/>
                  </a:lnTo>
                  <a:lnTo>
                    <a:pt x="891" y="1758"/>
                  </a:lnTo>
                  <a:lnTo>
                    <a:pt x="903" y="1758"/>
                  </a:lnTo>
                  <a:lnTo>
                    <a:pt x="904" y="1757"/>
                  </a:lnTo>
                  <a:lnTo>
                    <a:pt x="905" y="1756"/>
                  </a:lnTo>
                  <a:lnTo>
                    <a:pt x="917" y="1756"/>
                  </a:lnTo>
                  <a:lnTo>
                    <a:pt x="943" y="1731"/>
                  </a:lnTo>
                  <a:lnTo>
                    <a:pt x="947" y="1731"/>
                  </a:lnTo>
                  <a:lnTo>
                    <a:pt x="951" y="1730"/>
                  </a:lnTo>
                  <a:lnTo>
                    <a:pt x="953" y="1729"/>
                  </a:lnTo>
                  <a:lnTo>
                    <a:pt x="954" y="1728"/>
                  </a:lnTo>
                  <a:lnTo>
                    <a:pt x="954" y="1727"/>
                  </a:lnTo>
                  <a:lnTo>
                    <a:pt x="955" y="1725"/>
                  </a:lnTo>
                  <a:lnTo>
                    <a:pt x="962" y="1725"/>
                  </a:lnTo>
                  <a:lnTo>
                    <a:pt x="973" y="1723"/>
                  </a:lnTo>
                  <a:lnTo>
                    <a:pt x="977" y="1723"/>
                  </a:lnTo>
                  <a:lnTo>
                    <a:pt x="982" y="1722"/>
                  </a:lnTo>
                  <a:lnTo>
                    <a:pt x="985" y="1720"/>
                  </a:lnTo>
                  <a:lnTo>
                    <a:pt x="986" y="1718"/>
                  </a:lnTo>
                  <a:lnTo>
                    <a:pt x="994" y="1718"/>
                  </a:lnTo>
                  <a:lnTo>
                    <a:pt x="1005" y="1718"/>
                  </a:lnTo>
                  <a:lnTo>
                    <a:pt x="1015" y="1718"/>
                  </a:lnTo>
                  <a:lnTo>
                    <a:pt x="1023" y="1718"/>
                  </a:lnTo>
                  <a:lnTo>
                    <a:pt x="1030" y="1712"/>
                  </a:lnTo>
                  <a:lnTo>
                    <a:pt x="1037" y="1706"/>
                  </a:lnTo>
                  <a:lnTo>
                    <a:pt x="1037" y="1701"/>
                  </a:lnTo>
                  <a:lnTo>
                    <a:pt x="1040" y="1698"/>
                  </a:lnTo>
                  <a:lnTo>
                    <a:pt x="1044" y="1694"/>
                  </a:lnTo>
                  <a:lnTo>
                    <a:pt x="1049" y="1693"/>
                  </a:lnTo>
                  <a:lnTo>
                    <a:pt x="1050" y="1688"/>
                  </a:lnTo>
                  <a:lnTo>
                    <a:pt x="1052" y="1682"/>
                  </a:lnTo>
                  <a:lnTo>
                    <a:pt x="1054" y="1679"/>
                  </a:lnTo>
                  <a:lnTo>
                    <a:pt x="1057" y="1677"/>
                  </a:lnTo>
                  <a:lnTo>
                    <a:pt x="1059" y="1676"/>
                  </a:lnTo>
                  <a:lnTo>
                    <a:pt x="1061" y="1674"/>
                  </a:lnTo>
                  <a:lnTo>
                    <a:pt x="1061" y="1669"/>
                  </a:lnTo>
                  <a:lnTo>
                    <a:pt x="1062" y="1663"/>
                  </a:lnTo>
                  <a:lnTo>
                    <a:pt x="1062" y="1660"/>
                  </a:lnTo>
                  <a:lnTo>
                    <a:pt x="1063" y="1658"/>
                  </a:lnTo>
                  <a:lnTo>
                    <a:pt x="1066" y="1657"/>
                  </a:lnTo>
                  <a:lnTo>
                    <a:pt x="1068" y="1655"/>
                  </a:lnTo>
                  <a:lnTo>
                    <a:pt x="1068" y="1643"/>
                  </a:lnTo>
                  <a:lnTo>
                    <a:pt x="1071" y="1643"/>
                  </a:lnTo>
                  <a:lnTo>
                    <a:pt x="1072" y="1642"/>
                  </a:lnTo>
                  <a:lnTo>
                    <a:pt x="1073" y="1641"/>
                  </a:lnTo>
                  <a:lnTo>
                    <a:pt x="1073" y="1640"/>
                  </a:lnTo>
                  <a:lnTo>
                    <a:pt x="1073" y="1639"/>
                  </a:lnTo>
                  <a:lnTo>
                    <a:pt x="1075" y="1638"/>
                  </a:lnTo>
                  <a:lnTo>
                    <a:pt x="1076" y="1638"/>
                  </a:lnTo>
                  <a:lnTo>
                    <a:pt x="1080" y="1638"/>
                  </a:lnTo>
                  <a:lnTo>
                    <a:pt x="1081" y="1632"/>
                  </a:lnTo>
                  <a:lnTo>
                    <a:pt x="1084" y="1629"/>
                  </a:lnTo>
                  <a:lnTo>
                    <a:pt x="1088" y="1625"/>
                  </a:lnTo>
                  <a:lnTo>
                    <a:pt x="1092" y="1624"/>
                  </a:lnTo>
                  <a:lnTo>
                    <a:pt x="1092" y="1621"/>
                  </a:lnTo>
                  <a:lnTo>
                    <a:pt x="1095" y="1617"/>
                  </a:lnTo>
                  <a:lnTo>
                    <a:pt x="1096" y="1615"/>
                  </a:lnTo>
                  <a:lnTo>
                    <a:pt x="1099" y="1613"/>
                  </a:lnTo>
                  <a:lnTo>
                    <a:pt x="1102" y="1610"/>
                  </a:lnTo>
                  <a:lnTo>
                    <a:pt x="1105" y="1606"/>
                  </a:lnTo>
                  <a:lnTo>
                    <a:pt x="1116" y="1604"/>
                  </a:lnTo>
                  <a:lnTo>
                    <a:pt x="1130" y="1600"/>
                  </a:lnTo>
                  <a:lnTo>
                    <a:pt x="1144" y="1595"/>
                  </a:lnTo>
                  <a:lnTo>
                    <a:pt x="1155" y="1593"/>
                  </a:lnTo>
                  <a:lnTo>
                    <a:pt x="1156" y="1591"/>
                  </a:lnTo>
                  <a:lnTo>
                    <a:pt x="1159" y="1587"/>
                  </a:lnTo>
                  <a:lnTo>
                    <a:pt x="1163" y="1583"/>
                  </a:lnTo>
                  <a:lnTo>
                    <a:pt x="1168" y="1578"/>
                  </a:lnTo>
                  <a:lnTo>
                    <a:pt x="1178" y="1572"/>
                  </a:lnTo>
                  <a:lnTo>
                    <a:pt x="1186" y="1568"/>
                  </a:lnTo>
                  <a:lnTo>
                    <a:pt x="1193" y="1556"/>
                  </a:lnTo>
                  <a:lnTo>
                    <a:pt x="1193" y="1544"/>
                  </a:lnTo>
                  <a:lnTo>
                    <a:pt x="1205" y="1530"/>
                  </a:lnTo>
                  <a:lnTo>
                    <a:pt x="1204" y="1520"/>
                  </a:lnTo>
                  <a:lnTo>
                    <a:pt x="1203" y="1509"/>
                  </a:lnTo>
                  <a:lnTo>
                    <a:pt x="1200" y="1497"/>
                  </a:lnTo>
                  <a:lnTo>
                    <a:pt x="1197" y="1485"/>
                  </a:lnTo>
                  <a:lnTo>
                    <a:pt x="1190" y="1460"/>
                  </a:lnTo>
                  <a:lnTo>
                    <a:pt x="1182" y="1436"/>
                  </a:lnTo>
                  <a:lnTo>
                    <a:pt x="1178" y="1423"/>
                  </a:lnTo>
                  <a:lnTo>
                    <a:pt x="1175" y="1411"/>
                  </a:lnTo>
                  <a:lnTo>
                    <a:pt x="1173" y="1400"/>
                  </a:lnTo>
                  <a:lnTo>
                    <a:pt x="1172" y="1389"/>
                  </a:lnTo>
                  <a:lnTo>
                    <a:pt x="1172" y="1378"/>
                  </a:lnTo>
                  <a:lnTo>
                    <a:pt x="1174" y="1367"/>
                  </a:lnTo>
                  <a:lnTo>
                    <a:pt x="1176" y="1359"/>
                  </a:lnTo>
                  <a:lnTo>
                    <a:pt x="1182" y="1350"/>
                  </a:lnTo>
                  <a:lnTo>
                    <a:pt x="1193" y="1347"/>
                  </a:lnTo>
                  <a:lnTo>
                    <a:pt x="1212" y="1345"/>
                  </a:lnTo>
                  <a:lnTo>
                    <a:pt x="1235" y="1344"/>
                  </a:lnTo>
                  <a:lnTo>
                    <a:pt x="1260" y="1343"/>
                  </a:lnTo>
                  <a:lnTo>
                    <a:pt x="1283" y="1344"/>
                  </a:lnTo>
                  <a:lnTo>
                    <a:pt x="1305" y="1346"/>
                  </a:lnTo>
                  <a:lnTo>
                    <a:pt x="1312" y="1347"/>
                  </a:lnTo>
                  <a:lnTo>
                    <a:pt x="1318" y="1350"/>
                  </a:lnTo>
                  <a:lnTo>
                    <a:pt x="1322" y="1353"/>
                  </a:lnTo>
                  <a:lnTo>
                    <a:pt x="1324" y="1355"/>
                  </a:lnTo>
                  <a:lnTo>
                    <a:pt x="1417" y="1355"/>
                  </a:lnTo>
                  <a:lnTo>
                    <a:pt x="1418" y="1352"/>
                  </a:lnTo>
                  <a:lnTo>
                    <a:pt x="1418" y="1351"/>
                  </a:lnTo>
                  <a:lnTo>
                    <a:pt x="1420" y="1350"/>
                  </a:lnTo>
                  <a:lnTo>
                    <a:pt x="1421" y="1350"/>
                  </a:lnTo>
                  <a:lnTo>
                    <a:pt x="1422" y="1350"/>
                  </a:lnTo>
                  <a:lnTo>
                    <a:pt x="1423" y="1348"/>
                  </a:lnTo>
                  <a:lnTo>
                    <a:pt x="1424" y="1347"/>
                  </a:lnTo>
                  <a:lnTo>
                    <a:pt x="1424" y="1343"/>
                  </a:lnTo>
                  <a:lnTo>
                    <a:pt x="1505" y="1343"/>
                  </a:lnTo>
                  <a:lnTo>
                    <a:pt x="1508" y="1344"/>
                  </a:lnTo>
                  <a:lnTo>
                    <a:pt x="1514" y="1347"/>
                  </a:lnTo>
                  <a:lnTo>
                    <a:pt x="1518" y="1351"/>
                  </a:lnTo>
                  <a:lnTo>
                    <a:pt x="1521" y="1354"/>
                  </a:lnTo>
                  <a:lnTo>
                    <a:pt x="1523" y="1357"/>
                  </a:lnTo>
                  <a:lnTo>
                    <a:pt x="1524" y="1362"/>
                  </a:lnTo>
                  <a:lnTo>
                    <a:pt x="1527" y="1363"/>
                  </a:lnTo>
                  <a:lnTo>
                    <a:pt x="1530" y="1366"/>
                  </a:lnTo>
                  <a:lnTo>
                    <a:pt x="1534" y="1371"/>
                  </a:lnTo>
                  <a:lnTo>
                    <a:pt x="1539" y="1376"/>
                  </a:lnTo>
                  <a:lnTo>
                    <a:pt x="1542" y="1382"/>
                  </a:lnTo>
                  <a:lnTo>
                    <a:pt x="1546" y="1389"/>
                  </a:lnTo>
                  <a:lnTo>
                    <a:pt x="1548" y="1394"/>
                  </a:lnTo>
                  <a:lnTo>
                    <a:pt x="1549" y="1400"/>
                  </a:lnTo>
                  <a:lnTo>
                    <a:pt x="1561" y="1412"/>
                  </a:lnTo>
                  <a:lnTo>
                    <a:pt x="1562" y="1448"/>
                  </a:lnTo>
                  <a:lnTo>
                    <a:pt x="1565" y="1486"/>
                  </a:lnTo>
                  <a:lnTo>
                    <a:pt x="1567" y="1524"/>
                  </a:lnTo>
                  <a:lnTo>
                    <a:pt x="1568" y="1556"/>
                  </a:lnTo>
                  <a:lnTo>
                    <a:pt x="1574" y="1565"/>
                  </a:lnTo>
                  <a:lnTo>
                    <a:pt x="1581" y="1581"/>
                  </a:lnTo>
                  <a:lnTo>
                    <a:pt x="1585" y="1588"/>
                  </a:lnTo>
                  <a:lnTo>
                    <a:pt x="1589" y="1596"/>
                  </a:lnTo>
                  <a:lnTo>
                    <a:pt x="1595" y="1602"/>
                  </a:lnTo>
                  <a:lnTo>
                    <a:pt x="1599" y="1606"/>
                  </a:lnTo>
                  <a:lnTo>
                    <a:pt x="1599" y="1612"/>
                  </a:lnTo>
                  <a:lnTo>
                    <a:pt x="1601" y="1617"/>
                  </a:lnTo>
                  <a:lnTo>
                    <a:pt x="1605" y="1623"/>
                  </a:lnTo>
                  <a:lnTo>
                    <a:pt x="1608" y="1626"/>
                  </a:lnTo>
                  <a:lnTo>
                    <a:pt x="1612" y="1631"/>
                  </a:lnTo>
                  <a:lnTo>
                    <a:pt x="1615" y="1635"/>
                  </a:lnTo>
                  <a:lnTo>
                    <a:pt x="1617" y="1639"/>
                  </a:lnTo>
                  <a:lnTo>
                    <a:pt x="1618" y="1643"/>
                  </a:lnTo>
                  <a:lnTo>
                    <a:pt x="1624" y="1645"/>
                  </a:lnTo>
                  <a:lnTo>
                    <a:pt x="1630" y="1650"/>
                  </a:lnTo>
                  <a:lnTo>
                    <a:pt x="1637" y="1657"/>
                  </a:lnTo>
                  <a:lnTo>
                    <a:pt x="1643" y="1662"/>
                  </a:lnTo>
                  <a:lnTo>
                    <a:pt x="1643" y="1674"/>
                  </a:lnTo>
                  <a:lnTo>
                    <a:pt x="1649" y="1681"/>
                  </a:lnTo>
                  <a:lnTo>
                    <a:pt x="1662" y="1687"/>
                  </a:lnTo>
                  <a:lnTo>
                    <a:pt x="1670" y="1708"/>
                  </a:lnTo>
                  <a:lnTo>
                    <a:pt x="1689" y="1754"/>
                  </a:lnTo>
                  <a:lnTo>
                    <a:pt x="1699" y="1778"/>
                  </a:lnTo>
                  <a:lnTo>
                    <a:pt x="1708" y="1801"/>
                  </a:lnTo>
                  <a:lnTo>
                    <a:pt x="1715" y="1815"/>
                  </a:lnTo>
                  <a:lnTo>
                    <a:pt x="1720" y="1821"/>
                  </a:lnTo>
                  <a:lnTo>
                    <a:pt x="1720" y="2003"/>
                  </a:lnTo>
                  <a:lnTo>
                    <a:pt x="1723" y="2004"/>
                  </a:lnTo>
                  <a:lnTo>
                    <a:pt x="1726" y="2006"/>
                  </a:lnTo>
                  <a:lnTo>
                    <a:pt x="1729" y="2009"/>
                  </a:lnTo>
                  <a:lnTo>
                    <a:pt x="1731" y="2014"/>
                  </a:lnTo>
                  <a:lnTo>
                    <a:pt x="1735" y="2018"/>
                  </a:lnTo>
                  <a:lnTo>
                    <a:pt x="1741" y="2021"/>
                  </a:lnTo>
                  <a:lnTo>
                    <a:pt x="1750" y="2024"/>
                  </a:lnTo>
                  <a:lnTo>
                    <a:pt x="1761" y="2025"/>
                  </a:lnTo>
                  <a:lnTo>
                    <a:pt x="1778" y="2025"/>
                  </a:lnTo>
                  <a:lnTo>
                    <a:pt x="1800" y="2026"/>
                  </a:lnTo>
                  <a:lnTo>
                    <a:pt x="1811" y="2026"/>
                  </a:lnTo>
                  <a:lnTo>
                    <a:pt x="1821" y="2027"/>
                  </a:lnTo>
                  <a:lnTo>
                    <a:pt x="1828" y="2029"/>
                  </a:lnTo>
                  <a:lnTo>
                    <a:pt x="1830" y="2032"/>
                  </a:lnTo>
                  <a:lnTo>
                    <a:pt x="1839" y="2032"/>
                  </a:lnTo>
                  <a:lnTo>
                    <a:pt x="1849" y="2032"/>
                  </a:lnTo>
                  <a:lnTo>
                    <a:pt x="1855" y="2044"/>
                  </a:lnTo>
                  <a:lnTo>
                    <a:pt x="1868" y="2044"/>
                  </a:lnTo>
                  <a:lnTo>
                    <a:pt x="1868" y="2047"/>
                  </a:lnTo>
                  <a:lnTo>
                    <a:pt x="1869" y="2049"/>
                  </a:lnTo>
                  <a:lnTo>
                    <a:pt x="1869" y="2049"/>
                  </a:lnTo>
                  <a:lnTo>
                    <a:pt x="1871" y="2049"/>
                  </a:lnTo>
                  <a:lnTo>
                    <a:pt x="1872" y="2049"/>
                  </a:lnTo>
                  <a:lnTo>
                    <a:pt x="1873" y="2051"/>
                  </a:lnTo>
                  <a:lnTo>
                    <a:pt x="1874" y="2053"/>
                  </a:lnTo>
                  <a:lnTo>
                    <a:pt x="1874" y="2056"/>
                  </a:lnTo>
                  <a:lnTo>
                    <a:pt x="1884" y="2059"/>
                  </a:lnTo>
                  <a:lnTo>
                    <a:pt x="1893" y="2063"/>
                  </a:lnTo>
                  <a:lnTo>
                    <a:pt x="1893" y="2066"/>
                  </a:lnTo>
                  <a:lnTo>
                    <a:pt x="1894" y="2067"/>
                  </a:lnTo>
                  <a:lnTo>
                    <a:pt x="1895" y="2068"/>
                  </a:lnTo>
                  <a:lnTo>
                    <a:pt x="1896" y="2068"/>
                  </a:lnTo>
                  <a:lnTo>
                    <a:pt x="1897" y="2068"/>
                  </a:lnTo>
                  <a:lnTo>
                    <a:pt x="1898" y="2069"/>
                  </a:lnTo>
                  <a:lnTo>
                    <a:pt x="1898" y="2072"/>
                  </a:lnTo>
                  <a:lnTo>
                    <a:pt x="1900" y="2075"/>
                  </a:lnTo>
                  <a:lnTo>
                    <a:pt x="1912" y="2075"/>
                  </a:lnTo>
                  <a:lnTo>
                    <a:pt x="1912" y="2087"/>
                  </a:lnTo>
                  <a:lnTo>
                    <a:pt x="1924" y="2087"/>
                  </a:lnTo>
                  <a:lnTo>
                    <a:pt x="1931" y="2094"/>
                  </a:lnTo>
                  <a:lnTo>
                    <a:pt x="1936" y="2100"/>
                  </a:lnTo>
                  <a:lnTo>
                    <a:pt x="1955" y="2100"/>
                  </a:lnTo>
                  <a:lnTo>
                    <a:pt x="1955" y="2103"/>
                  </a:lnTo>
                  <a:lnTo>
                    <a:pt x="1956" y="2105"/>
                  </a:lnTo>
                  <a:lnTo>
                    <a:pt x="1958" y="2106"/>
                  </a:lnTo>
                  <a:lnTo>
                    <a:pt x="1959" y="2106"/>
                  </a:lnTo>
                  <a:lnTo>
                    <a:pt x="1960" y="2106"/>
                  </a:lnTo>
                  <a:lnTo>
                    <a:pt x="1961" y="2106"/>
                  </a:lnTo>
                  <a:lnTo>
                    <a:pt x="1961" y="2109"/>
                  </a:lnTo>
                  <a:lnTo>
                    <a:pt x="1962" y="2112"/>
                  </a:lnTo>
                  <a:lnTo>
                    <a:pt x="2099" y="2112"/>
                  </a:lnTo>
                  <a:lnTo>
                    <a:pt x="2105" y="2111"/>
                  </a:lnTo>
                  <a:lnTo>
                    <a:pt x="2116" y="2111"/>
                  </a:lnTo>
                  <a:lnTo>
                    <a:pt x="2132" y="2112"/>
                  </a:lnTo>
                  <a:lnTo>
                    <a:pt x="2150" y="2114"/>
                  </a:lnTo>
                  <a:lnTo>
                    <a:pt x="2184" y="2117"/>
                  </a:lnTo>
                  <a:lnTo>
                    <a:pt x="2209" y="2120"/>
                  </a:lnTo>
                  <a:lnTo>
                    <a:pt x="2209" y="2116"/>
                  </a:lnTo>
                  <a:lnTo>
                    <a:pt x="2210" y="2114"/>
                  </a:lnTo>
                  <a:lnTo>
                    <a:pt x="2211" y="2114"/>
                  </a:lnTo>
                  <a:lnTo>
                    <a:pt x="2212" y="2114"/>
                  </a:lnTo>
                  <a:lnTo>
                    <a:pt x="2213" y="2113"/>
                  </a:lnTo>
                  <a:lnTo>
                    <a:pt x="2214" y="2113"/>
                  </a:lnTo>
                  <a:lnTo>
                    <a:pt x="2214" y="2111"/>
                  </a:lnTo>
                  <a:lnTo>
                    <a:pt x="2215" y="2107"/>
                  </a:lnTo>
                  <a:lnTo>
                    <a:pt x="2221" y="2107"/>
                  </a:lnTo>
                  <a:lnTo>
                    <a:pt x="2227" y="2106"/>
                  </a:lnTo>
                  <a:lnTo>
                    <a:pt x="2230" y="2106"/>
                  </a:lnTo>
                  <a:lnTo>
                    <a:pt x="2232" y="2105"/>
                  </a:lnTo>
                  <a:lnTo>
                    <a:pt x="2233" y="2103"/>
                  </a:lnTo>
                  <a:lnTo>
                    <a:pt x="2233" y="2101"/>
                  </a:lnTo>
                  <a:lnTo>
                    <a:pt x="2241" y="2101"/>
                  </a:lnTo>
                  <a:lnTo>
                    <a:pt x="2250" y="2100"/>
                  </a:lnTo>
                  <a:lnTo>
                    <a:pt x="2260" y="2097"/>
                  </a:lnTo>
                  <a:lnTo>
                    <a:pt x="2270" y="2096"/>
                  </a:lnTo>
                  <a:lnTo>
                    <a:pt x="2273" y="2094"/>
                  </a:lnTo>
                  <a:lnTo>
                    <a:pt x="2278" y="2092"/>
                  </a:lnTo>
                  <a:lnTo>
                    <a:pt x="2278" y="2083"/>
                  </a:lnTo>
                  <a:lnTo>
                    <a:pt x="2280" y="2083"/>
                  </a:lnTo>
                  <a:lnTo>
                    <a:pt x="2281" y="2081"/>
                  </a:lnTo>
                  <a:lnTo>
                    <a:pt x="2282" y="2077"/>
                  </a:lnTo>
                  <a:lnTo>
                    <a:pt x="2282" y="2074"/>
                  </a:lnTo>
                  <a:lnTo>
                    <a:pt x="2284" y="2072"/>
                  </a:lnTo>
                  <a:lnTo>
                    <a:pt x="2285" y="2065"/>
                  </a:lnTo>
                  <a:lnTo>
                    <a:pt x="2285" y="2056"/>
                  </a:lnTo>
                  <a:lnTo>
                    <a:pt x="2286" y="2045"/>
                  </a:lnTo>
                  <a:lnTo>
                    <a:pt x="2285" y="2035"/>
                  </a:lnTo>
                  <a:lnTo>
                    <a:pt x="2285" y="2025"/>
                  </a:lnTo>
                  <a:lnTo>
                    <a:pt x="2284" y="2019"/>
                  </a:lnTo>
                  <a:lnTo>
                    <a:pt x="2282" y="2016"/>
                  </a:lnTo>
                  <a:lnTo>
                    <a:pt x="2280" y="1992"/>
                  </a:lnTo>
                  <a:lnTo>
                    <a:pt x="2278" y="1969"/>
                  </a:lnTo>
                  <a:lnTo>
                    <a:pt x="2275" y="1946"/>
                  </a:lnTo>
                  <a:lnTo>
                    <a:pt x="2273" y="1922"/>
                  </a:lnTo>
                  <a:lnTo>
                    <a:pt x="2265" y="1909"/>
                  </a:lnTo>
                  <a:lnTo>
                    <a:pt x="2263" y="1890"/>
                  </a:lnTo>
                  <a:lnTo>
                    <a:pt x="2261" y="1867"/>
                  </a:lnTo>
                  <a:lnTo>
                    <a:pt x="2259" y="1856"/>
                  </a:lnTo>
                  <a:lnTo>
                    <a:pt x="2257" y="1846"/>
                  </a:lnTo>
                  <a:lnTo>
                    <a:pt x="2253" y="1836"/>
                  </a:lnTo>
                  <a:lnTo>
                    <a:pt x="2251" y="1830"/>
                  </a:lnTo>
                  <a:lnTo>
                    <a:pt x="2251" y="1713"/>
                  </a:lnTo>
                  <a:lnTo>
                    <a:pt x="2252" y="1711"/>
                  </a:lnTo>
                  <a:lnTo>
                    <a:pt x="2253" y="1706"/>
                  </a:lnTo>
                  <a:lnTo>
                    <a:pt x="2255" y="1697"/>
                  </a:lnTo>
                  <a:lnTo>
                    <a:pt x="2255" y="1688"/>
                  </a:lnTo>
                  <a:lnTo>
                    <a:pt x="2256" y="1668"/>
                  </a:lnTo>
                  <a:lnTo>
                    <a:pt x="2256" y="1655"/>
                  </a:lnTo>
                  <a:lnTo>
                    <a:pt x="2253" y="1650"/>
                  </a:lnTo>
                  <a:lnTo>
                    <a:pt x="2250" y="1642"/>
                  </a:lnTo>
                  <a:lnTo>
                    <a:pt x="2246" y="1635"/>
                  </a:lnTo>
                  <a:lnTo>
                    <a:pt x="2242" y="1633"/>
                  </a:lnTo>
                  <a:lnTo>
                    <a:pt x="2241" y="1628"/>
                  </a:lnTo>
                  <a:lnTo>
                    <a:pt x="2240" y="1620"/>
                  </a:lnTo>
                  <a:lnTo>
                    <a:pt x="2237" y="1613"/>
                  </a:lnTo>
                  <a:lnTo>
                    <a:pt x="2234" y="1605"/>
                  </a:lnTo>
                  <a:lnTo>
                    <a:pt x="2231" y="1597"/>
                  </a:lnTo>
                  <a:lnTo>
                    <a:pt x="2227" y="1592"/>
                  </a:lnTo>
                  <a:lnTo>
                    <a:pt x="2223" y="1586"/>
                  </a:lnTo>
                  <a:lnTo>
                    <a:pt x="2220" y="1584"/>
                  </a:lnTo>
                  <a:lnTo>
                    <a:pt x="2219" y="1578"/>
                  </a:lnTo>
                  <a:lnTo>
                    <a:pt x="2215" y="1573"/>
                  </a:lnTo>
                  <a:lnTo>
                    <a:pt x="2211" y="1566"/>
                  </a:lnTo>
                  <a:lnTo>
                    <a:pt x="2207" y="1559"/>
                  </a:lnTo>
                  <a:lnTo>
                    <a:pt x="2201" y="1553"/>
                  </a:lnTo>
                  <a:lnTo>
                    <a:pt x="2196" y="1546"/>
                  </a:lnTo>
                  <a:lnTo>
                    <a:pt x="2194" y="1540"/>
                  </a:lnTo>
                  <a:lnTo>
                    <a:pt x="2193" y="1535"/>
                  </a:lnTo>
                  <a:lnTo>
                    <a:pt x="2189" y="1533"/>
                  </a:lnTo>
                  <a:lnTo>
                    <a:pt x="2184" y="1530"/>
                  </a:lnTo>
                  <a:lnTo>
                    <a:pt x="2183" y="1527"/>
                  </a:lnTo>
                  <a:lnTo>
                    <a:pt x="2182" y="1524"/>
                  </a:lnTo>
                  <a:lnTo>
                    <a:pt x="2179" y="1520"/>
                  </a:lnTo>
                  <a:lnTo>
                    <a:pt x="2176" y="1518"/>
                  </a:lnTo>
                  <a:lnTo>
                    <a:pt x="2173" y="1516"/>
                  </a:lnTo>
                  <a:lnTo>
                    <a:pt x="2169" y="1514"/>
                  </a:lnTo>
                  <a:lnTo>
                    <a:pt x="2165" y="1513"/>
                  </a:lnTo>
                  <a:lnTo>
                    <a:pt x="2162" y="1513"/>
                  </a:lnTo>
                  <a:lnTo>
                    <a:pt x="2160" y="1508"/>
                  </a:lnTo>
                  <a:lnTo>
                    <a:pt x="2156" y="1504"/>
                  </a:lnTo>
                  <a:lnTo>
                    <a:pt x="2152" y="1500"/>
                  </a:lnTo>
                  <a:lnTo>
                    <a:pt x="2148" y="1499"/>
                  </a:lnTo>
                  <a:lnTo>
                    <a:pt x="2144" y="1495"/>
                  </a:lnTo>
                  <a:lnTo>
                    <a:pt x="2140" y="1486"/>
                  </a:lnTo>
                  <a:lnTo>
                    <a:pt x="2140" y="1472"/>
                  </a:lnTo>
                  <a:lnTo>
                    <a:pt x="2131" y="1468"/>
                  </a:lnTo>
                  <a:lnTo>
                    <a:pt x="2131" y="1459"/>
                  </a:lnTo>
                  <a:lnTo>
                    <a:pt x="2131" y="1450"/>
                  </a:lnTo>
                  <a:lnTo>
                    <a:pt x="2122" y="1441"/>
                  </a:lnTo>
                  <a:lnTo>
                    <a:pt x="2122" y="1423"/>
                  </a:lnTo>
                  <a:lnTo>
                    <a:pt x="2115" y="1414"/>
                  </a:lnTo>
                  <a:lnTo>
                    <a:pt x="2107" y="1400"/>
                  </a:lnTo>
                  <a:lnTo>
                    <a:pt x="2098" y="1381"/>
                  </a:lnTo>
                  <a:lnTo>
                    <a:pt x="2089" y="1360"/>
                  </a:lnTo>
                  <a:lnTo>
                    <a:pt x="2081" y="1340"/>
                  </a:lnTo>
                  <a:lnTo>
                    <a:pt x="2075" y="1319"/>
                  </a:lnTo>
                  <a:lnTo>
                    <a:pt x="2069" y="1304"/>
                  </a:lnTo>
                  <a:lnTo>
                    <a:pt x="2068" y="1294"/>
                  </a:lnTo>
                  <a:lnTo>
                    <a:pt x="2064" y="1290"/>
                  </a:lnTo>
                  <a:lnTo>
                    <a:pt x="2059" y="1286"/>
                  </a:lnTo>
                  <a:lnTo>
                    <a:pt x="2056" y="1280"/>
                  </a:lnTo>
                  <a:lnTo>
                    <a:pt x="2052" y="1275"/>
                  </a:lnTo>
                  <a:lnTo>
                    <a:pt x="2048" y="1263"/>
                  </a:lnTo>
                  <a:lnTo>
                    <a:pt x="2044" y="1249"/>
                  </a:lnTo>
                  <a:lnTo>
                    <a:pt x="2040" y="1235"/>
                  </a:lnTo>
                  <a:lnTo>
                    <a:pt x="2036" y="1221"/>
                  </a:lnTo>
                  <a:lnTo>
                    <a:pt x="2033" y="1216"/>
                  </a:lnTo>
                  <a:lnTo>
                    <a:pt x="2030" y="1210"/>
                  </a:lnTo>
                  <a:lnTo>
                    <a:pt x="2027" y="1205"/>
                  </a:lnTo>
                  <a:lnTo>
                    <a:pt x="2023" y="1200"/>
                  </a:lnTo>
                  <a:lnTo>
                    <a:pt x="2023" y="1182"/>
                  </a:lnTo>
                  <a:lnTo>
                    <a:pt x="2015" y="1167"/>
                  </a:lnTo>
                  <a:lnTo>
                    <a:pt x="2006" y="1151"/>
                  </a:lnTo>
                  <a:lnTo>
                    <a:pt x="2006" y="1138"/>
                  </a:lnTo>
                  <a:lnTo>
                    <a:pt x="1996" y="1125"/>
                  </a:lnTo>
                  <a:lnTo>
                    <a:pt x="1977" y="1102"/>
                  </a:lnTo>
                  <a:lnTo>
                    <a:pt x="1968" y="1088"/>
                  </a:lnTo>
                  <a:lnTo>
                    <a:pt x="1960" y="1077"/>
                  </a:lnTo>
                  <a:lnTo>
                    <a:pt x="1954" y="1067"/>
                  </a:lnTo>
                  <a:lnTo>
                    <a:pt x="1952" y="1062"/>
                  </a:lnTo>
                  <a:lnTo>
                    <a:pt x="1948" y="1053"/>
                  </a:lnTo>
                  <a:lnTo>
                    <a:pt x="1941" y="1048"/>
                  </a:lnTo>
                  <a:lnTo>
                    <a:pt x="1934" y="1044"/>
                  </a:lnTo>
                  <a:lnTo>
                    <a:pt x="1930" y="1036"/>
                  </a:lnTo>
                  <a:lnTo>
                    <a:pt x="1920" y="1021"/>
                  </a:lnTo>
                  <a:lnTo>
                    <a:pt x="1910" y="1008"/>
                  </a:lnTo>
                  <a:lnTo>
                    <a:pt x="1903" y="999"/>
                  </a:lnTo>
                  <a:lnTo>
                    <a:pt x="1903" y="990"/>
                  </a:lnTo>
                  <a:lnTo>
                    <a:pt x="1896" y="984"/>
                  </a:lnTo>
                  <a:lnTo>
                    <a:pt x="1889" y="977"/>
                  </a:lnTo>
                  <a:lnTo>
                    <a:pt x="1889" y="974"/>
                  </a:lnTo>
                  <a:lnTo>
                    <a:pt x="1888" y="969"/>
                  </a:lnTo>
                  <a:lnTo>
                    <a:pt x="1887" y="967"/>
                  </a:lnTo>
                  <a:lnTo>
                    <a:pt x="1886" y="966"/>
                  </a:lnTo>
                  <a:lnTo>
                    <a:pt x="1884" y="965"/>
                  </a:lnTo>
                  <a:lnTo>
                    <a:pt x="1881" y="963"/>
                  </a:lnTo>
                  <a:lnTo>
                    <a:pt x="1876" y="959"/>
                  </a:lnTo>
                  <a:lnTo>
                    <a:pt x="1876" y="950"/>
                  </a:lnTo>
                  <a:lnTo>
                    <a:pt x="1872" y="948"/>
                  </a:lnTo>
                  <a:lnTo>
                    <a:pt x="1867" y="946"/>
                  </a:lnTo>
                  <a:lnTo>
                    <a:pt x="1867" y="937"/>
                  </a:lnTo>
                  <a:lnTo>
                    <a:pt x="1858" y="932"/>
                  </a:lnTo>
                  <a:lnTo>
                    <a:pt x="1858" y="923"/>
                  </a:lnTo>
                  <a:lnTo>
                    <a:pt x="1849" y="914"/>
                  </a:lnTo>
                  <a:lnTo>
                    <a:pt x="1836" y="901"/>
                  </a:lnTo>
                  <a:lnTo>
                    <a:pt x="1826" y="902"/>
                  </a:lnTo>
                  <a:lnTo>
                    <a:pt x="1817" y="904"/>
                  </a:lnTo>
                  <a:lnTo>
                    <a:pt x="1808" y="909"/>
                  </a:lnTo>
                  <a:lnTo>
                    <a:pt x="1800" y="914"/>
                  </a:lnTo>
                  <a:lnTo>
                    <a:pt x="1787" y="914"/>
                  </a:lnTo>
                  <a:lnTo>
                    <a:pt x="1786" y="917"/>
                  </a:lnTo>
                  <a:lnTo>
                    <a:pt x="1782" y="921"/>
                  </a:lnTo>
                  <a:lnTo>
                    <a:pt x="1778" y="927"/>
                  </a:lnTo>
                  <a:lnTo>
                    <a:pt x="1773" y="928"/>
                  </a:lnTo>
                  <a:lnTo>
                    <a:pt x="1773" y="937"/>
                  </a:lnTo>
                  <a:lnTo>
                    <a:pt x="1771" y="938"/>
                  </a:lnTo>
                  <a:lnTo>
                    <a:pt x="1770" y="940"/>
                  </a:lnTo>
                  <a:lnTo>
                    <a:pt x="1769" y="942"/>
                  </a:lnTo>
                  <a:lnTo>
                    <a:pt x="1769" y="946"/>
                  </a:lnTo>
                  <a:lnTo>
                    <a:pt x="1768" y="947"/>
                  </a:lnTo>
                  <a:lnTo>
                    <a:pt x="1767" y="948"/>
                  </a:lnTo>
                  <a:lnTo>
                    <a:pt x="1766" y="949"/>
                  </a:lnTo>
                  <a:lnTo>
                    <a:pt x="1766" y="951"/>
                  </a:lnTo>
                  <a:lnTo>
                    <a:pt x="1764" y="956"/>
                  </a:lnTo>
                  <a:lnTo>
                    <a:pt x="1764" y="959"/>
                  </a:lnTo>
                  <a:lnTo>
                    <a:pt x="1762" y="960"/>
                  </a:lnTo>
                  <a:lnTo>
                    <a:pt x="1761" y="962"/>
                  </a:lnTo>
                  <a:lnTo>
                    <a:pt x="1760" y="965"/>
                  </a:lnTo>
                  <a:lnTo>
                    <a:pt x="1760" y="968"/>
                  </a:lnTo>
                  <a:lnTo>
                    <a:pt x="1757" y="969"/>
                  </a:lnTo>
                  <a:lnTo>
                    <a:pt x="1752" y="971"/>
                  </a:lnTo>
                  <a:lnTo>
                    <a:pt x="1749" y="974"/>
                  </a:lnTo>
                  <a:lnTo>
                    <a:pt x="1744" y="977"/>
                  </a:lnTo>
                  <a:lnTo>
                    <a:pt x="1739" y="980"/>
                  </a:lnTo>
                  <a:lnTo>
                    <a:pt x="1734" y="984"/>
                  </a:lnTo>
                  <a:lnTo>
                    <a:pt x="1730" y="986"/>
                  </a:lnTo>
                  <a:lnTo>
                    <a:pt x="1724" y="986"/>
                  </a:lnTo>
                  <a:lnTo>
                    <a:pt x="1718" y="995"/>
                  </a:lnTo>
                  <a:lnTo>
                    <a:pt x="1711" y="1004"/>
                  </a:lnTo>
                  <a:lnTo>
                    <a:pt x="1671" y="1004"/>
                  </a:lnTo>
                  <a:lnTo>
                    <a:pt x="1671" y="1007"/>
                  </a:lnTo>
                  <a:lnTo>
                    <a:pt x="1668" y="1008"/>
                  </a:lnTo>
                  <a:lnTo>
                    <a:pt x="1665" y="1008"/>
                  </a:lnTo>
                  <a:lnTo>
                    <a:pt x="1662" y="1008"/>
                  </a:lnTo>
                  <a:lnTo>
                    <a:pt x="1662" y="1010"/>
                  </a:lnTo>
                  <a:lnTo>
                    <a:pt x="1660" y="1013"/>
                  </a:lnTo>
                  <a:lnTo>
                    <a:pt x="1656" y="1016"/>
                  </a:lnTo>
                  <a:lnTo>
                    <a:pt x="1653" y="1017"/>
                  </a:lnTo>
                  <a:lnTo>
                    <a:pt x="1653" y="1026"/>
                  </a:lnTo>
                  <a:lnTo>
                    <a:pt x="1649" y="1029"/>
                  </a:lnTo>
                  <a:lnTo>
                    <a:pt x="1645" y="1033"/>
                  </a:lnTo>
                  <a:lnTo>
                    <a:pt x="1642" y="1036"/>
                  </a:lnTo>
                  <a:lnTo>
                    <a:pt x="1639" y="1039"/>
                  </a:lnTo>
                  <a:lnTo>
                    <a:pt x="1636" y="1040"/>
                  </a:lnTo>
                  <a:lnTo>
                    <a:pt x="1634" y="1043"/>
                  </a:lnTo>
                  <a:lnTo>
                    <a:pt x="1632" y="1045"/>
                  </a:lnTo>
                  <a:lnTo>
                    <a:pt x="1630" y="1048"/>
                  </a:lnTo>
                  <a:lnTo>
                    <a:pt x="1596" y="1047"/>
                  </a:lnTo>
                  <a:lnTo>
                    <a:pt x="1560" y="1044"/>
                  </a:lnTo>
                  <a:lnTo>
                    <a:pt x="1527" y="1042"/>
                  </a:lnTo>
                  <a:lnTo>
                    <a:pt x="1497" y="1039"/>
                  </a:lnTo>
                  <a:lnTo>
                    <a:pt x="1488" y="1030"/>
                  </a:lnTo>
                  <a:lnTo>
                    <a:pt x="1479" y="1021"/>
                  </a:lnTo>
                  <a:lnTo>
                    <a:pt x="1470" y="1021"/>
                  </a:lnTo>
                  <a:lnTo>
                    <a:pt x="1465" y="1017"/>
                  </a:lnTo>
                  <a:lnTo>
                    <a:pt x="1465" y="1008"/>
                  </a:lnTo>
                  <a:lnTo>
                    <a:pt x="1464" y="1004"/>
                  </a:lnTo>
                  <a:lnTo>
                    <a:pt x="1463" y="992"/>
                  </a:lnTo>
                  <a:lnTo>
                    <a:pt x="1462" y="976"/>
                  </a:lnTo>
                  <a:lnTo>
                    <a:pt x="1462" y="957"/>
                  </a:lnTo>
                  <a:lnTo>
                    <a:pt x="1462" y="920"/>
                  </a:lnTo>
                  <a:lnTo>
                    <a:pt x="1461" y="901"/>
                  </a:lnTo>
                  <a:lnTo>
                    <a:pt x="1460" y="878"/>
                  </a:lnTo>
                  <a:lnTo>
                    <a:pt x="1456" y="852"/>
                  </a:lnTo>
                  <a:lnTo>
                    <a:pt x="1454" y="827"/>
                  </a:lnTo>
                  <a:lnTo>
                    <a:pt x="1452" y="804"/>
                  </a:lnTo>
                  <a:lnTo>
                    <a:pt x="1443" y="795"/>
                  </a:lnTo>
                  <a:lnTo>
                    <a:pt x="1443" y="779"/>
                  </a:lnTo>
                  <a:lnTo>
                    <a:pt x="1443" y="764"/>
                  </a:lnTo>
                  <a:lnTo>
                    <a:pt x="1441" y="763"/>
                  </a:lnTo>
                  <a:lnTo>
                    <a:pt x="1440" y="760"/>
                  </a:lnTo>
                  <a:lnTo>
                    <a:pt x="1440" y="758"/>
                  </a:lnTo>
                  <a:lnTo>
                    <a:pt x="1438" y="755"/>
                  </a:lnTo>
                  <a:lnTo>
                    <a:pt x="1430" y="746"/>
                  </a:lnTo>
                  <a:lnTo>
                    <a:pt x="1430" y="737"/>
                  </a:lnTo>
                  <a:lnTo>
                    <a:pt x="1425" y="735"/>
                  </a:lnTo>
                  <a:lnTo>
                    <a:pt x="1422" y="732"/>
                  </a:lnTo>
                  <a:lnTo>
                    <a:pt x="1416" y="721"/>
                  </a:lnTo>
                  <a:lnTo>
                    <a:pt x="1413" y="710"/>
                  </a:lnTo>
                  <a:lnTo>
                    <a:pt x="1404" y="706"/>
                  </a:lnTo>
                  <a:lnTo>
                    <a:pt x="1399" y="692"/>
                  </a:lnTo>
                  <a:lnTo>
                    <a:pt x="1395" y="679"/>
                  </a:lnTo>
                  <a:lnTo>
                    <a:pt x="1386" y="674"/>
                  </a:lnTo>
                  <a:lnTo>
                    <a:pt x="1385" y="670"/>
                  </a:lnTo>
                  <a:lnTo>
                    <a:pt x="1382" y="667"/>
                  </a:lnTo>
                  <a:lnTo>
                    <a:pt x="1378" y="662"/>
                  </a:lnTo>
                  <a:lnTo>
                    <a:pt x="1375" y="658"/>
                  </a:lnTo>
                  <a:lnTo>
                    <a:pt x="1370" y="653"/>
                  </a:lnTo>
                  <a:lnTo>
                    <a:pt x="1367" y="649"/>
                  </a:lnTo>
                  <a:lnTo>
                    <a:pt x="1364" y="643"/>
                  </a:lnTo>
                  <a:lnTo>
                    <a:pt x="1364" y="639"/>
                  </a:lnTo>
                  <a:lnTo>
                    <a:pt x="1359" y="636"/>
                  </a:lnTo>
                  <a:lnTo>
                    <a:pt x="1355" y="634"/>
                  </a:lnTo>
                  <a:lnTo>
                    <a:pt x="1350" y="625"/>
                  </a:lnTo>
                  <a:lnTo>
                    <a:pt x="1346" y="616"/>
                  </a:lnTo>
                  <a:lnTo>
                    <a:pt x="1342" y="614"/>
                  </a:lnTo>
                  <a:lnTo>
                    <a:pt x="1337" y="607"/>
                  </a:lnTo>
                  <a:lnTo>
                    <a:pt x="1329" y="599"/>
                  </a:lnTo>
                  <a:lnTo>
                    <a:pt x="1321" y="588"/>
                  </a:lnTo>
                  <a:lnTo>
                    <a:pt x="1313" y="577"/>
                  </a:lnTo>
                  <a:lnTo>
                    <a:pt x="1307" y="567"/>
                  </a:lnTo>
                  <a:lnTo>
                    <a:pt x="1302" y="558"/>
                  </a:lnTo>
                  <a:lnTo>
                    <a:pt x="1301" y="554"/>
                  </a:lnTo>
                  <a:lnTo>
                    <a:pt x="1297" y="549"/>
                  </a:lnTo>
                  <a:lnTo>
                    <a:pt x="1292" y="547"/>
                  </a:lnTo>
                  <a:lnTo>
                    <a:pt x="1288" y="545"/>
                  </a:lnTo>
                  <a:lnTo>
                    <a:pt x="1288" y="536"/>
                  </a:lnTo>
                  <a:lnTo>
                    <a:pt x="1283" y="534"/>
                  </a:lnTo>
                  <a:lnTo>
                    <a:pt x="1279" y="532"/>
                  </a:lnTo>
                  <a:lnTo>
                    <a:pt x="1277" y="525"/>
                  </a:lnTo>
                  <a:lnTo>
                    <a:pt x="1274" y="518"/>
                  </a:lnTo>
                  <a:lnTo>
                    <a:pt x="1265" y="518"/>
                  </a:lnTo>
                  <a:lnTo>
                    <a:pt x="1263" y="514"/>
                  </a:lnTo>
                  <a:lnTo>
                    <a:pt x="1261" y="509"/>
                  </a:lnTo>
                  <a:lnTo>
                    <a:pt x="1258" y="508"/>
                  </a:lnTo>
                  <a:lnTo>
                    <a:pt x="1254" y="506"/>
                  </a:lnTo>
                  <a:lnTo>
                    <a:pt x="1252" y="504"/>
                  </a:lnTo>
                  <a:lnTo>
                    <a:pt x="1252" y="500"/>
                  </a:lnTo>
                  <a:lnTo>
                    <a:pt x="1248" y="496"/>
                  </a:lnTo>
                  <a:lnTo>
                    <a:pt x="1243" y="491"/>
                  </a:lnTo>
                  <a:lnTo>
                    <a:pt x="1239" y="489"/>
                  </a:lnTo>
                  <a:lnTo>
                    <a:pt x="1234" y="487"/>
                  </a:lnTo>
                  <a:lnTo>
                    <a:pt x="1234" y="478"/>
                  </a:lnTo>
                  <a:lnTo>
                    <a:pt x="1230" y="476"/>
                  </a:lnTo>
                  <a:lnTo>
                    <a:pt x="1225" y="474"/>
                  </a:lnTo>
                  <a:lnTo>
                    <a:pt x="1224" y="469"/>
                  </a:lnTo>
                  <a:lnTo>
                    <a:pt x="1222" y="465"/>
                  </a:lnTo>
                  <a:lnTo>
                    <a:pt x="1220" y="461"/>
                  </a:lnTo>
                  <a:lnTo>
                    <a:pt x="1216" y="460"/>
                  </a:lnTo>
                  <a:lnTo>
                    <a:pt x="1215" y="457"/>
                  </a:lnTo>
                  <a:lnTo>
                    <a:pt x="1214" y="452"/>
                  </a:lnTo>
                  <a:lnTo>
                    <a:pt x="1212" y="448"/>
                  </a:lnTo>
                  <a:lnTo>
                    <a:pt x="1209" y="443"/>
                  </a:lnTo>
                  <a:lnTo>
                    <a:pt x="1203" y="437"/>
                  </a:lnTo>
                  <a:lnTo>
                    <a:pt x="1198" y="433"/>
                  </a:lnTo>
                  <a:lnTo>
                    <a:pt x="1196" y="399"/>
                  </a:lnTo>
                  <a:lnTo>
                    <a:pt x="1193" y="361"/>
                  </a:lnTo>
                  <a:lnTo>
                    <a:pt x="1187" y="321"/>
                  </a:lnTo>
                  <a:lnTo>
                    <a:pt x="1181" y="278"/>
                  </a:lnTo>
                  <a:lnTo>
                    <a:pt x="1174" y="236"/>
                  </a:lnTo>
                  <a:lnTo>
                    <a:pt x="1168" y="193"/>
                  </a:lnTo>
                  <a:lnTo>
                    <a:pt x="1166" y="173"/>
                  </a:lnTo>
                  <a:lnTo>
                    <a:pt x="1164" y="153"/>
                  </a:lnTo>
                  <a:lnTo>
                    <a:pt x="1163" y="134"/>
                  </a:lnTo>
                  <a:lnTo>
                    <a:pt x="1163" y="116"/>
                  </a:lnTo>
                  <a:lnTo>
                    <a:pt x="1159" y="116"/>
                  </a:lnTo>
                  <a:lnTo>
                    <a:pt x="1158" y="114"/>
                  </a:lnTo>
                  <a:lnTo>
                    <a:pt x="1158" y="111"/>
                  </a:lnTo>
                  <a:lnTo>
                    <a:pt x="1158" y="107"/>
                  </a:lnTo>
                  <a:lnTo>
                    <a:pt x="1136" y="107"/>
                  </a:lnTo>
                  <a:lnTo>
                    <a:pt x="1135" y="106"/>
                  </a:lnTo>
                  <a:lnTo>
                    <a:pt x="1132" y="105"/>
                  </a:lnTo>
                  <a:lnTo>
                    <a:pt x="1127" y="104"/>
                  </a:lnTo>
                  <a:lnTo>
                    <a:pt x="1121" y="104"/>
                  </a:lnTo>
                  <a:lnTo>
                    <a:pt x="1111" y="103"/>
                  </a:lnTo>
                  <a:lnTo>
                    <a:pt x="1105" y="103"/>
                  </a:lnTo>
                  <a:lnTo>
                    <a:pt x="1104" y="101"/>
                  </a:lnTo>
                  <a:lnTo>
                    <a:pt x="1101" y="100"/>
                  </a:lnTo>
                  <a:lnTo>
                    <a:pt x="1099" y="99"/>
                  </a:lnTo>
                  <a:lnTo>
                    <a:pt x="1096" y="99"/>
                  </a:lnTo>
                  <a:lnTo>
                    <a:pt x="1092" y="97"/>
                  </a:lnTo>
                  <a:lnTo>
                    <a:pt x="1085" y="96"/>
                  </a:lnTo>
                  <a:lnTo>
                    <a:pt x="1073" y="95"/>
                  </a:lnTo>
                  <a:lnTo>
                    <a:pt x="1061" y="95"/>
                  </a:lnTo>
                  <a:lnTo>
                    <a:pt x="1036" y="94"/>
                  </a:lnTo>
                  <a:lnTo>
                    <a:pt x="1020" y="94"/>
                  </a:lnTo>
                  <a:lnTo>
                    <a:pt x="1019" y="96"/>
                  </a:lnTo>
                  <a:lnTo>
                    <a:pt x="1018" y="97"/>
                  </a:lnTo>
                  <a:lnTo>
                    <a:pt x="1017" y="97"/>
                  </a:lnTo>
                  <a:lnTo>
                    <a:pt x="1013" y="99"/>
                  </a:lnTo>
                  <a:lnTo>
                    <a:pt x="1008" y="99"/>
                  </a:lnTo>
                  <a:lnTo>
                    <a:pt x="1000" y="97"/>
                  </a:lnTo>
                  <a:lnTo>
                    <a:pt x="986" y="95"/>
                  </a:lnTo>
                  <a:lnTo>
                    <a:pt x="980" y="94"/>
                  </a:lnTo>
                  <a:lnTo>
                    <a:pt x="972" y="87"/>
                  </a:lnTo>
                  <a:lnTo>
                    <a:pt x="962" y="81"/>
                  </a:lnTo>
                  <a:lnTo>
                    <a:pt x="948" y="81"/>
                  </a:lnTo>
                  <a:lnTo>
                    <a:pt x="948" y="80"/>
                  </a:lnTo>
                  <a:lnTo>
                    <a:pt x="947" y="78"/>
                  </a:lnTo>
                  <a:lnTo>
                    <a:pt x="945" y="77"/>
                  </a:lnTo>
                  <a:lnTo>
                    <a:pt x="943" y="77"/>
                  </a:lnTo>
                  <a:lnTo>
                    <a:pt x="939" y="76"/>
                  </a:lnTo>
                  <a:lnTo>
                    <a:pt x="935" y="76"/>
                  </a:lnTo>
                  <a:lnTo>
                    <a:pt x="934" y="74"/>
                  </a:lnTo>
                  <a:lnTo>
                    <a:pt x="932" y="73"/>
                  </a:lnTo>
                  <a:lnTo>
                    <a:pt x="929" y="72"/>
                  </a:lnTo>
                  <a:lnTo>
                    <a:pt x="926" y="72"/>
                  </a:lnTo>
                  <a:lnTo>
                    <a:pt x="924" y="67"/>
                  </a:lnTo>
                  <a:lnTo>
                    <a:pt x="922" y="63"/>
                  </a:lnTo>
                  <a:lnTo>
                    <a:pt x="917" y="63"/>
                  </a:lnTo>
                  <a:lnTo>
                    <a:pt x="913" y="61"/>
                  </a:lnTo>
                  <a:lnTo>
                    <a:pt x="909" y="57"/>
                  </a:lnTo>
                  <a:lnTo>
                    <a:pt x="908" y="54"/>
                  </a:lnTo>
                  <a:lnTo>
                    <a:pt x="899" y="54"/>
                  </a:lnTo>
                  <a:lnTo>
                    <a:pt x="898" y="51"/>
                  </a:lnTo>
                  <a:lnTo>
                    <a:pt x="897" y="48"/>
                  </a:lnTo>
                  <a:lnTo>
                    <a:pt x="894" y="46"/>
                  </a:lnTo>
                  <a:lnTo>
                    <a:pt x="890" y="45"/>
                  </a:lnTo>
                  <a:lnTo>
                    <a:pt x="889" y="42"/>
                  </a:lnTo>
                  <a:lnTo>
                    <a:pt x="886" y="39"/>
                  </a:lnTo>
                  <a:lnTo>
                    <a:pt x="881" y="37"/>
                  </a:lnTo>
                  <a:lnTo>
                    <a:pt x="877" y="36"/>
                  </a:lnTo>
                  <a:lnTo>
                    <a:pt x="877" y="23"/>
                  </a:lnTo>
                  <a:lnTo>
                    <a:pt x="873" y="20"/>
                  </a:lnTo>
                  <a:lnTo>
                    <a:pt x="868" y="18"/>
                  </a:lnTo>
                  <a:lnTo>
                    <a:pt x="868" y="9"/>
                  </a:lnTo>
                  <a:lnTo>
                    <a:pt x="859" y="9"/>
                  </a:lnTo>
                  <a:lnTo>
                    <a:pt x="84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51" name="Freeform 17"/>
            <p:cNvSpPr>
              <a:spLocks noChangeAspect="1"/>
            </p:cNvSpPr>
            <p:nvPr/>
          </p:nvSpPr>
          <p:spPr bwMode="gray">
            <a:xfrm rot="355651">
              <a:off x="6138157" y="3890963"/>
              <a:ext cx="389328" cy="193758"/>
            </a:xfrm>
            <a:custGeom>
              <a:avLst/>
              <a:gdLst/>
              <a:ahLst/>
              <a:cxnLst>
                <a:cxn ang="0">
                  <a:pos x="1359" y="1032"/>
                </a:cxn>
                <a:cxn ang="0">
                  <a:pos x="1416" y="1097"/>
                </a:cxn>
                <a:cxn ang="0">
                  <a:pos x="1474" y="1161"/>
                </a:cxn>
                <a:cxn ang="0">
                  <a:pos x="1498" y="1178"/>
                </a:cxn>
                <a:cxn ang="0">
                  <a:pos x="1536" y="1201"/>
                </a:cxn>
                <a:cxn ang="0">
                  <a:pos x="1587" y="1174"/>
                </a:cxn>
                <a:cxn ang="0">
                  <a:pos x="1611" y="1149"/>
                </a:cxn>
                <a:cxn ang="0">
                  <a:pos x="1810" y="1051"/>
                </a:cxn>
                <a:cxn ang="0">
                  <a:pos x="2087" y="925"/>
                </a:cxn>
                <a:cxn ang="0">
                  <a:pos x="2144" y="786"/>
                </a:cxn>
                <a:cxn ang="0">
                  <a:pos x="2087" y="709"/>
                </a:cxn>
                <a:cxn ang="0">
                  <a:pos x="2057" y="682"/>
                </a:cxn>
                <a:cxn ang="0">
                  <a:pos x="1993" y="646"/>
                </a:cxn>
                <a:cxn ang="0">
                  <a:pos x="1829" y="638"/>
                </a:cxn>
                <a:cxn ang="0">
                  <a:pos x="1722" y="577"/>
                </a:cxn>
                <a:cxn ang="0">
                  <a:pos x="1666" y="533"/>
                </a:cxn>
                <a:cxn ang="0">
                  <a:pos x="1580" y="471"/>
                </a:cxn>
                <a:cxn ang="0">
                  <a:pos x="1561" y="446"/>
                </a:cxn>
                <a:cxn ang="0">
                  <a:pos x="1535" y="391"/>
                </a:cxn>
                <a:cxn ang="0">
                  <a:pos x="1535" y="230"/>
                </a:cxn>
                <a:cxn ang="0">
                  <a:pos x="1337" y="241"/>
                </a:cxn>
                <a:cxn ang="0">
                  <a:pos x="1287" y="269"/>
                </a:cxn>
                <a:cxn ang="0">
                  <a:pos x="1230" y="303"/>
                </a:cxn>
                <a:cxn ang="0">
                  <a:pos x="1179" y="356"/>
                </a:cxn>
                <a:cxn ang="0">
                  <a:pos x="1132" y="260"/>
                </a:cxn>
                <a:cxn ang="0">
                  <a:pos x="1095" y="223"/>
                </a:cxn>
                <a:cxn ang="0">
                  <a:pos x="1065" y="218"/>
                </a:cxn>
                <a:cxn ang="0">
                  <a:pos x="1008" y="254"/>
                </a:cxn>
                <a:cxn ang="0">
                  <a:pos x="865" y="267"/>
                </a:cxn>
                <a:cxn ang="0">
                  <a:pos x="806" y="170"/>
                </a:cxn>
                <a:cxn ang="0">
                  <a:pos x="680" y="113"/>
                </a:cxn>
                <a:cxn ang="0">
                  <a:pos x="525" y="89"/>
                </a:cxn>
                <a:cxn ang="0">
                  <a:pos x="369" y="96"/>
                </a:cxn>
                <a:cxn ang="0">
                  <a:pos x="270" y="51"/>
                </a:cxn>
                <a:cxn ang="0">
                  <a:pos x="210" y="2"/>
                </a:cxn>
                <a:cxn ang="0">
                  <a:pos x="15" y="28"/>
                </a:cxn>
                <a:cxn ang="0">
                  <a:pos x="38" y="316"/>
                </a:cxn>
                <a:cxn ang="0">
                  <a:pos x="72" y="393"/>
                </a:cxn>
                <a:cxn ang="0">
                  <a:pos x="107" y="435"/>
                </a:cxn>
                <a:cxn ang="0">
                  <a:pos x="155" y="494"/>
                </a:cxn>
                <a:cxn ang="0">
                  <a:pos x="212" y="570"/>
                </a:cxn>
                <a:cxn ang="0">
                  <a:pos x="267" y="652"/>
                </a:cxn>
                <a:cxn ang="0">
                  <a:pos x="298" y="769"/>
                </a:cxn>
                <a:cxn ang="0">
                  <a:pos x="330" y="947"/>
                </a:cxn>
                <a:cxn ang="0">
                  <a:pos x="491" y="946"/>
                </a:cxn>
                <a:cxn ang="0">
                  <a:pos x="560" y="912"/>
                </a:cxn>
                <a:cxn ang="0">
                  <a:pos x="604" y="877"/>
                </a:cxn>
                <a:cxn ang="0">
                  <a:pos x="615" y="845"/>
                </a:cxn>
                <a:cxn ang="0">
                  <a:pos x="658" y="697"/>
                </a:cxn>
                <a:cxn ang="0">
                  <a:pos x="628" y="606"/>
                </a:cxn>
                <a:cxn ang="0">
                  <a:pos x="766" y="606"/>
                </a:cxn>
                <a:cxn ang="0">
                  <a:pos x="902" y="652"/>
                </a:cxn>
                <a:cxn ang="0">
                  <a:pos x="1017" y="687"/>
                </a:cxn>
                <a:cxn ang="0">
                  <a:pos x="1191" y="731"/>
                </a:cxn>
                <a:cxn ang="0">
                  <a:pos x="1232" y="754"/>
                </a:cxn>
                <a:cxn ang="0">
                  <a:pos x="1364" y="807"/>
                </a:cxn>
                <a:cxn ang="0">
                  <a:pos x="1391" y="825"/>
                </a:cxn>
                <a:cxn ang="0">
                  <a:pos x="1411" y="844"/>
                </a:cxn>
                <a:cxn ang="0">
                  <a:pos x="1443" y="894"/>
                </a:cxn>
                <a:cxn ang="0">
                  <a:pos x="1441" y="917"/>
                </a:cxn>
              </a:cxnLst>
              <a:rect l="0" t="0" r="r" b="b"/>
              <a:pathLst>
                <a:path w="2153" h="1210">
                  <a:moveTo>
                    <a:pt x="1424" y="931"/>
                  </a:moveTo>
                  <a:lnTo>
                    <a:pt x="1409" y="951"/>
                  </a:lnTo>
                  <a:lnTo>
                    <a:pt x="1399" y="962"/>
                  </a:lnTo>
                  <a:lnTo>
                    <a:pt x="1387" y="962"/>
                  </a:lnTo>
                  <a:lnTo>
                    <a:pt x="1386" y="966"/>
                  </a:lnTo>
                  <a:lnTo>
                    <a:pt x="1383" y="970"/>
                  </a:lnTo>
                  <a:lnTo>
                    <a:pt x="1379" y="973"/>
                  </a:lnTo>
                  <a:lnTo>
                    <a:pt x="1374" y="974"/>
                  </a:lnTo>
                  <a:lnTo>
                    <a:pt x="1371" y="985"/>
                  </a:lnTo>
                  <a:lnTo>
                    <a:pt x="1366" y="1008"/>
                  </a:lnTo>
                  <a:lnTo>
                    <a:pt x="1361" y="1020"/>
                  </a:lnTo>
                  <a:lnTo>
                    <a:pt x="1359" y="1032"/>
                  </a:lnTo>
                  <a:lnTo>
                    <a:pt x="1357" y="1045"/>
                  </a:lnTo>
                  <a:lnTo>
                    <a:pt x="1355" y="1055"/>
                  </a:lnTo>
                  <a:lnTo>
                    <a:pt x="1362" y="1065"/>
                  </a:lnTo>
                  <a:lnTo>
                    <a:pt x="1368" y="1079"/>
                  </a:lnTo>
                  <a:lnTo>
                    <a:pt x="1372" y="1080"/>
                  </a:lnTo>
                  <a:lnTo>
                    <a:pt x="1378" y="1084"/>
                  </a:lnTo>
                  <a:lnTo>
                    <a:pt x="1382" y="1087"/>
                  </a:lnTo>
                  <a:lnTo>
                    <a:pt x="1387" y="1091"/>
                  </a:lnTo>
                  <a:lnTo>
                    <a:pt x="1411" y="1091"/>
                  </a:lnTo>
                  <a:lnTo>
                    <a:pt x="1412" y="1094"/>
                  </a:lnTo>
                  <a:lnTo>
                    <a:pt x="1414" y="1096"/>
                  </a:lnTo>
                  <a:lnTo>
                    <a:pt x="1416" y="1097"/>
                  </a:lnTo>
                  <a:lnTo>
                    <a:pt x="1418" y="1097"/>
                  </a:lnTo>
                  <a:lnTo>
                    <a:pt x="1425" y="1098"/>
                  </a:lnTo>
                  <a:lnTo>
                    <a:pt x="1430" y="1098"/>
                  </a:lnTo>
                  <a:lnTo>
                    <a:pt x="1436" y="1105"/>
                  </a:lnTo>
                  <a:lnTo>
                    <a:pt x="1443" y="1110"/>
                  </a:lnTo>
                  <a:lnTo>
                    <a:pt x="1445" y="1116"/>
                  </a:lnTo>
                  <a:lnTo>
                    <a:pt x="1449" y="1123"/>
                  </a:lnTo>
                  <a:lnTo>
                    <a:pt x="1456" y="1129"/>
                  </a:lnTo>
                  <a:lnTo>
                    <a:pt x="1462" y="1135"/>
                  </a:lnTo>
                  <a:lnTo>
                    <a:pt x="1462" y="1147"/>
                  </a:lnTo>
                  <a:lnTo>
                    <a:pt x="1467" y="1154"/>
                  </a:lnTo>
                  <a:lnTo>
                    <a:pt x="1474" y="1161"/>
                  </a:lnTo>
                  <a:lnTo>
                    <a:pt x="1477" y="1161"/>
                  </a:lnTo>
                  <a:lnTo>
                    <a:pt x="1479" y="1161"/>
                  </a:lnTo>
                  <a:lnTo>
                    <a:pt x="1479" y="1162"/>
                  </a:lnTo>
                  <a:lnTo>
                    <a:pt x="1479" y="1163"/>
                  </a:lnTo>
                  <a:lnTo>
                    <a:pt x="1479" y="1164"/>
                  </a:lnTo>
                  <a:lnTo>
                    <a:pt x="1481" y="1165"/>
                  </a:lnTo>
                  <a:lnTo>
                    <a:pt x="1483" y="1166"/>
                  </a:lnTo>
                  <a:lnTo>
                    <a:pt x="1486" y="1166"/>
                  </a:lnTo>
                  <a:lnTo>
                    <a:pt x="1487" y="1171"/>
                  </a:lnTo>
                  <a:lnTo>
                    <a:pt x="1489" y="1175"/>
                  </a:lnTo>
                  <a:lnTo>
                    <a:pt x="1494" y="1177"/>
                  </a:lnTo>
                  <a:lnTo>
                    <a:pt x="1498" y="1178"/>
                  </a:lnTo>
                  <a:lnTo>
                    <a:pt x="1498" y="1182"/>
                  </a:lnTo>
                  <a:lnTo>
                    <a:pt x="1499" y="1184"/>
                  </a:lnTo>
                  <a:lnTo>
                    <a:pt x="1501" y="1185"/>
                  </a:lnTo>
                  <a:lnTo>
                    <a:pt x="1502" y="1185"/>
                  </a:lnTo>
                  <a:lnTo>
                    <a:pt x="1503" y="1185"/>
                  </a:lnTo>
                  <a:lnTo>
                    <a:pt x="1504" y="1186"/>
                  </a:lnTo>
                  <a:lnTo>
                    <a:pt x="1504" y="1187"/>
                  </a:lnTo>
                  <a:lnTo>
                    <a:pt x="1505" y="1191"/>
                  </a:lnTo>
                  <a:lnTo>
                    <a:pt x="1512" y="1192"/>
                  </a:lnTo>
                  <a:lnTo>
                    <a:pt x="1520" y="1194"/>
                  </a:lnTo>
                  <a:lnTo>
                    <a:pt x="1527" y="1197"/>
                  </a:lnTo>
                  <a:lnTo>
                    <a:pt x="1536" y="1201"/>
                  </a:lnTo>
                  <a:lnTo>
                    <a:pt x="1545" y="1204"/>
                  </a:lnTo>
                  <a:lnTo>
                    <a:pt x="1554" y="1206"/>
                  </a:lnTo>
                  <a:lnTo>
                    <a:pt x="1563" y="1209"/>
                  </a:lnTo>
                  <a:lnTo>
                    <a:pt x="1573" y="1210"/>
                  </a:lnTo>
                  <a:lnTo>
                    <a:pt x="1577" y="1196"/>
                  </a:lnTo>
                  <a:lnTo>
                    <a:pt x="1579" y="1178"/>
                  </a:lnTo>
                  <a:lnTo>
                    <a:pt x="1583" y="1178"/>
                  </a:lnTo>
                  <a:lnTo>
                    <a:pt x="1584" y="1177"/>
                  </a:lnTo>
                  <a:lnTo>
                    <a:pt x="1585" y="1177"/>
                  </a:lnTo>
                  <a:lnTo>
                    <a:pt x="1585" y="1175"/>
                  </a:lnTo>
                  <a:lnTo>
                    <a:pt x="1585" y="1174"/>
                  </a:lnTo>
                  <a:lnTo>
                    <a:pt x="1587" y="1174"/>
                  </a:lnTo>
                  <a:lnTo>
                    <a:pt x="1588" y="1173"/>
                  </a:lnTo>
                  <a:lnTo>
                    <a:pt x="1591" y="1173"/>
                  </a:lnTo>
                  <a:lnTo>
                    <a:pt x="1592" y="1165"/>
                  </a:lnTo>
                  <a:lnTo>
                    <a:pt x="1592" y="1161"/>
                  </a:lnTo>
                  <a:lnTo>
                    <a:pt x="1593" y="1159"/>
                  </a:lnTo>
                  <a:lnTo>
                    <a:pt x="1594" y="1158"/>
                  </a:lnTo>
                  <a:lnTo>
                    <a:pt x="1596" y="1158"/>
                  </a:lnTo>
                  <a:lnTo>
                    <a:pt x="1597" y="1158"/>
                  </a:lnTo>
                  <a:lnTo>
                    <a:pt x="1598" y="1157"/>
                  </a:lnTo>
                  <a:lnTo>
                    <a:pt x="1598" y="1154"/>
                  </a:lnTo>
                  <a:lnTo>
                    <a:pt x="1604" y="1153"/>
                  </a:lnTo>
                  <a:lnTo>
                    <a:pt x="1611" y="1149"/>
                  </a:lnTo>
                  <a:lnTo>
                    <a:pt x="1618" y="1145"/>
                  </a:lnTo>
                  <a:lnTo>
                    <a:pt x="1626" y="1139"/>
                  </a:lnTo>
                  <a:lnTo>
                    <a:pt x="1633" y="1134"/>
                  </a:lnTo>
                  <a:lnTo>
                    <a:pt x="1642" y="1129"/>
                  </a:lnTo>
                  <a:lnTo>
                    <a:pt x="1649" y="1125"/>
                  </a:lnTo>
                  <a:lnTo>
                    <a:pt x="1657" y="1123"/>
                  </a:lnTo>
                  <a:lnTo>
                    <a:pt x="1678" y="1118"/>
                  </a:lnTo>
                  <a:lnTo>
                    <a:pt x="1709" y="1109"/>
                  </a:lnTo>
                  <a:lnTo>
                    <a:pt x="1740" y="1101"/>
                  </a:lnTo>
                  <a:lnTo>
                    <a:pt x="1760" y="1098"/>
                  </a:lnTo>
                  <a:lnTo>
                    <a:pt x="1777" y="1079"/>
                  </a:lnTo>
                  <a:lnTo>
                    <a:pt x="1810" y="1051"/>
                  </a:lnTo>
                  <a:lnTo>
                    <a:pt x="1831" y="1036"/>
                  </a:lnTo>
                  <a:lnTo>
                    <a:pt x="1856" y="1019"/>
                  </a:lnTo>
                  <a:lnTo>
                    <a:pt x="1869" y="1011"/>
                  </a:lnTo>
                  <a:lnTo>
                    <a:pt x="1884" y="1003"/>
                  </a:lnTo>
                  <a:lnTo>
                    <a:pt x="1899" y="994"/>
                  </a:lnTo>
                  <a:lnTo>
                    <a:pt x="1916" y="988"/>
                  </a:lnTo>
                  <a:lnTo>
                    <a:pt x="1953" y="972"/>
                  </a:lnTo>
                  <a:lnTo>
                    <a:pt x="1987" y="959"/>
                  </a:lnTo>
                  <a:lnTo>
                    <a:pt x="2017" y="947"/>
                  </a:lnTo>
                  <a:lnTo>
                    <a:pt x="2044" y="940"/>
                  </a:lnTo>
                  <a:lnTo>
                    <a:pt x="2067" y="932"/>
                  </a:lnTo>
                  <a:lnTo>
                    <a:pt x="2087" y="925"/>
                  </a:lnTo>
                  <a:lnTo>
                    <a:pt x="2102" y="920"/>
                  </a:lnTo>
                  <a:lnTo>
                    <a:pt x="2116" y="914"/>
                  </a:lnTo>
                  <a:lnTo>
                    <a:pt x="2122" y="909"/>
                  </a:lnTo>
                  <a:lnTo>
                    <a:pt x="2128" y="904"/>
                  </a:lnTo>
                  <a:lnTo>
                    <a:pt x="2131" y="897"/>
                  </a:lnTo>
                  <a:lnTo>
                    <a:pt x="2132" y="889"/>
                  </a:lnTo>
                  <a:lnTo>
                    <a:pt x="2135" y="864"/>
                  </a:lnTo>
                  <a:lnTo>
                    <a:pt x="2135" y="820"/>
                  </a:lnTo>
                  <a:lnTo>
                    <a:pt x="2136" y="811"/>
                  </a:lnTo>
                  <a:lnTo>
                    <a:pt x="2138" y="802"/>
                  </a:lnTo>
                  <a:lnTo>
                    <a:pt x="2140" y="793"/>
                  </a:lnTo>
                  <a:lnTo>
                    <a:pt x="2144" y="786"/>
                  </a:lnTo>
                  <a:lnTo>
                    <a:pt x="2147" y="777"/>
                  </a:lnTo>
                  <a:lnTo>
                    <a:pt x="2149" y="769"/>
                  </a:lnTo>
                  <a:lnTo>
                    <a:pt x="2151" y="761"/>
                  </a:lnTo>
                  <a:lnTo>
                    <a:pt x="2153" y="753"/>
                  </a:lnTo>
                  <a:lnTo>
                    <a:pt x="2147" y="753"/>
                  </a:lnTo>
                  <a:lnTo>
                    <a:pt x="2142" y="752"/>
                  </a:lnTo>
                  <a:lnTo>
                    <a:pt x="2137" y="749"/>
                  </a:lnTo>
                  <a:lnTo>
                    <a:pt x="2131" y="747"/>
                  </a:lnTo>
                  <a:lnTo>
                    <a:pt x="2121" y="738"/>
                  </a:lnTo>
                  <a:lnTo>
                    <a:pt x="2110" y="729"/>
                  </a:lnTo>
                  <a:lnTo>
                    <a:pt x="2099" y="719"/>
                  </a:lnTo>
                  <a:lnTo>
                    <a:pt x="2087" y="709"/>
                  </a:lnTo>
                  <a:lnTo>
                    <a:pt x="2081" y="704"/>
                  </a:lnTo>
                  <a:lnTo>
                    <a:pt x="2076" y="701"/>
                  </a:lnTo>
                  <a:lnTo>
                    <a:pt x="2069" y="697"/>
                  </a:lnTo>
                  <a:lnTo>
                    <a:pt x="2063" y="695"/>
                  </a:lnTo>
                  <a:lnTo>
                    <a:pt x="2063" y="691"/>
                  </a:lnTo>
                  <a:lnTo>
                    <a:pt x="2062" y="690"/>
                  </a:lnTo>
                  <a:lnTo>
                    <a:pt x="2061" y="688"/>
                  </a:lnTo>
                  <a:lnTo>
                    <a:pt x="2060" y="688"/>
                  </a:lnTo>
                  <a:lnTo>
                    <a:pt x="2059" y="688"/>
                  </a:lnTo>
                  <a:lnTo>
                    <a:pt x="2058" y="687"/>
                  </a:lnTo>
                  <a:lnTo>
                    <a:pt x="2058" y="686"/>
                  </a:lnTo>
                  <a:lnTo>
                    <a:pt x="2057" y="682"/>
                  </a:lnTo>
                  <a:lnTo>
                    <a:pt x="2044" y="682"/>
                  </a:lnTo>
                  <a:lnTo>
                    <a:pt x="2044" y="680"/>
                  </a:lnTo>
                  <a:lnTo>
                    <a:pt x="2042" y="677"/>
                  </a:lnTo>
                  <a:lnTo>
                    <a:pt x="2039" y="674"/>
                  </a:lnTo>
                  <a:lnTo>
                    <a:pt x="2034" y="671"/>
                  </a:lnTo>
                  <a:lnTo>
                    <a:pt x="2026" y="666"/>
                  </a:lnTo>
                  <a:lnTo>
                    <a:pt x="2020" y="664"/>
                  </a:lnTo>
                  <a:lnTo>
                    <a:pt x="2017" y="659"/>
                  </a:lnTo>
                  <a:lnTo>
                    <a:pt x="2014" y="656"/>
                  </a:lnTo>
                  <a:lnTo>
                    <a:pt x="2010" y="653"/>
                  </a:lnTo>
                  <a:lnTo>
                    <a:pt x="2004" y="649"/>
                  </a:lnTo>
                  <a:lnTo>
                    <a:pt x="1993" y="646"/>
                  </a:lnTo>
                  <a:lnTo>
                    <a:pt x="1980" y="644"/>
                  </a:lnTo>
                  <a:lnTo>
                    <a:pt x="1965" y="643"/>
                  </a:lnTo>
                  <a:lnTo>
                    <a:pt x="1948" y="643"/>
                  </a:lnTo>
                  <a:lnTo>
                    <a:pt x="1932" y="644"/>
                  </a:lnTo>
                  <a:lnTo>
                    <a:pt x="1915" y="644"/>
                  </a:lnTo>
                  <a:lnTo>
                    <a:pt x="1897" y="645"/>
                  </a:lnTo>
                  <a:lnTo>
                    <a:pt x="1880" y="645"/>
                  </a:lnTo>
                  <a:lnTo>
                    <a:pt x="1863" y="645"/>
                  </a:lnTo>
                  <a:lnTo>
                    <a:pt x="1849" y="644"/>
                  </a:lnTo>
                  <a:lnTo>
                    <a:pt x="1842" y="643"/>
                  </a:lnTo>
                  <a:lnTo>
                    <a:pt x="1836" y="641"/>
                  </a:lnTo>
                  <a:lnTo>
                    <a:pt x="1829" y="638"/>
                  </a:lnTo>
                  <a:lnTo>
                    <a:pt x="1824" y="636"/>
                  </a:lnTo>
                  <a:lnTo>
                    <a:pt x="1819" y="633"/>
                  </a:lnTo>
                  <a:lnTo>
                    <a:pt x="1815" y="629"/>
                  </a:lnTo>
                  <a:lnTo>
                    <a:pt x="1811" y="625"/>
                  </a:lnTo>
                  <a:lnTo>
                    <a:pt x="1809" y="620"/>
                  </a:lnTo>
                  <a:lnTo>
                    <a:pt x="1784" y="620"/>
                  </a:lnTo>
                  <a:lnTo>
                    <a:pt x="1776" y="614"/>
                  </a:lnTo>
                  <a:lnTo>
                    <a:pt x="1757" y="598"/>
                  </a:lnTo>
                  <a:lnTo>
                    <a:pt x="1747" y="590"/>
                  </a:lnTo>
                  <a:lnTo>
                    <a:pt x="1737" y="584"/>
                  </a:lnTo>
                  <a:lnTo>
                    <a:pt x="1728" y="579"/>
                  </a:lnTo>
                  <a:lnTo>
                    <a:pt x="1722" y="577"/>
                  </a:lnTo>
                  <a:lnTo>
                    <a:pt x="1716" y="570"/>
                  </a:lnTo>
                  <a:lnTo>
                    <a:pt x="1715" y="567"/>
                  </a:lnTo>
                  <a:lnTo>
                    <a:pt x="1715" y="566"/>
                  </a:lnTo>
                  <a:lnTo>
                    <a:pt x="1714" y="565"/>
                  </a:lnTo>
                  <a:lnTo>
                    <a:pt x="1713" y="565"/>
                  </a:lnTo>
                  <a:lnTo>
                    <a:pt x="1712" y="565"/>
                  </a:lnTo>
                  <a:lnTo>
                    <a:pt x="1710" y="563"/>
                  </a:lnTo>
                  <a:lnTo>
                    <a:pt x="1709" y="562"/>
                  </a:lnTo>
                  <a:lnTo>
                    <a:pt x="1709" y="558"/>
                  </a:lnTo>
                  <a:lnTo>
                    <a:pt x="1694" y="552"/>
                  </a:lnTo>
                  <a:lnTo>
                    <a:pt x="1678" y="546"/>
                  </a:lnTo>
                  <a:lnTo>
                    <a:pt x="1666" y="533"/>
                  </a:lnTo>
                  <a:lnTo>
                    <a:pt x="1654" y="521"/>
                  </a:lnTo>
                  <a:lnTo>
                    <a:pt x="1635" y="521"/>
                  </a:lnTo>
                  <a:lnTo>
                    <a:pt x="1622" y="509"/>
                  </a:lnTo>
                  <a:lnTo>
                    <a:pt x="1610" y="509"/>
                  </a:lnTo>
                  <a:lnTo>
                    <a:pt x="1608" y="503"/>
                  </a:lnTo>
                  <a:lnTo>
                    <a:pt x="1603" y="497"/>
                  </a:lnTo>
                  <a:lnTo>
                    <a:pt x="1597" y="492"/>
                  </a:lnTo>
                  <a:lnTo>
                    <a:pt x="1591" y="490"/>
                  </a:lnTo>
                  <a:lnTo>
                    <a:pt x="1589" y="481"/>
                  </a:lnTo>
                  <a:lnTo>
                    <a:pt x="1585" y="471"/>
                  </a:lnTo>
                  <a:lnTo>
                    <a:pt x="1582" y="471"/>
                  </a:lnTo>
                  <a:lnTo>
                    <a:pt x="1580" y="471"/>
                  </a:lnTo>
                  <a:lnTo>
                    <a:pt x="1579" y="470"/>
                  </a:lnTo>
                  <a:lnTo>
                    <a:pt x="1579" y="469"/>
                  </a:lnTo>
                  <a:lnTo>
                    <a:pt x="1579" y="468"/>
                  </a:lnTo>
                  <a:lnTo>
                    <a:pt x="1579" y="466"/>
                  </a:lnTo>
                  <a:lnTo>
                    <a:pt x="1577" y="465"/>
                  </a:lnTo>
                  <a:lnTo>
                    <a:pt x="1573" y="465"/>
                  </a:lnTo>
                  <a:lnTo>
                    <a:pt x="1572" y="460"/>
                  </a:lnTo>
                  <a:lnTo>
                    <a:pt x="1569" y="453"/>
                  </a:lnTo>
                  <a:lnTo>
                    <a:pt x="1568" y="451"/>
                  </a:lnTo>
                  <a:lnTo>
                    <a:pt x="1565" y="449"/>
                  </a:lnTo>
                  <a:lnTo>
                    <a:pt x="1563" y="447"/>
                  </a:lnTo>
                  <a:lnTo>
                    <a:pt x="1561" y="446"/>
                  </a:lnTo>
                  <a:lnTo>
                    <a:pt x="1561" y="434"/>
                  </a:lnTo>
                  <a:lnTo>
                    <a:pt x="1549" y="434"/>
                  </a:lnTo>
                  <a:lnTo>
                    <a:pt x="1549" y="422"/>
                  </a:lnTo>
                  <a:lnTo>
                    <a:pt x="1544" y="422"/>
                  </a:lnTo>
                  <a:lnTo>
                    <a:pt x="1543" y="421"/>
                  </a:lnTo>
                  <a:lnTo>
                    <a:pt x="1542" y="420"/>
                  </a:lnTo>
                  <a:lnTo>
                    <a:pt x="1542" y="418"/>
                  </a:lnTo>
                  <a:lnTo>
                    <a:pt x="1542" y="417"/>
                  </a:lnTo>
                  <a:lnTo>
                    <a:pt x="1541" y="416"/>
                  </a:lnTo>
                  <a:lnTo>
                    <a:pt x="1540" y="416"/>
                  </a:lnTo>
                  <a:lnTo>
                    <a:pt x="1535" y="415"/>
                  </a:lnTo>
                  <a:lnTo>
                    <a:pt x="1535" y="391"/>
                  </a:lnTo>
                  <a:lnTo>
                    <a:pt x="1534" y="385"/>
                  </a:lnTo>
                  <a:lnTo>
                    <a:pt x="1532" y="370"/>
                  </a:lnTo>
                  <a:lnTo>
                    <a:pt x="1531" y="348"/>
                  </a:lnTo>
                  <a:lnTo>
                    <a:pt x="1531" y="324"/>
                  </a:lnTo>
                  <a:lnTo>
                    <a:pt x="1530" y="273"/>
                  </a:lnTo>
                  <a:lnTo>
                    <a:pt x="1530" y="242"/>
                  </a:lnTo>
                  <a:lnTo>
                    <a:pt x="1532" y="242"/>
                  </a:lnTo>
                  <a:lnTo>
                    <a:pt x="1533" y="241"/>
                  </a:lnTo>
                  <a:lnTo>
                    <a:pt x="1534" y="240"/>
                  </a:lnTo>
                  <a:lnTo>
                    <a:pt x="1535" y="238"/>
                  </a:lnTo>
                  <a:lnTo>
                    <a:pt x="1535" y="234"/>
                  </a:lnTo>
                  <a:lnTo>
                    <a:pt x="1535" y="230"/>
                  </a:lnTo>
                  <a:lnTo>
                    <a:pt x="1530" y="223"/>
                  </a:lnTo>
                  <a:lnTo>
                    <a:pt x="1523" y="218"/>
                  </a:lnTo>
                  <a:lnTo>
                    <a:pt x="1499" y="218"/>
                  </a:lnTo>
                  <a:lnTo>
                    <a:pt x="1475" y="220"/>
                  </a:lnTo>
                  <a:lnTo>
                    <a:pt x="1450" y="223"/>
                  </a:lnTo>
                  <a:lnTo>
                    <a:pt x="1426" y="226"/>
                  </a:lnTo>
                  <a:lnTo>
                    <a:pt x="1401" y="230"/>
                  </a:lnTo>
                  <a:lnTo>
                    <a:pt x="1379" y="233"/>
                  </a:lnTo>
                  <a:lnTo>
                    <a:pt x="1357" y="234"/>
                  </a:lnTo>
                  <a:lnTo>
                    <a:pt x="1338" y="235"/>
                  </a:lnTo>
                  <a:lnTo>
                    <a:pt x="1337" y="239"/>
                  </a:lnTo>
                  <a:lnTo>
                    <a:pt x="1337" y="241"/>
                  </a:lnTo>
                  <a:lnTo>
                    <a:pt x="1335" y="242"/>
                  </a:lnTo>
                  <a:lnTo>
                    <a:pt x="1334" y="242"/>
                  </a:lnTo>
                  <a:lnTo>
                    <a:pt x="1333" y="242"/>
                  </a:lnTo>
                  <a:lnTo>
                    <a:pt x="1332" y="242"/>
                  </a:lnTo>
                  <a:lnTo>
                    <a:pt x="1331" y="244"/>
                  </a:lnTo>
                  <a:lnTo>
                    <a:pt x="1331" y="248"/>
                  </a:lnTo>
                  <a:lnTo>
                    <a:pt x="1325" y="249"/>
                  </a:lnTo>
                  <a:lnTo>
                    <a:pt x="1318" y="251"/>
                  </a:lnTo>
                  <a:lnTo>
                    <a:pt x="1310" y="254"/>
                  </a:lnTo>
                  <a:lnTo>
                    <a:pt x="1302" y="259"/>
                  </a:lnTo>
                  <a:lnTo>
                    <a:pt x="1294" y="263"/>
                  </a:lnTo>
                  <a:lnTo>
                    <a:pt x="1287" y="269"/>
                  </a:lnTo>
                  <a:lnTo>
                    <a:pt x="1285" y="271"/>
                  </a:lnTo>
                  <a:lnTo>
                    <a:pt x="1283" y="274"/>
                  </a:lnTo>
                  <a:lnTo>
                    <a:pt x="1282" y="277"/>
                  </a:lnTo>
                  <a:lnTo>
                    <a:pt x="1281" y="279"/>
                  </a:lnTo>
                  <a:lnTo>
                    <a:pt x="1268" y="279"/>
                  </a:lnTo>
                  <a:lnTo>
                    <a:pt x="1263" y="286"/>
                  </a:lnTo>
                  <a:lnTo>
                    <a:pt x="1263" y="298"/>
                  </a:lnTo>
                  <a:lnTo>
                    <a:pt x="1251" y="298"/>
                  </a:lnTo>
                  <a:lnTo>
                    <a:pt x="1248" y="300"/>
                  </a:lnTo>
                  <a:lnTo>
                    <a:pt x="1244" y="301"/>
                  </a:lnTo>
                  <a:lnTo>
                    <a:pt x="1238" y="302"/>
                  </a:lnTo>
                  <a:lnTo>
                    <a:pt x="1230" y="303"/>
                  </a:lnTo>
                  <a:lnTo>
                    <a:pt x="1216" y="303"/>
                  </a:lnTo>
                  <a:lnTo>
                    <a:pt x="1207" y="303"/>
                  </a:lnTo>
                  <a:lnTo>
                    <a:pt x="1207" y="316"/>
                  </a:lnTo>
                  <a:lnTo>
                    <a:pt x="1205" y="318"/>
                  </a:lnTo>
                  <a:lnTo>
                    <a:pt x="1204" y="322"/>
                  </a:lnTo>
                  <a:lnTo>
                    <a:pt x="1203" y="328"/>
                  </a:lnTo>
                  <a:lnTo>
                    <a:pt x="1201" y="336"/>
                  </a:lnTo>
                  <a:lnTo>
                    <a:pt x="1200" y="350"/>
                  </a:lnTo>
                  <a:lnTo>
                    <a:pt x="1200" y="359"/>
                  </a:lnTo>
                  <a:lnTo>
                    <a:pt x="1193" y="359"/>
                  </a:lnTo>
                  <a:lnTo>
                    <a:pt x="1185" y="358"/>
                  </a:lnTo>
                  <a:lnTo>
                    <a:pt x="1179" y="356"/>
                  </a:lnTo>
                  <a:lnTo>
                    <a:pt x="1174" y="353"/>
                  </a:lnTo>
                  <a:lnTo>
                    <a:pt x="1163" y="347"/>
                  </a:lnTo>
                  <a:lnTo>
                    <a:pt x="1151" y="341"/>
                  </a:lnTo>
                  <a:lnTo>
                    <a:pt x="1151" y="298"/>
                  </a:lnTo>
                  <a:lnTo>
                    <a:pt x="1149" y="298"/>
                  </a:lnTo>
                  <a:lnTo>
                    <a:pt x="1148" y="297"/>
                  </a:lnTo>
                  <a:lnTo>
                    <a:pt x="1147" y="296"/>
                  </a:lnTo>
                  <a:lnTo>
                    <a:pt x="1146" y="293"/>
                  </a:lnTo>
                  <a:lnTo>
                    <a:pt x="1145" y="290"/>
                  </a:lnTo>
                  <a:lnTo>
                    <a:pt x="1145" y="286"/>
                  </a:lnTo>
                  <a:lnTo>
                    <a:pt x="1139" y="276"/>
                  </a:lnTo>
                  <a:lnTo>
                    <a:pt x="1132" y="260"/>
                  </a:lnTo>
                  <a:lnTo>
                    <a:pt x="1130" y="260"/>
                  </a:lnTo>
                  <a:lnTo>
                    <a:pt x="1127" y="258"/>
                  </a:lnTo>
                  <a:lnTo>
                    <a:pt x="1123" y="254"/>
                  </a:lnTo>
                  <a:lnTo>
                    <a:pt x="1121" y="250"/>
                  </a:lnTo>
                  <a:lnTo>
                    <a:pt x="1115" y="242"/>
                  </a:lnTo>
                  <a:lnTo>
                    <a:pt x="1113" y="235"/>
                  </a:lnTo>
                  <a:lnTo>
                    <a:pt x="1110" y="233"/>
                  </a:lnTo>
                  <a:lnTo>
                    <a:pt x="1107" y="230"/>
                  </a:lnTo>
                  <a:lnTo>
                    <a:pt x="1104" y="228"/>
                  </a:lnTo>
                  <a:lnTo>
                    <a:pt x="1102" y="225"/>
                  </a:lnTo>
                  <a:lnTo>
                    <a:pt x="1099" y="224"/>
                  </a:lnTo>
                  <a:lnTo>
                    <a:pt x="1095" y="223"/>
                  </a:lnTo>
                  <a:lnTo>
                    <a:pt x="1094" y="220"/>
                  </a:lnTo>
                  <a:lnTo>
                    <a:pt x="1094" y="218"/>
                  </a:lnTo>
                  <a:lnTo>
                    <a:pt x="1093" y="218"/>
                  </a:lnTo>
                  <a:lnTo>
                    <a:pt x="1092" y="218"/>
                  </a:lnTo>
                  <a:lnTo>
                    <a:pt x="1091" y="216"/>
                  </a:lnTo>
                  <a:lnTo>
                    <a:pt x="1090" y="216"/>
                  </a:lnTo>
                  <a:lnTo>
                    <a:pt x="1089" y="214"/>
                  </a:lnTo>
                  <a:lnTo>
                    <a:pt x="1089" y="211"/>
                  </a:lnTo>
                  <a:lnTo>
                    <a:pt x="1082" y="211"/>
                  </a:lnTo>
                  <a:lnTo>
                    <a:pt x="1076" y="213"/>
                  </a:lnTo>
                  <a:lnTo>
                    <a:pt x="1070" y="215"/>
                  </a:lnTo>
                  <a:lnTo>
                    <a:pt x="1065" y="218"/>
                  </a:lnTo>
                  <a:lnTo>
                    <a:pt x="1055" y="224"/>
                  </a:lnTo>
                  <a:lnTo>
                    <a:pt x="1045" y="230"/>
                  </a:lnTo>
                  <a:lnTo>
                    <a:pt x="1044" y="234"/>
                  </a:lnTo>
                  <a:lnTo>
                    <a:pt x="1042" y="238"/>
                  </a:lnTo>
                  <a:lnTo>
                    <a:pt x="1037" y="241"/>
                  </a:lnTo>
                  <a:lnTo>
                    <a:pt x="1033" y="242"/>
                  </a:lnTo>
                  <a:lnTo>
                    <a:pt x="1032" y="244"/>
                  </a:lnTo>
                  <a:lnTo>
                    <a:pt x="1030" y="247"/>
                  </a:lnTo>
                  <a:lnTo>
                    <a:pt x="1027" y="249"/>
                  </a:lnTo>
                  <a:lnTo>
                    <a:pt x="1023" y="250"/>
                  </a:lnTo>
                  <a:lnTo>
                    <a:pt x="1015" y="253"/>
                  </a:lnTo>
                  <a:lnTo>
                    <a:pt x="1008" y="254"/>
                  </a:lnTo>
                  <a:lnTo>
                    <a:pt x="1008" y="257"/>
                  </a:lnTo>
                  <a:lnTo>
                    <a:pt x="1007" y="260"/>
                  </a:lnTo>
                  <a:lnTo>
                    <a:pt x="1005" y="262"/>
                  </a:lnTo>
                  <a:lnTo>
                    <a:pt x="1003" y="263"/>
                  </a:lnTo>
                  <a:lnTo>
                    <a:pt x="996" y="267"/>
                  </a:lnTo>
                  <a:lnTo>
                    <a:pt x="987" y="269"/>
                  </a:lnTo>
                  <a:lnTo>
                    <a:pt x="977" y="271"/>
                  </a:lnTo>
                  <a:lnTo>
                    <a:pt x="966" y="272"/>
                  </a:lnTo>
                  <a:lnTo>
                    <a:pt x="954" y="272"/>
                  </a:lnTo>
                  <a:lnTo>
                    <a:pt x="941" y="272"/>
                  </a:lnTo>
                  <a:lnTo>
                    <a:pt x="893" y="269"/>
                  </a:lnTo>
                  <a:lnTo>
                    <a:pt x="865" y="267"/>
                  </a:lnTo>
                  <a:lnTo>
                    <a:pt x="859" y="260"/>
                  </a:lnTo>
                  <a:lnTo>
                    <a:pt x="857" y="251"/>
                  </a:lnTo>
                  <a:lnTo>
                    <a:pt x="853" y="242"/>
                  </a:lnTo>
                  <a:lnTo>
                    <a:pt x="841" y="230"/>
                  </a:lnTo>
                  <a:lnTo>
                    <a:pt x="829" y="218"/>
                  </a:lnTo>
                  <a:lnTo>
                    <a:pt x="829" y="204"/>
                  </a:lnTo>
                  <a:lnTo>
                    <a:pt x="816" y="199"/>
                  </a:lnTo>
                  <a:lnTo>
                    <a:pt x="810" y="192"/>
                  </a:lnTo>
                  <a:lnTo>
                    <a:pt x="810" y="183"/>
                  </a:lnTo>
                  <a:lnTo>
                    <a:pt x="810" y="174"/>
                  </a:lnTo>
                  <a:lnTo>
                    <a:pt x="807" y="173"/>
                  </a:lnTo>
                  <a:lnTo>
                    <a:pt x="806" y="170"/>
                  </a:lnTo>
                  <a:lnTo>
                    <a:pt x="804" y="166"/>
                  </a:lnTo>
                  <a:lnTo>
                    <a:pt x="803" y="161"/>
                  </a:lnTo>
                  <a:lnTo>
                    <a:pt x="801" y="156"/>
                  </a:lnTo>
                  <a:lnTo>
                    <a:pt x="798" y="153"/>
                  </a:lnTo>
                  <a:lnTo>
                    <a:pt x="795" y="149"/>
                  </a:lnTo>
                  <a:lnTo>
                    <a:pt x="791" y="148"/>
                  </a:lnTo>
                  <a:lnTo>
                    <a:pt x="791" y="136"/>
                  </a:lnTo>
                  <a:lnTo>
                    <a:pt x="775" y="124"/>
                  </a:lnTo>
                  <a:lnTo>
                    <a:pt x="759" y="111"/>
                  </a:lnTo>
                  <a:lnTo>
                    <a:pt x="744" y="111"/>
                  </a:lnTo>
                  <a:lnTo>
                    <a:pt x="716" y="113"/>
                  </a:lnTo>
                  <a:lnTo>
                    <a:pt x="680" y="113"/>
                  </a:lnTo>
                  <a:lnTo>
                    <a:pt x="642" y="111"/>
                  </a:lnTo>
                  <a:lnTo>
                    <a:pt x="605" y="109"/>
                  </a:lnTo>
                  <a:lnTo>
                    <a:pt x="573" y="106"/>
                  </a:lnTo>
                  <a:lnTo>
                    <a:pt x="561" y="104"/>
                  </a:lnTo>
                  <a:lnTo>
                    <a:pt x="551" y="100"/>
                  </a:lnTo>
                  <a:lnTo>
                    <a:pt x="547" y="99"/>
                  </a:lnTo>
                  <a:lnTo>
                    <a:pt x="545" y="97"/>
                  </a:lnTo>
                  <a:lnTo>
                    <a:pt x="543" y="95"/>
                  </a:lnTo>
                  <a:lnTo>
                    <a:pt x="543" y="93"/>
                  </a:lnTo>
                  <a:lnTo>
                    <a:pt x="537" y="93"/>
                  </a:lnTo>
                  <a:lnTo>
                    <a:pt x="532" y="91"/>
                  </a:lnTo>
                  <a:lnTo>
                    <a:pt x="525" y="89"/>
                  </a:lnTo>
                  <a:lnTo>
                    <a:pt x="519" y="86"/>
                  </a:lnTo>
                  <a:lnTo>
                    <a:pt x="514" y="82"/>
                  </a:lnTo>
                  <a:lnTo>
                    <a:pt x="509" y="80"/>
                  </a:lnTo>
                  <a:lnTo>
                    <a:pt x="507" y="77"/>
                  </a:lnTo>
                  <a:lnTo>
                    <a:pt x="506" y="75"/>
                  </a:lnTo>
                  <a:lnTo>
                    <a:pt x="490" y="75"/>
                  </a:lnTo>
                  <a:lnTo>
                    <a:pt x="476" y="76"/>
                  </a:lnTo>
                  <a:lnTo>
                    <a:pt x="461" y="77"/>
                  </a:lnTo>
                  <a:lnTo>
                    <a:pt x="448" y="79"/>
                  </a:lnTo>
                  <a:lnTo>
                    <a:pt x="421" y="84"/>
                  </a:lnTo>
                  <a:lnTo>
                    <a:pt x="394" y="90"/>
                  </a:lnTo>
                  <a:lnTo>
                    <a:pt x="369" y="96"/>
                  </a:lnTo>
                  <a:lnTo>
                    <a:pt x="342" y="100"/>
                  </a:lnTo>
                  <a:lnTo>
                    <a:pt x="328" y="103"/>
                  </a:lnTo>
                  <a:lnTo>
                    <a:pt x="316" y="104"/>
                  </a:lnTo>
                  <a:lnTo>
                    <a:pt x="302" y="105"/>
                  </a:lnTo>
                  <a:lnTo>
                    <a:pt x="288" y="105"/>
                  </a:lnTo>
                  <a:lnTo>
                    <a:pt x="285" y="93"/>
                  </a:lnTo>
                  <a:lnTo>
                    <a:pt x="282" y="80"/>
                  </a:lnTo>
                  <a:lnTo>
                    <a:pt x="279" y="79"/>
                  </a:lnTo>
                  <a:lnTo>
                    <a:pt x="277" y="76"/>
                  </a:lnTo>
                  <a:lnTo>
                    <a:pt x="275" y="70"/>
                  </a:lnTo>
                  <a:lnTo>
                    <a:pt x="274" y="65"/>
                  </a:lnTo>
                  <a:lnTo>
                    <a:pt x="270" y="51"/>
                  </a:lnTo>
                  <a:lnTo>
                    <a:pt x="269" y="43"/>
                  </a:lnTo>
                  <a:lnTo>
                    <a:pt x="264" y="38"/>
                  </a:lnTo>
                  <a:lnTo>
                    <a:pt x="257" y="31"/>
                  </a:lnTo>
                  <a:lnTo>
                    <a:pt x="250" y="27"/>
                  </a:lnTo>
                  <a:lnTo>
                    <a:pt x="245" y="24"/>
                  </a:lnTo>
                  <a:lnTo>
                    <a:pt x="245" y="12"/>
                  </a:lnTo>
                  <a:lnTo>
                    <a:pt x="238" y="5"/>
                  </a:lnTo>
                  <a:lnTo>
                    <a:pt x="226" y="5"/>
                  </a:lnTo>
                  <a:lnTo>
                    <a:pt x="214" y="5"/>
                  </a:lnTo>
                  <a:lnTo>
                    <a:pt x="214" y="4"/>
                  </a:lnTo>
                  <a:lnTo>
                    <a:pt x="212" y="3"/>
                  </a:lnTo>
                  <a:lnTo>
                    <a:pt x="210" y="2"/>
                  </a:lnTo>
                  <a:lnTo>
                    <a:pt x="207" y="1"/>
                  </a:lnTo>
                  <a:lnTo>
                    <a:pt x="199" y="0"/>
                  </a:lnTo>
                  <a:lnTo>
                    <a:pt x="189" y="0"/>
                  </a:lnTo>
                  <a:lnTo>
                    <a:pt x="162" y="2"/>
                  </a:lnTo>
                  <a:lnTo>
                    <a:pt x="133" y="7"/>
                  </a:lnTo>
                  <a:lnTo>
                    <a:pt x="103" y="11"/>
                  </a:lnTo>
                  <a:lnTo>
                    <a:pt x="77" y="17"/>
                  </a:lnTo>
                  <a:lnTo>
                    <a:pt x="59" y="21"/>
                  </a:lnTo>
                  <a:lnTo>
                    <a:pt x="53" y="24"/>
                  </a:lnTo>
                  <a:lnTo>
                    <a:pt x="40" y="26"/>
                  </a:lnTo>
                  <a:lnTo>
                    <a:pt x="28" y="27"/>
                  </a:lnTo>
                  <a:lnTo>
                    <a:pt x="15" y="28"/>
                  </a:lnTo>
                  <a:lnTo>
                    <a:pt x="0" y="31"/>
                  </a:lnTo>
                  <a:lnTo>
                    <a:pt x="1" y="32"/>
                  </a:lnTo>
                  <a:lnTo>
                    <a:pt x="5" y="33"/>
                  </a:lnTo>
                  <a:lnTo>
                    <a:pt x="5" y="51"/>
                  </a:lnTo>
                  <a:lnTo>
                    <a:pt x="6" y="70"/>
                  </a:lnTo>
                  <a:lnTo>
                    <a:pt x="8" y="90"/>
                  </a:lnTo>
                  <a:lnTo>
                    <a:pt x="10" y="110"/>
                  </a:lnTo>
                  <a:lnTo>
                    <a:pt x="16" y="153"/>
                  </a:lnTo>
                  <a:lnTo>
                    <a:pt x="23" y="195"/>
                  </a:lnTo>
                  <a:lnTo>
                    <a:pt x="29" y="238"/>
                  </a:lnTo>
                  <a:lnTo>
                    <a:pt x="35" y="278"/>
                  </a:lnTo>
                  <a:lnTo>
                    <a:pt x="38" y="316"/>
                  </a:lnTo>
                  <a:lnTo>
                    <a:pt x="40" y="350"/>
                  </a:lnTo>
                  <a:lnTo>
                    <a:pt x="45" y="354"/>
                  </a:lnTo>
                  <a:lnTo>
                    <a:pt x="51" y="360"/>
                  </a:lnTo>
                  <a:lnTo>
                    <a:pt x="54" y="365"/>
                  </a:lnTo>
                  <a:lnTo>
                    <a:pt x="56" y="369"/>
                  </a:lnTo>
                  <a:lnTo>
                    <a:pt x="57" y="374"/>
                  </a:lnTo>
                  <a:lnTo>
                    <a:pt x="58" y="377"/>
                  </a:lnTo>
                  <a:lnTo>
                    <a:pt x="62" y="378"/>
                  </a:lnTo>
                  <a:lnTo>
                    <a:pt x="64" y="382"/>
                  </a:lnTo>
                  <a:lnTo>
                    <a:pt x="66" y="386"/>
                  </a:lnTo>
                  <a:lnTo>
                    <a:pt x="67" y="391"/>
                  </a:lnTo>
                  <a:lnTo>
                    <a:pt x="72" y="393"/>
                  </a:lnTo>
                  <a:lnTo>
                    <a:pt x="76" y="395"/>
                  </a:lnTo>
                  <a:lnTo>
                    <a:pt x="76" y="404"/>
                  </a:lnTo>
                  <a:lnTo>
                    <a:pt x="81" y="406"/>
                  </a:lnTo>
                  <a:lnTo>
                    <a:pt x="85" y="408"/>
                  </a:lnTo>
                  <a:lnTo>
                    <a:pt x="90" y="413"/>
                  </a:lnTo>
                  <a:lnTo>
                    <a:pt x="94" y="417"/>
                  </a:lnTo>
                  <a:lnTo>
                    <a:pt x="94" y="421"/>
                  </a:lnTo>
                  <a:lnTo>
                    <a:pt x="96" y="423"/>
                  </a:lnTo>
                  <a:lnTo>
                    <a:pt x="100" y="425"/>
                  </a:lnTo>
                  <a:lnTo>
                    <a:pt x="103" y="426"/>
                  </a:lnTo>
                  <a:lnTo>
                    <a:pt x="105" y="431"/>
                  </a:lnTo>
                  <a:lnTo>
                    <a:pt x="107" y="435"/>
                  </a:lnTo>
                  <a:lnTo>
                    <a:pt x="116" y="435"/>
                  </a:lnTo>
                  <a:lnTo>
                    <a:pt x="119" y="442"/>
                  </a:lnTo>
                  <a:lnTo>
                    <a:pt x="121" y="449"/>
                  </a:lnTo>
                  <a:lnTo>
                    <a:pt x="125" y="451"/>
                  </a:lnTo>
                  <a:lnTo>
                    <a:pt x="130" y="453"/>
                  </a:lnTo>
                  <a:lnTo>
                    <a:pt x="130" y="462"/>
                  </a:lnTo>
                  <a:lnTo>
                    <a:pt x="134" y="464"/>
                  </a:lnTo>
                  <a:lnTo>
                    <a:pt x="139" y="466"/>
                  </a:lnTo>
                  <a:lnTo>
                    <a:pt x="143" y="471"/>
                  </a:lnTo>
                  <a:lnTo>
                    <a:pt x="144" y="475"/>
                  </a:lnTo>
                  <a:lnTo>
                    <a:pt x="149" y="484"/>
                  </a:lnTo>
                  <a:lnTo>
                    <a:pt x="155" y="494"/>
                  </a:lnTo>
                  <a:lnTo>
                    <a:pt x="163" y="505"/>
                  </a:lnTo>
                  <a:lnTo>
                    <a:pt x="171" y="516"/>
                  </a:lnTo>
                  <a:lnTo>
                    <a:pt x="179" y="524"/>
                  </a:lnTo>
                  <a:lnTo>
                    <a:pt x="184" y="531"/>
                  </a:lnTo>
                  <a:lnTo>
                    <a:pt x="188" y="533"/>
                  </a:lnTo>
                  <a:lnTo>
                    <a:pt x="192" y="542"/>
                  </a:lnTo>
                  <a:lnTo>
                    <a:pt x="197" y="551"/>
                  </a:lnTo>
                  <a:lnTo>
                    <a:pt x="201" y="553"/>
                  </a:lnTo>
                  <a:lnTo>
                    <a:pt x="206" y="556"/>
                  </a:lnTo>
                  <a:lnTo>
                    <a:pt x="206" y="560"/>
                  </a:lnTo>
                  <a:lnTo>
                    <a:pt x="209" y="566"/>
                  </a:lnTo>
                  <a:lnTo>
                    <a:pt x="212" y="570"/>
                  </a:lnTo>
                  <a:lnTo>
                    <a:pt x="217" y="575"/>
                  </a:lnTo>
                  <a:lnTo>
                    <a:pt x="220" y="579"/>
                  </a:lnTo>
                  <a:lnTo>
                    <a:pt x="224" y="584"/>
                  </a:lnTo>
                  <a:lnTo>
                    <a:pt x="227" y="587"/>
                  </a:lnTo>
                  <a:lnTo>
                    <a:pt x="228" y="591"/>
                  </a:lnTo>
                  <a:lnTo>
                    <a:pt x="237" y="596"/>
                  </a:lnTo>
                  <a:lnTo>
                    <a:pt x="241" y="609"/>
                  </a:lnTo>
                  <a:lnTo>
                    <a:pt x="246" y="623"/>
                  </a:lnTo>
                  <a:lnTo>
                    <a:pt x="255" y="627"/>
                  </a:lnTo>
                  <a:lnTo>
                    <a:pt x="258" y="638"/>
                  </a:lnTo>
                  <a:lnTo>
                    <a:pt x="264" y="649"/>
                  </a:lnTo>
                  <a:lnTo>
                    <a:pt x="267" y="652"/>
                  </a:lnTo>
                  <a:lnTo>
                    <a:pt x="272" y="654"/>
                  </a:lnTo>
                  <a:lnTo>
                    <a:pt x="272" y="663"/>
                  </a:lnTo>
                  <a:lnTo>
                    <a:pt x="280" y="672"/>
                  </a:lnTo>
                  <a:lnTo>
                    <a:pt x="282" y="675"/>
                  </a:lnTo>
                  <a:lnTo>
                    <a:pt x="282" y="677"/>
                  </a:lnTo>
                  <a:lnTo>
                    <a:pt x="283" y="680"/>
                  </a:lnTo>
                  <a:lnTo>
                    <a:pt x="285" y="681"/>
                  </a:lnTo>
                  <a:lnTo>
                    <a:pt x="285" y="696"/>
                  </a:lnTo>
                  <a:lnTo>
                    <a:pt x="285" y="712"/>
                  </a:lnTo>
                  <a:lnTo>
                    <a:pt x="294" y="721"/>
                  </a:lnTo>
                  <a:lnTo>
                    <a:pt x="296" y="744"/>
                  </a:lnTo>
                  <a:lnTo>
                    <a:pt x="298" y="769"/>
                  </a:lnTo>
                  <a:lnTo>
                    <a:pt x="302" y="795"/>
                  </a:lnTo>
                  <a:lnTo>
                    <a:pt x="303" y="818"/>
                  </a:lnTo>
                  <a:lnTo>
                    <a:pt x="304" y="837"/>
                  </a:lnTo>
                  <a:lnTo>
                    <a:pt x="304" y="874"/>
                  </a:lnTo>
                  <a:lnTo>
                    <a:pt x="304" y="893"/>
                  </a:lnTo>
                  <a:lnTo>
                    <a:pt x="305" y="909"/>
                  </a:lnTo>
                  <a:lnTo>
                    <a:pt x="306" y="921"/>
                  </a:lnTo>
                  <a:lnTo>
                    <a:pt x="307" y="925"/>
                  </a:lnTo>
                  <a:lnTo>
                    <a:pt x="307" y="934"/>
                  </a:lnTo>
                  <a:lnTo>
                    <a:pt x="312" y="938"/>
                  </a:lnTo>
                  <a:lnTo>
                    <a:pt x="321" y="938"/>
                  </a:lnTo>
                  <a:lnTo>
                    <a:pt x="330" y="947"/>
                  </a:lnTo>
                  <a:lnTo>
                    <a:pt x="339" y="956"/>
                  </a:lnTo>
                  <a:lnTo>
                    <a:pt x="369" y="959"/>
                  </a:lnTo>
                  <a:lnTo>
                    <a:pt x="402" y="961"/>
                  </a:lnTo>
                  <a:lnTo>
                    <a:pt x="438" y="964"/>
                  </a:lnTo>
                  <a:lnTo>
                    <a:pt x="472" y="965"/>
                  </a:lnTo>
                  <a:lnTo>
                    <a:pt x="474" y="962"/>
                  </a:lnTo>
                  <a:lnTo>
                    <a:pt x="476" y="960"/>
                  </a:lnTo>
                  <a:lnTo>
                    <a:pt x="478" y="957"/>
                  </a:lnTo>
                  <a:lnTo>
                    <a:pt x="481" y="956"/>
                  </a:lnTo>
                  <a:lnTo>
                    <a:pt x="484" y="953"/>
                  </a:lnTo>
                  <a:lnTo>
                    <a:pt x="487" y="950"/>
                  </a:lnTo>
                  <a:lnTo>
                    <a:pt x="491" y="946"/>
                  </a:lnTo>
                  <a:lnTo>
                    <a:pt x="495" y="943"/>
                  </a:lnTo>
                  <a:lnTo>
                    <a:pt x="495" y="934"/>
                  </a:lnTo>
                  <a:lnTo>
                    <a:pt x="498" y="933"/>
                  </a:lnTo>
                  <a:lnTo>
                    <a:pt x="502" y="930"/>
                  </a:lnTo>
                  <a:lnTo>
                    <a:pt x="504" y="927"/>
                  </a:lnTo>
                  <a:lnTo>
                    <a:pt x="504" y="925"/>
                  </a:lnTo>
                  <a:lnTo>
                    <a:pt x="507" y="925"/>
                  </a:lnTo>
                  <a:lnTo>
                    <a:pt x="510" y="925"/>
                  </a:lnTo>
                  <a:lnTo>
                    <a:pt x="513" y="924"/>
                  </a:lnTo>
                  <a:lnTo>
                    <a:pt x="513" y="921"/>
                  </a:lnTo>
                  <a:lnTo>
                    <a:pt x="553" y="921"/>
                  </a:lnTo>
                  <a:lnTo>
                    <a:pt x="560" y="912"/>
                  </a:lnTo>
                  <a:lnTo>
                    <a:pt x="566" y="903"/>
                  </a:lnTo>
                  <a:lnTo>
                    <a:pt x="572" y="903"/>
                  </a:lnTo>
                  <a:lnTo>
                    <a:pt x="576" y="901"/>
                  </a:lnTo>
                  <a:lnTo>
                    <a:pt x="581" y="897"/>
                  </a:lnTo>
                  <a:lnTo>
                    <a:pt x="586" y="894"/>
                  </a:lnTo>
                  <a:lnTo>
                    <a:pt x="591" y="891"/>
                  </a:lnTo>
                  <a:lnTo>
                    <a:pt x="594" y="888"/>
                  </a:lnTo>
                  <a:lnTo>
                    <a:pt x="599" y="886"/>
                  </a:lnTo>
                  <a:lnTo>
                    <a:pt x="602" y="885"/>
                  </a:lnTo>
                  <a:lnTo>
                    <a:pt x="602" y="882"/>
                  </a:lnTo>
                  <a:lnTo>
                    <a:pt x="603" y="879"/>
                  </a:lnTo>
                  <a:lnTo>
                    <a:pt x="604" y="877"/>
                  </a:lnTo>
                  <a:lnTo>
                    <a:pt x="606" y="876"/>
                  </a:lnTo>
                  <a:lnTo>
                    <a:pt x="606" y="873"/>
                  </a:lnTo>
                  <a:lnTo>
                    <a:pt x="608" y="868"/>
                  </a:lnTo>
                  <a:lnTo>
                    <a:pt x="608" y="866"/>
                  </a:lnTo>
                  <a:lnTo>
                    <a:pt x="609" y="865"/>
                  </a:lnTo>
                  <a:lnTo>
                    <a:pt x="610" y="864"/>
                  </a:lnTo>
                  <a:lnTo>
                    <a:pt x="611" y="863"/>
                  </a:lnTo>
                  <a:lnTo>
                    <a:pt x="611" y="859"/>
                  </a:lnTo>
                  <a:lnTo>
                    <a:pt x="612" y="857"/>
                  </a:lnTo>
                  <a:lnTo>
                    <a:pt x="613" y="855"/>
                  </a:lnTo>
                  <a:lnTo>
                    <a:pt x="615" y="854"/>
                  </a:lnTo>
                  <a:lnTo>
                    <a:pt x="615" y="845"/>
                  </a:lnTo>
                  <a:lnTo>
                    <a:pt x="620" y="844"/>
                  </a:lnTo>
                  <a:lnTo>
                    <a:pt x="624" y="838"/>
                  </a:lnTo>
                  <a:lnTo>
                    <a:pt x="628" y="834"/>
                  </a:lnTo>
                  <a:lnTo>
                    <a:pt x="629" y="831"/>
                  </a:lnTo>
                  <a:lnTo>
                    <a:pt x="642" y="831"/>
                  </a:lnTo>
                  <a:lnTo>
                    <a:pt x="649" y="827"/>
                  </a:lnTo>
                  <a:lnTo>
                    <a:pt x="657" y="822"/>
                  </a:lnTo>
                  <a:lnTo>
                    <a:pt x="664" y="820"/>
                  </a:lnTo>
                  <a:lnTo>
                    <a:pt x="673" y="819"/>
                  </a:lnTo>
                  <a:lnTo>
                    <a:pt x="673" y="720"/>
                  </a:lnTo>
                  <a:lnTo>
                    <a:pt x="661" y="713"/>
                  </a:lnTo>
                  <a:lnTo>
                    <a:pt x="658" y="697"/>
                  </a:lnTo>
                  <a:lnTo>
                    <a:pt x="654" y="682"/>
                  </a:lnTo>
                  <a:lnTo>
                    <a:pt x="642" y="676"/>
                  </a:lnTo>
                  <a:lnTo>
                    <a:pt x="642" y="665"/>
                  </a:lnTo>
                  <a:lnTo>
                    <a:pt x="642" y="652"/>
                  </a:lnTo>
                  <a:lnTo>
                    <a:pt x="642" y="638"/>
                  </a:lnTo>
                  <a:lnTo>
                    <a:pt x="642" y="626"/>
                  </a:lnTo>
                  <a:lnTo>
                    <a:pt x="638" y="626"/>
                  </a:lnTo>
                  <a:lnTo>
                    <a:pt x="635" y="623"/>
                  </a:lnTo>
                  <a:lnTo>
                    <a:pt x="633" y="618"/>
                  </a:lnTo>
                  <a:lnTo>
                    <a:pt x="632" y="614"/>
                  </a:lnTo>
                  <a:lnTo>
                    <a:pt x="630" y="609"/>
                  </a:lnTo>
                  <a:lnTo>
                    <a:pt x="628" y="606"/>
                  </a:lnTo>
                  <a:lnTo>
                    <a:pt x="625" y="604"/>
                  </a:lnTo>
                  <a:lnTo>
                    <a:pt x="623" y="603"/>
                  </a:lnTo>
                  <a:lnTo>
                    <a:pt x="620" y="601"/>
                  </a:lnTo>
                  <a:lnTo>
                    <a:pt x="618" y="601"/>
                  </a:lnTo>
                  <a:lnTo>
                    <a:pt x="618" y="589"/>
                  </a:lnTo>
                  <a:lnTo>
                    <a:pt x="651" y="591"/>
                  </a:lnTo>
                  <a:lnTo>
                    <a:pt x="686" y="596"/>
                  </a:lnTo>
                  <a:lnTo>
                    <a:pt x="702" y="598"/>
                  </a:lnTo>
                  <a:lnTo>
                    <a:pt x="720" y="599"/>
                  </a:lnTo>
                  <a:lnTo>
                    <a:pt x="737" y="601"/>
                  </a:lnTo>
                  <a:lnTo>
                    <a:pt x="754" y="601"/>
                  </a:lnTo>
                  <a:lnTo>
                    <a:pt x="766" y="606"/>
                  </a:lnTo>
                  <a:lnTo>
                    <a:pt x="795" y="614"/>
                  </a:lnTo>
                  <a:lnTo>
                    <a:pt x="824" y="623"/>
                  </a:lnTo>
                  <a:lnTo>
                    <a:pt x="841" y="626"/>
                  </a:lnTo>
                  <a:lnTo>
                    <a:pt x="853" y="636"/>
                  </a:lnTo>
                  <a:lnTo>
                    <a:pt x="865" y="645"/>
                  </a:lnTo>
                  <a:lnTo>
                    <a:pt x="884" y="645"/>
                  </a:lnTo>
                  <a:lnTo>
                    <a:pt x="884" y="647"/>
                  </a:lnTo>
                  <a:lnTo>
                    <a:pt x="886" y="648"/>
                  </a:lnTo>
                  <a:lnTo>
                    <a:pt x="888" y="649"/>
                  </a:lnTo>
                  <a:lnTo>
                    <a:pt x="891" y="651"/>
                  </a:lnTo>
                  <a:lnTo>
                    <a:pt x="897" y="652"/>
                  </a:lnTo>
                  <a:lnTo>
                    <a:pt x="902" y="652"/>
                  </a:lnTo>
                  <a:lnTo>
                    <a:pt x="908" y="656"/>
                  </a:lnTo>
                  <a:lnTo>
                    <a:pt x="913" y="659"/>
                  </a:lnTo>
                  <a:lnTo>
                    <a:pt x="919" y="664"/>
                  </a:lnTo>
                  <a:lnTo>
                    <a:pt x="926" y="666"/>
                  </a:lnTo>
                  <a:lnTo>
                    <a:pt x="939" y="672"/>
                  </a:lnTo>
                  <a:lnTo>
                    <a:pt x="954" y="676"/>
                  </a:lnTo>
                  <a:lnTo>
                    <a:pt x="968" y="680"/>
                  </a:lnTo>
                  <a:lnTo>
                    <a:pt x="982" y="681"/>
                  </a:lnTo>
                  <a:lnTo>
                    <a:pt x="996" y="682"/>
                  </a:lnTo>
                  <a:lnTo>
                    <a:pt x="1008" y="682"/>
                  </a:lnTo>
                  <a:lnTo>
                    <a:pt x="1011" y="685"/>
                  </a:lnTo>
                  <a:lnTo>
                    <a:pt x="1017" y="687"/>
                  </a:lnTo>
                  <a:lnTo>
                    <a:pt x="1026" y="688"/>
                  </a:lnTo>
                  <a:lnTo>
                    <a:pt x="1037" y="691"/>
                  </a:lnTo>
                  <a:lnTo>
                    <a:pt x="1057" y="694"/>
                  </a:lnTo>
                  <a:lnTo>
                    <a:pt x="1070" y="695"/>
                  </a:lnTo>
                  <a:lnTo>
                    <a:pt x="1084" y="697"/>
                  </a:lnTo>
                  <a:lnTo>
                    <a:pt x="1111" y="704"/>
                  </a:lnTo>
                  <a:lnTo>
                    <a:pt x="1137" y="711"/>
                  </a:lnTo>
                  <a:lnTo>
                    <a:pt x="1151" y="713"/>
                  </a:lnTo>
                  <a:lnTo>
                    <a:pt x="1163" y="725"/>
                  </a:lnTo>
                  <a:lnTo>
                    <a:pt x="1172" y="726"/>
                  </a:lnTo>
                  <a:lnTo>
                    <a:pt x="1182" y="729"/>
                  </a:lnTo>
                  <a:lnTo>
                    <a:pt x="1191" y="731"/>
                  </a:lnTo>
                  <a:lnTo>
                    <a:pt x="1200" y="732"/>
                  </a:lnTo>
                  <a:lnTo>
                    <a:pt x="1203" y="735"/>
                  </a:lnTo>
                  <a:lnTo>
                    <a:pt x="1207" y="739"/>
                  </a:lnTo>
                  <a:lnTo>
                    <a:pt x="1209" y="741"/>
                  </a:lnTo>
                  <a:lnTo>
                    <a:pt x="1211" y="743"/>
                  </a:lnTo>
                  <a:lnTo>
                    <a:pt x="1213" y="747"/>
                  </a:lnTo>
                  <a:lnTo>
                    <a:pt x="1213" y="751"/>
                  </a:lnTo>
                  <a:lnTo>
                    <a:pt x="1218" y="751"/>
                  </a:lnTo>
                  <a:lnTo>
                    <a:pt x="1225" y="751"/>
                  </a:lnTo>
                  <a:lnTo>
                    <a:pt x="1227" y="752"/>
                  </a:lnTo>
                  <a:lnTo>
                    <a:pt x="1229" y="753"/>
                  </a:lnTo>
                  <a:lnTo>
                    <a:pt x="1232" y="754"/>
                  </a:lnTo>
                  <a:lnTo>
                    <a:pt x="1232" y="757"/>
                  </a:lnTo>
                  <a:lnTo>
                    <a:pt x="1251" y="757"/>
                  </a:lnTo>
                  <a:lnTo>
                    <a:pt x="1253" y="760"/>
                  </a:lnTo>
                  <a:lnTo>
                    <a:pt x="1258" y="762"/>
                  </a:lnTo>
                  <a:lnTo>
                    <a:pt x="1266" y="766"/>
                  </a:lnTo>
                  <a:lnTo>
                    <a:pt x="1276" y="769"/>
                  </a:lnTo>
                  <a:lnTo>
                    <a:pt x="1297" y="773"/>
                  </a:lnTo>
                  <a:lnTo>
                    <a:pt x="1312" y="776"/>
                  </a:lnTo>
                  <a:lnTo>
                    <a:pt x="1362" y="800"/>
                  </a:lnTo>
                  <a:lnTo>
                    <a:pt x="1362" y="803"/>
                  </a:lnTo>
                  <a:lnTo>
                    <a:pt x="1363" y="806"/>
                  </a:lnTo>
                  <a:lnTo>
                    <a:pt x="1364" y="807"/>
                  </a:lnTo>
                  <a:lnTo>
                    <a:pt x="1366" y="807"/>
                  </a:lnTo>
                  <a:lnTo>
                    <a:pt x="1367" y="807"/>
                  </a:lnTo>
                  <a:lnTo>
                    <a:pt x="1367" y="807"/>
                  </a:lnTo>
                  <a:lnTo>
                    <a:pt x="1368" y="809"/>
                  </a:lnTo>
                  <a:lnTo>
                    <a:pt x="1368" y="812"/>
                  </a:lnTo>
                  <a:lnTo>
                    <a:pt x="1378" y="816"/>
                  </a:lnTo>
                  <a:lnTo>
                    <a:pt x="1387" y="819"/>
                  </a:lnTo>
                  <a:lnTo>
                    <a:pt x="1387" y="822"/>
                  </a:lnTo>
                  <a:lnTo>
                    <a:pt x="1388" y="825"/>
                  </a:lnTo>
                  <a:lnTo>
                    <a:pt x="1389" y="825"/>
                  </a:lnTo>
                  <a:lnTo>
                    <a:pt x="1390" y="825"/>
                  </a:lnTo>
                  <a:lnTo>
                    <a:pt x="1391" y="825"/>
                  </a:lnTo>
                  <a:lnTo>
                    <a:pt x="1392" y="826"/>
                  </a:lnTo>
                  <a:lnTo>
                    <a:pt x="1392" y="828"/>
                  </a:lnTo>
                  <a:lnTo>
                    <a:pt x="1393" y="831"/>
                  </a:lnTo>
                  <a:lnTo>
                    <a:pt x="1406" y="831"/>
                  </a:lnTo>
                  <a:lnTo>
                    <a:pt x="1406" y="835"/>
                  </a:lnTo>
                  <a:lnTo>
                    <a:pt x="1407" y="837"/>
                  </a:lnTo>
                  <a:lnTo>
                    <a:pt x="1407" y="837"/>
                  </a:lnTo>
                  <a:lnTo>
                    <a:pt x="1408" y="837"/>
                  </a:lnTo>
                  <a:lnTo>
                    <a:pt x="1409" y="838"/>
                  </a:lnTo>
                  <a:lnTo>
                    <a:pt x="1410" y="838"/>
                  </a:lnTo>
                  <a:lnTo>
                    <a:pt x="1411" y="840"/>
                  </a:lnTo>
                  <a:lnTo>
                    <a:pt x="1411" y="844"/>
                  </a:lnTo>
                  <a:lnTo>
                    <a:pt x="1424" y="844"/>
                  </a:lnTo>
                  <a:lnTo>
                    <a:pt x="1424" y="856"/>
                  </a:lnTo>
                  <a:lnTo>
                    <a:pt x="1430" y="863"/>
                  </a:lnTo>
                  <a:lnTo>
                    <a:pt x="1434" y="863"/>
                  </a:lnTo>
                  <a:lnTo>
                    <a:pt x="1436" y="864"/>
                  </a:lnTo>
                  <a:lnTo>
                    <a:pt x="1436" y="865"/>
                  </a:lnTo>
                  <a:lnTo>
                    <a:pt x="1436" y="866"/>
                  </a:lnTo>
                  <a:lnTo>
                    <a:pt x="1437" y="867"/>
                  </a:lnTo>
                  <a:lnTo>
                    <a:pt x="1437" y="867"/>
                  </a:lnTo>
                  <a:lnTo>
                    <a:pt x="1439" y="868"/>
                  </a:lnTo>
                  <a:lnTo>
                    <a:pt x="1443" y="868"/>
                  </a:lnTo>
                  <a:lnTo>
                    <a:pt x="1443" y="894"/>
                  </a:lnTo>
                  <a:lnTo>
                    <a:pt x="1445" y="894"/>
                  </a:lnTo>
                  <a:lnTo>
                    <a:pt x="1446" y="895"/>
                  </a:lnTo>
                  <a:lnTo>
                    <a:pt x="1447" y="897"/>
                  </a:lnTo>
                  <a:lnTo>
                    <a:pt x="1448" y="901"/>
                  </a:lnTo>
                  <a:lnTo>
                    <a:pt x="1449" y="906"/>
                  </a:lnTo>
                  <a:lnTo>
                    <a:pt x="1449" y="912"/>
                  </a:lnTo>
                  <a:lnTo>
                    <a:pt x="1445" y="912"/>
                  </a:lnTo>
                  <a:lnTo>
                    <a:pt x="1444" y="913"/>
                  </a:lnTo>
                  <a:lnTo>
                    <a:pt x="1443" y="914"/>
                  </a:lnTo>
                  <a:lnTo>
                    <a:pt x="1443" y="915"/>
                  </a:lnTo>
                  <a:lnTo>
                    <a:pt x="1443" y="916"/>
                  </a:lnTo>
                  <a:lnTo>
                    <a:pt x="1441" y="917"/>
                  </a:lnTo>
                  <a:lnTo>
                    <a:pt x="1440" y="918"/>
                  </a:lnTo>
                  <a:lnTo>
                    <a:pt x="1436" y="918"/>
                  </a:lnTo>
                  <a:lnTo>
                    <a:pt x="1436" y="931"/>
                  </a:lnTo>
                  <a:lnTo>
                    <a:pt x="1424" y="93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52" name="Freeform 18"/>
            <p:cNvSpPr>
              <a:spLocks noChangeAspect="1"/>
            </p:cNvSpPr>
            <p:nvPr/>
          </p:nvSpPr>
          <p:spPr bwMode="gray">
            <a:xfrm rot="355651">
              <a:off x="5681118" y="3714750"/>
              <a:ext cx="324793" cy="290637"/>
            </a:xfrm>
            <a:custGeom>
              <a:avLst/>
              <a:gdLst/>
              <a:ahLst/>
              <a:cxnLst>
                <a:cxn ang="0">
                  <a:pos x="1544" y="680"/>
                </a:cxn>
                <a:cxn ang="0">
                  <a:pos x="1460" y="731"/>
                </a:cxn>
                <a:cxn ang="0">
                  <a:pos x="1413" y="814"/>
                </a:cxn>
                <a:cxn ang="0">
                  <a:pos x="1397" y="949"/>
                </a:cxn>
                <a:cxn ang="0">
                  <a:pos x="1396" y="1279"/>
                </a:cxn>
                <a:cxn ang="0">
                  <a:pos x="1487" y="1371"/>
                </a:cxn>
                <a:cxn ang="0">
                  <a:pos x="1611" y="1404"/>
                </a:cxn>
                <a:cxn ang="0">
                  <a:pos x="1684" y="1447"/>
                </a:cxn>
                <a:cxn ang="0">
                  <a:pos x="1741" y="1506"/>
                </a:cxn>
                <a:cxn ang="0">
                  <a:pos x="1722" y="1669"/>
                </a:cxn>
                <a:cxn ang="0">
                  <a:pos x="1634" y="1687"/>
                </a:cxn>
                <a:cxn ang="0">
                  <a:pos x="1550" y="1712"/>
                </a:cxn>
                <a:cxn ang="0">
                  <a:pos x="1502" y="1793"/>
                </a:cxn>
                <a:cxn ang="0">
                  <a:pos x="1382" y="1795"/>
                </a:cxn>
                <a:cxn ang="0">
                  <a:pos x="1270" y="1764"/>
                </a:cxn>
                <a:cxn ang="0">
                  <a:pos x="1166" y="1748"/>
                </a:cxn>
                <a:cxn ang="0">
                  <a:pos x="1146" y="1688"/>
                </a:cxn>
                <a:cxn ang="0">
                  <a:pos x="1123" y="1637"/>
                </a:cxn>
                <a:cxn ang="0">
                  <a:pos x="1094" y="1585"/>
                </a:cxn>
                <a:cxn ang="0">
                  <a:pos x="1003" y="1486"/>
                </a:cxn>
                <a:cxn ang="0">
                  <a:pos x="965" y="1426"/>
                </a:cxn>
                <a:cxn ang="0">
                  <a:pos x="890" y="1314"/>
                </a:cxn>
                <a:cxn ang="0">
                  <a:pos x="851" y="1245"/>
                </a:cxn>
                <a:cxn ang="0">
                  <a:pos x="789" y="1179"/>
                </a:cxn>
                <a:cxn ang="0">
                  <a:pos x="725" y="1109"/>
                </a:cxn>
                <a:cxn ang="0">
                  <a:pos x="677" y="1048"/>
                </a:cxn>
                <a:cxn ang="0">
                  <a:pos x="628" y="995"/>
                </a:cxn>
                <a:cxn ang="0">
                  <a:pos x="462" y="960"/>
                </a:cxn>
                <a:cxn ang="0">
                  <a:pos x="436" y="841"/>
                </a:cxn>
                <a:cxn ang="0">
                  <a:pos x="427" y="747"/>
                </a:cxn>
                <a:cxn ang="0">
                  <a:pos x="386" y="691"/>
                </a:cxn>
                <a:cxn ang="0">
                  <a:pos x="283" y="629"/>
                </a:cxn>
                <a:cxn ang="0">
                  <a:pos x="234" y="601"/>
                </a:cxn>
                <a:cxn ang="0">
                  <a:pos x="88" y="587"/>
                </a:cxn>
                <a:cxn ang="0">
                  <a:pos x="18" y="530"/>
                </a:cxn>
                <a:cxn ang="0">
                  <a:pos x="1" y="455"/>
                </a:cxn>
                <a:cxn ang="0">
                  <a:pos x="55" y="314"/>
                </a:cxn>
                <a:cxn ang="0">
                  <a:pos x="70" y="264"/>
                </a:cxn>
                <a:cxn ang="0">
                  <a:pos x="343" y="71"/>
                </a:cxn>
                <a:cxn ang="0">
                  <a:pos x="429" y="56"/>
                </a:cxn>
                <a:cxn ang="0">
                  <a:pos x="531" y="3"/>
                </a:cxn>
                <a:cxn ang="0">
                  <a:pos x="568" y="51"/>
                </a:cxn>
                <a:cxn ang="0">
                  <a:pos x="752" y="76"/>
                </a:cxn>
                <a:cxn ang="0">
                  <a:pos x="787" y="106"/>
                </a:cxn>
                <a:cxn ang="0">
                  <a:pos x="816" y="144"/>
                </a:cxn>
                <a:cxn ang="0">
                  <a:pos x="866" y="180"/>
                </a:cxn>
                <a:cxn ang="0">
                  <a:pos x="911" y="230"/>
                </a:cxn>
                <a:cxn ang="0">
                  <a:pos x="857" y="278"/>
                </a:cxn>
                <a:cxn ang="0">
                  <a:pos x="821" y="332"/>
                </a:cxn>
                <a:cxn ang="0">
                  <a:pos x="755" y="389"/>
                </a:cxn>
                <a:cxn ang="0">
                  <a:pos x="780" y="429"/>
                </a:cxn>
                <a:cxn ang="0">
                  <a:pos x="839" y="464"/>
                </a:cxn>
                <a:cxn ang="0">
                  <a:pos x="971" y="506"/>
                </a:cxn>
                <a:cxn ang="0">
                  <a:pos x="1061" y="571"/>
                </a:cxn>
                <a:cxn ang="0">
                  <a:pos x="1166" y="587"/>
                </a:cxn>
                <a:cxn ang="0">
                  <a:pos x="1232" y="599"/>
                </a:cxn>
                <a:cxn ang="0">
                  <a:pos x="1264" y="539"/>
                </a:cxn>
                <a:cxn ang="0">
                  <a:pos x="1298" y="508"/>
                </a:cxn>
                <a:cxn ang="0">
                  <a:pos x="1353" y="429"/>
                </a:cxn>
                <a:cxn ang="0">
                  <a:pos x="1409" y="360"/>
                </a:cxn>
                <a:cxn ang="0">
                  <a:pos x="1457" y="335"/>
                </a:cxn>
                <a:cxn ang="0">
                  <a:pos x="1476" y="316"/>
                </a:cxn>
              </a:cxnLst>
              <a:rect l="0" t="0" r="r" b="b"/>
              <a:pathLst>
                <a:path w="1777" h="1804">
                  <a:moveTo>
                    <a:pt x="1505" y="380"/>
                  </a:moveTo>
                  <a:lnTo>
                    <a:pt x="1519" y="394"/>
                  </a:lnTo>
                  <a:lnTo>
                    <a:pt x="1518" y="413"/>
                  </a:lnTo>
                  <a:lnTo>
                    <a:pt x="1517" y="438"/>
                  </a:lnTo>
                  <a:lnTo>
                    <a:pt x="1515" y="466"/>
                  </a:lnTo>
                  <a:lnTo>
                    <a:pt x="1512" y="496"/>
                  </a:lnTo>
                  <a:lnTo>
                    <a:pt x="1511" y="525"/>
                  </a:lnTo>
                  <a:lnTo>
                    <a:pt x="1510" y="552"/>
                  </a:lnTo>
                  <a:lnTo>
                    <a:pt x="1510" y="573"/>
                  </a:lnTo>
                  <a:lnTo>
                    <a:pt x="1512" y="587"/>
                  </a:lnTo>
                  <a:lnTo>
                    <a:pt x="1518" y="603"/>
                  </a:lnTo>
                  <a:lnTo>
                    <a:pt x="1525" y="625"/>
                  </a:lnTo>
                  <a:lnTo>
                    <a:pt x="1534" y="651"/>
                  </a:lnTo>
                  <a:lnTo>
                    <a:pt x="1544" y="680"/>
                  </a:lnTo>
                  <a:lnTo>
                    <a:pt x="1533" y="679"/>
                  </a:lnTo>
                  <a:lnTo>
                    <a:pt x="1520" y="678"/>
                  </a:lnTo>
                  <a:lnTo>
                    <a:pt x="1509" y="678"/>
                  </a:lnTo>
                  <a:lnTo>
                    <a:pt x="1499" y="677"/>
                  </a:lnTo>
                  <a:lnTo>
                    <a:pt x="1495" y="681"/>
                  </a:lnTo>
                  <a:lnTo>
                    <a:pt x="1491" y="687"/>
                  </a:lnTo>
                  <a:lnTo>
                    <a:pt x="1482" y="698"/>
                  </a:lnTo>
                  <a:lnTo>
                    <a:pt x="1473" y="710"/>
                  </a:lnTo>
                  <a:lnTo>
                    <a:pt x="1468" y="717"/>
                  </a:lnTo>
                  <a:lnTo>
                    <a:pt x="1468" y="726"/>
                  </a:lnTo>
                  <a:lnTo>
                    <a:pt x="1464" y="727"/>
                  </a:lnTo>
                  <a:lnTo>
                    <a:pt x="1462" y="728"/>
                  </a:lnTo>
                  <a:lnTo>
                    <a:pt x="1461" y="729"/>
                  </a:lnTo>
                  <a:lnTo>
                    <a:pt x="1460" y="731"/>
                  </a:lnTo>
                  <a:lnTo>
                    <a:pt x="1459" y="736"/>
                  </a:lnTo>
                  <a:lnTo>
                    <a:pt x="1459" y="739"/>
                  </a:lnTo>
                  <a:lnTo>
                    <a:pt x="1450" y="739"/>
                  </a:lnTo>
                  <a:lnTo>
                    <a:pt x="1449" y="744"/>
                  </a:lnTo>
                  <a:lnTo>
                    <a:pt x="1444" y="748"/>
                  </a:lnTo>
                  <a:lnTo>
                    <a:pt x="1440" y="754"/>
                  </a:lnTo>
                  <a:lnTo>
                    <a:pt x="1437" y="757"/>
                  </a:lnTo>
                  <a:lnTo>
                    <a:pt x="1428" y="757"/>
                  </a:lnTo>
                  <a:lnTo>
                    <a:pt x="1423" y="762"/>
                  </a:lnTo>
                  <a:lnTo>
                    <a:pt x="1422" y="766"/>
                  </a:lnTo>
                  <a:lnTo>
                    <a:pt x="1420" y="773"/>
                  </a:lnTo>
                  <a:lnTo>
                    <a:pt x="1418" y="777"/>
                  </a:lnTo>
                  <a:lnTo>
                    <a:pt x="1414" y="779"/>
                  </a:lnTo>
                  <a:lnTo>
                    <a:pt x="1413" y="814"/>
                  </a:lnTo>
                  <a:lnTo>
                    <a:pt x="1410" y="849"/>
                  </a:lnTo>
                  <a:lnTo>
                    <a:pt x="1406" y="882"/>
                  </a:lnTo>
                  <a:lnTo>
                    <a:pt x="1405" y="913"/>
                  </a:lnTo>
                  <a:lnTo>
                    <a:pt x="1404" y="913"/>
                  </a:lnTo>
                  <a:lnTo>
                    <a:pt x="1403" y="914"/>
                  </a:lnTo>
                  <a:lnTo>
                    <a:pt x="1402" y="917"/>
                  </a:lnTo>
                  <a:lnTo>
                    <a:pt x="1401" y="919"/>
                  </a:lnTo>
                  <a:lnTo>
                    <a:pt x="1401" y="924"/>
                  </a:lnTo>
                  <a:lnTo>
                    <a:pt x="1401" y="931"/>
                  </a:lnTo>
                  <a:lnTo>
                    <a:pt x="1401" y="938"/>
                  </a:lnTo>
                  <a:lnTo>
                    <a:pt x="1400" y="943"/>
                  </a:lnTo>
                  <a:lnTo>
                    <a:pt x="1400" y="946"/>
                  </a:lnTo>
                  <a:lnTo>
                    <a:pt x="1399" y="948"/>
                  </a:lnTo>
                  <a:lnTo>
                    <a:pt x="1397" y="949"/>
                  </a:lnTo>
                  <a:lnTo>
                    <a:pt x="1396" y="949"/>
                  </a:lnTo>
                  <a:lnTo>
                    <a:pt x="1396" y="1119"/>
                  </a:lnTo>
                  <a:lnTo>
                    <a:pt x="1394" y="1124"/>
                  </a:lnTo>
                  <a:lnTo>
                    <a:pt x="1392" y="1131"/>
                  </a:lnTo>
                  <a:lnTo>
                    <a:pt x="1391" y="1140"/>
                  </a:lnTo>
                  <a:lnTo>
                    <a:pt x="1390" y="1149"/>
                  </a:lnTo>
                  <a:lnTo>
                    <a:pt x="1389" y="1169"/>
                  </a:lnTo>
                  <a:lnTo>
                    <a:pt x="1389" y="1191"/>
                  </a:lnTo>
                  <a:lnTo>
                    <a:pt x="1391" y="1235"/>
                  </a:lnTo>
                  <a:lnTo>
                    <a:pt x="1392" y="1270"/>
                  </a:lnTo>
                  <a:lnTo>
                    <a:pt x="1394" y="1270"/>
                  </a:lnTo>
                  <a:lnTo>
                    <a:pt x="1395" y="1273"/>
                  </a:lnTo>
                  <a:lnTo>
                    <a:pt x="1396" y="1276"/>
                  </a:lnTo>
                  <a:lnTo>
                    <a:pt x="1396" y="1279"/>
                  </a:lnTo>
                  <a:lnTo>
                    <a:pt x="1399" y="1284"/>
                  </a:lnTo>
                  <a:lnTo>
                    <a:pt x="1405" y="1295"/>
                  </a:lnTo>
                  <a:lnTo>
                    <a:pt x="1411" y="1307"/>
                  </a:lnTo>
                  <a:lnTo>
                    <a:pt x="1414" y="1315"/>
                  </a:lnTo>
                  <a:lnTo>
                    <a:pt x="1418" y="1316"/>
                  </a:lnTo>
                  <a:lnTo>
                    <a:pt x="1423" y="1318"/>
                  </a:lnTo>
                  <a:lnTo>
                    <a:pt x="1428" y="1322"/>
                  </a:lnTo>
                  <a:lnTo>
                    <a:pt x="1433" y="1327"/>
                  </a:lnTo>
                  <a:lnTo>
                    <a:pt x="1443" y="1337"/>
                  </a:lnTo>
                  <a:lnTo>
                    <a:pt x="1450" y="1346"/>
                  </a:lnTo>
                  <a:lnTo>
                    <a:pt x="1466" y="1355"/>
                  </a:lnTo>
                  <a:lnTo>
                    <a:pt x="1481" y="1364"/>
                  </a:lnTo>
                  <a:lnTo>
                    <a:pt x="1482" y="1368"/>
                  </a:lnTo>
                  <a:lnTo>
                    <a:pt x="1487" y="1371"/>
                  </a:lnTo>
                  <a:lnTo>
                    <a:pt x="1492" y="1374"/>
                  </a:lnTo>
                  <a:lnTo>
                    <a:pt x="1500" y="1378"/>
                  </a:lnTo>
                  <a:lnTo>
                    <a:pt x="1515" y="1384"/>
                  </a:lnTo>
                  <a:lnTo>
                    <a:pt x="1526" y="1391"/>
                  </a:lnTo>
                  <a:lnTo>
                    <a:pt x="1538" y="1391"/>
                  </a:lnTo>
                  <a:lnTo>
                    <a:pt x="1556" y="1392"/>
                  </a:lnTo>
                  <a:lnTo>
                    <a:pt x="1565" y="1393"/>
                  </a:lnTo>
                  <a:lnTo>
                    <a:pt x="1572" y="1394"/>
                  </a:lnTo>
                  <a:lnTo>
                    <a:pt x="1575" y="1395"/>
                  </a:lnTo>
                  <a:lnTo>
                    <a:pt x="1577" y="1397"/>
                  </a:lnTo>
                  <a:lnTo>
                    <a:pt x="1578" y="1398"/>
                  </a:lnTo>
                  <a:lnTo>
                    <a:pt x="1579" y="1400"/>
                  </a:lnTo>
                  <a:lnTo>
                    <a:pt x="1595" y="1402"/>
                  </a:lnTo>
                  <a:lnTo>
                    <a:pt x="1611" y="1404"/>
                  </a:lnTo>
                  <a:lnTo>
                    <a:pt x="1620" y="1413"/>
                  </a:lnTo>
                  <a:lnTo>
                    <a:pt x="1626" y="1416"/>
                  </a:lnTo>
                  <a:lnTo>
                    <a:pt x="1633" y="1418"/>
                  </a:lnTo>
                  <a:lnTo>
                    <a:pt x="1641" y="1420"/>
                  </a:lnTo>
                  <a:lnTo>
                    <a:pt x="1646" y="1422"/>
                  </a:lnTo>
                  <a:lnTo>
                    <a:pt x="1660" y="1422"/>
                  </a:lnTo>
                  <a:lnTo>
                    <a:pt x="1661" y="1426"/>
                  </a:lnTo>
                  <a:lnTo>
                    <a:pt x="1664" y="1430"/>
                  </a:lnTo>
                  <a:lnTo>
                    <a:pt x="1669" y="1433"/>
                  </a:lnTo>
                  <a:lnTo>
                    <a:pt x="1673" y="1436"/>
                  </a:lnTo>
                  <a:lnTo>
                    <a:pt x="1674" y="1439"/>
                  </a:lnTo>
                  <a:lnTo>
                    <a:pt x="1679" y="1443"/>
                  </a:lnTo>
                  <a:lnTo>
                    <a:pt x="1681" y="1446"/>
                  </a:lnTo>
                  <a:lnTo>
                    <a:pt x="1684" y="1447"/>
                  </a:lnTo>
                  <a:lnTo>
                    <a:pt x="1688" y="1448"/>
                  </a:lnTo>
                  <a:lnTo>
                    <a:pt x="1691" y="1449"/>
                  </a:lnTo>
                  <a:lnTo>
                    <a:pt x="1696" y="1458"/>
                  </a:lnTo>
                  <a:lnTo>
                    <a:pt x="1702" y="1460"/>
                  </a:lnTo>
                  <a:lnTo>
                    <a:pt x="1709" y="1462"/>
                  </a:lnTo>
                  <a:lnTo>
                    <a:pt x="1713" y="1467"/>
                  </a:lnTo>
                  <a:lnTo>
                    <a:pt x="1718" y="1476"/>
                  </a:lnTo>
                  <a:lnTo>
                    <a:pt x="1722" y="1478"/>
                  </a:lnTo>
                  <a:lnTo>
                    <a:pt x="1727" y="1480"/>
                  </a:lnTo>
                  <a:lnTo>
                    <a:pt x="1729" y="1487"/>
                  </a:lnTo>
                  <a:lnTo>
                    <a:pt x="1731" y="1493"/>
                  </a:lnTo>
                  <a:lnTo>
                    <a:pt x="1735" y="1495"/>
                  </a:lnTo>
                  <a:lnTo>
                    <a:pt x="1738" y="1499"/>
                  </a:lnTo>
                  <a:lnTo>
                    <a:pt x="1741" y="1506"/>
                  </a:lnTo>
                  <a:lnTo>
                    <a:pt x="1745" y="1514"/>
                  </a:lnTo>
                  <a:lnTo>
                    <a:pt x="1751" y="1530"/>
                  </a:lnTo>
                  <a:lnTo>
                    <a:pt x="1758" y="1542"/>
                  </a:lnTo>
                  <a:lnTo>
                    <a:pt x="1758" y="1555"/>
                  </a:lnTo>
                  <a:lnTo>
                    <a:pt x="1767" y="1564"/>
                  </a:lnTo>
                  <a:lnTo>
                    <a:pt x="1768" y="1584"/>
                  </a:lnTo>
                  <a:lnTo>
                    <a:pt x="1770" y="1606"/>
                  </a:lnTo>
                  <a:lnTo>
                    <a:pt x="1774" y="1631"/>
                  </a:lnTo>
                  <a:lnTo>
                    <a:pt x="1775" y="1657"/>
                  </a:lnTo>
                  <a:lnTo>
                    <a:pt x="1777" y="1657"/>
                  </a:lnTo>
                  <a:lnTo>
                    <a:pt x="1761" y="1659"/>
                  </a:lnTo>
                  <a:lnTo>
                    <a:pt x="1742" y="1664"/>
                  </a:lnTo>
                  <a:lnTo>
                    <a:pt x="1732" y="1667"/>
                  </a:lnTo>
                  <a:lnTo>
                    <a:pt x="1722" y="1669"/>
                  </a:lnTo>
                  <a:lnTo>
                    <a:pt x="1711" y="1671"/>
                  </a:lnTo>
                  <a:lnTo>
                    <a:pt x="1701" y="1671"/>
                  </a:lnTo>
                  <a:lnTo>
                    <a:pt x="1700" y="1673"/>
                  </a:lnTo>
                  <a:lnTo>
                    <a:pt x="1697" y="1674"/>
                  </a:lnTo>
                  <a:lnTo>
                    <a:pt x="1692" y="1674"/>
                  </a:lnTo>
                  <a:lnTo>
                    <a:pt x="1688" y="1676"/>
                  </a:lnTo>
                  <a:lnTo>
                    <a:pt x="1678" y="1676"/>
                  </a:lnTo>
                  <a:lnTo>
                    <a:pt x="1671" y="1676"/>
                  </a:lnTo>
                  <a:lnTo>
                    <a:pt x="1670" y="1678"/>
                  </a:lnTo>
                  <a:lnTo>
                    <a:pt x="1668" y="1680"/>
                  </a:lnTo>
                  <a:lnTo>
                    <a:pt x="1664" y="1681"/>
                  </a:lnTo>
                  <a:lnTo>
                    <a:pt x="1660" y="1682"/>
                  </a:lnTo>
                  <a:lnTo>
                    <a:pt x="1649" y="1686"/>
                  </a:lnTo>
                  <a:lnTo>
                    <a:pt x="1634" y="1687"/>
                  </a:lnTo>
                  <a:lnTo>
                    <a:pt x="1606" y="1690"/>
                  </a:lnTo>
                  <a:lnTo>
                    <a:pt x="1587" y="1691"/>
                  </a:lnTo>
                  <a:lnTo>
                    <a:pt x="1586" y="1693"/>
                  </a:lnTo>
                  <a:lnTo>
                    <a:pt x="1585" y="1696"/>
                  </a:lnTo>
                  <a:lnTo>
                    <a:pt x="1583" y="1696"/>
                  </a:lnTo>
                  <a:lnTo>
                    <a:pt x="1579" y="1697"/>
                  </a:lnTo>
                  <a:lnTo>
                    <a:pt x="1577" y="1697"/>
                  </a:lnTo>
                  <a:lnTo>
                    <a:pt x="1575" y="1699"/>
                  </a:lnTo>
                  <a:lnTo>
                    <a:pt x="1573" y="1701"/>
                  </a:lnTo>
                  <a:lnTo>
                    <a:pt x="1573" y="1706"/>
                  </a:lnTo>
                  <a:lnTo>
                    <a:pt x="1567" y="1706"/>
                  </a:lnTo>
                  <a:lnTo>
                    <a:pt x="1562" y="1708"/>
                  </a:lnTo>
                  <a:lnTo>
                    <a:pt x="1556" y="1709"/>
                  </a:lnTo>
                  <a:lnTo>
                    <a:pt x="1550" y="1712"/>
                  </a:lnTo>
                  <a:lnTo>
                    <a:pt x="1540" y="1718"/>
                  </a:lnTo>
                  <a:lnTo>
                    <a:pt x="1530" y="1726"/>
                  </a:lnTo>
                  <a:lnTo>
                    <a:pt x="1521" y="1732"/>
                  </a:lnTo>
                  <a:lnTo>
                    <a:pt x="1514" y="1739"/>
                  </a:lnTo>
                  <a:lnTo>
                    <a:pt x="1508" y="1744"/>
                  </a:lnTo>
                  <a:lnTo>
                    <a:pt x="1504" y="1745"/>
                  </a:lnTo>
                  <a:lnTo>
                    <a:pt x="1502" y="1756"/>
                  </a:lnTo>
                  <a:lnTo>
                    <a:pt x="1500" y="1765"/>
                  </a:lnTo>
                  <a:lnTo>
                    <a:pt x="1499" y="1775"/>
                  </a:lnTo>
                  <a:lnTo>
                    <a:pt x="1498" y="1785"/>
                  </a:lnTo>
                  <a:lnTo>
                    <a:pt x="1500" y="1785"/>
                  </a:lnTo>
                  <a:lnTo>
                    <a:pt x="1501" y="1787"/>
                  </a:lnTo>
                  <a:lnTo>
                    <a:pt x="1502" y="1789"/>
                  </a:lnTo>
                  <a:lnTo>
                    <a:pt x="1502" y="1793"/>
                  </a:lnTo>
                  <a:lnTo>
                    <a:pt x="1504" y="1799"/>
                  </a:lnTo>
                  <a:lnTo>
                    <a:pt x="1504" y="1804"/>
                  </a:lnTo>
                  <a:lnTo>
                    <a:pt x="1424" y="1804"/>
                  </a:lnTo>
                  <a:lnTo>
                    <a:pt x="1424" y="1803"/>
                  </a:lnTo>
                  <a:lnTo>
                    <a:pt x="1422" y="1802"/>
                  </a:lnTo>
                  <a:lnTo>
                    <a:pt x="1421" y="1801"/>
                  </a:lnTo>
                  <a:lnTo>
                    <a:pt x="1419" y="1801"/>
                  </a:lnTo>
                  <a:lnTo>
                    <a:pt x="1414" y="1799"/>
                  </a:lnTo>
                  <a:lnTo>
                    <a:pt x="1410" y="1799"/>
                  </a:lnTo>
                  <a:lnTo>
                    <a:pt x="1409" y="1798"/>
                  </a:lnTo>
                  <a:lnTo>
                    <a:pt x="1404" y="1796"/>
                  </a:lnTo>
                  <a:lnTo>
                    <a:pt x="1400" y="1796"/>
                  </a:lnTo>
                  <a:lnTo>
                    <a:pt x="1394" y="1795"/>
                  </a:lnTo>
                  <a:lnTo>
                    <a:pt x="1382" y="1795"/>
                  </a:lnTo>
                  <a:lnTo>
                    <a:pt x="1375" y="1795"/>
                  </a:lnTo>
                  <a:lnTo>
                    <a:pt x="1372" y="1793"/>
                  </a:lnTo>
                  <a:lnTo>
                    <a:pt x="1363" y="1789"/>
                  </a:lnTo>
                  <a:lnTo>
                    <a:pt x="1349" y="1786"/>
                  </a:lnTo>
                  <a:lnTo>
                    <a:pt x="1335" y="1783"/>
                  </a:lnTo>
                  <a:lnTo>
                    <a:pt x="1306" y="1777"/>
                  </a:lnTo>
                  <a:lnTo>
                    <a:pt x="1291" y="1775"/>
                  </a:lnTo>
                  <a:lnTo>
                    <a:pt x="1290" y="1773"/>
                  </a:lnTo>
                  <a:lnTo>
                    <a:pt x="1289" y="1772"/>
                  </a:lnTo>
                  <a:lnTo>
                    <a:pt x="1287" y="1769"/>
                  </a:lnTo>
                  <a:lnTo>
                    <a:pt x="1285" y="1768"/>
                  </a:lnTo>
                  <a:lnTo>
                    <a:pt x="1278" y="1766"/>
                  </a:lnTo>
                  <a:lnTo>
                    <a:pt x="1271" y="1765"/>
                  </a:lnTo>
                  <a:lnTo>
                    <a:pt x="1270" y="1764"/>
                  </a:lnTo>
                  <a:lnTo>
                    <a:pt x="1269" y="1761"/>
                  </a:lnTo>
                  <a:lnTo>
                    <a:pt x="1267" y="1760"/>
                  </a:lnTo>
                  <a:lnTo>
                    <a:pt x="1264" y="1759"/>
                  </a:lnTo>
                  <a:lnTo>
                    <a:pt x="1253" y="1757"/>
                  </a:lnTo>
                  <a:lnTo>
                    <a:pt x="1241" y="1756"/>
                  </a:lnTo>
                  <a:lnTo>
                    <a:pt x="1210" y="1754"/>
                  </a:lnTo>
                  <a:lnTo>
                    <a:pt x="1174" y="1755"/>
                  </a:lnTo>
                  <a:lnTo>
                    <a:pt x="1174" y="1754"/>
                  </a:lnTo>
                  <a:lnTo>
                    <a:pt x="1170" y="1754"/>
                  </a:lnTo>
                  <a:lnTo>
                    <a:pt x="1168" y="1753"/>
                  </a:lnTo>
                  <a:lnTo>
                    <a:pt x="1166" y="1751"/>
                  </a:lnTo>
                  <a:lnTo>
                    <a:pt x="1166" y="1750"/>
                  </a:lnTo>
                  <a:lnTo>
                    <a:pt x="1166" y="1749"/>
                  </a:lnTo>
                  <a:lnTo>
                    <a:pt x="1166" y="1748"/>
                  </a:lnTo>
                  <a:lnTo>
                    <a:pt x="1164" y="1747"/>
                  </a:lnTo>
                  <a:lnTo>
                    <a:pt x="1160" y="1747"/>
                  </a:lnTo>
                  <a:lnTo>
                    <a:pt x="1160" y="1734"/>
                  </a:lnTo>
                  <a:lnTo>
                    <a:pt x="1157" y="1732"/>
                  </a:lnTo>
                  <a:lnTo>
                    <a:pt x="1156" y="1732"/>
                  </a:lnTo>
                  <a:lnTo>
                    <a:pt x="1154" y="1730"/>
                  </a:lnTo>
                  <a:lnTo>
                    <a:pt x="1154" y="1729"/>
                  </a:lnTo>
                  <a:lnTo>
                    <a:pt x="1153" y="1725"/>
                  </a:lnTo>
                  <a:lnTo>
                    <a:pt x="1153" y="1719"/>
                  </a:lnTo>
                  <a:lnTo>
                    <a:pt x="1151" y="1718"/>
                  </a:lnTo>
                  <a:lnTo>
                    <a:pt x="1149" y="1714"/>
                  </a:lnTo>
                  <a:lnTo>
                    <a:pt x="1147" y="1708"/>
                  </a:lnTo>
                  <a:lnTo>
                    <a:pt x="1147" y="1701"/>
                  </a:lnTo>
                  <a:lnTo>
                    <a:pt x="1146" y="1688"/>
                  </a:lnTo>
                  <a:lnTo>
                    <a:pt x="1146" y="1678"/>
                  </a:lnTo>
                  <a:lnTo>
                    <a:pt x="1143" y="1677"/>
                  </a:lnTo>
                  <a:lnTo>
                    <a:pt x="1141" y="1674"/>
                  </a:lnTo>
                  <a:lnTo>
                    <a:pt x="1139" y="1671"/>
                  </a:lnTo>
                  <a:lnTo>
                    <a:pt x="1136" y="1667"/>
                  </a:lnTo>
                  <a:lnTo>
                    <a:pt x="1133" y="1658"/>
                  </a:lnTo>
                  <a:lnTo>
                    <a:pt x="1132" y="1650"/>
                  </a:lnTo>
                  <a:lnTo>
                    <a:pt x="1130" y="1650"/>
                  </a:lnTo>
                  <a:lnTo>
                    <a:pt x="1128" y="1649"/>
                  </a:lnTo>
                  <a:lnTo>
                    <a:pt x="1127" y="1648"/>
                  </a:lnTo>
                  <a:lnTo>
                    <a:pt x="1126" y="1647"/>
                  </a:lnTo>
                  <a:lnTo>
                    <a:pt x="1125" y="1642"/>
                  </a:lnTo>
                  <a:lnTo>
                    <a:pt x="1125" y="1637"/>
                  </a:lnTo>
                  <a:lnTo>
                    <a:pt x="1123" y="1637"/>
                  </a:lnTo>
                  <a:lnTo>
                    <a:pt x="1122" y="1634"/>
                  </a:lnTo>
                  <a:lnTo>
                    <a:pt x="1121" y="1632"/>
                  </a:lnTo>
                  <a:lnTo>
                    <a:pt x="1120" y="1629"/>
                  </a:lnTo>
                  <a:lnTo>
                    <a:pt x="1118" y="1622"/>
                  </a:lnTo>
                  <a:lnTo>
                    <a:pt x="1118" y="1616"/>
                  </a:lnTo>
                  <a:lnTo>
                    <a:pt x="1116" y="1615"/>
                  </a:lnTo>
                  <a:lnTo>
                    <a:pt x="1114" y="1614"/>
                  </a:lnTo>
                  <a:lnTo>
                    <a:pt x="1113" y="1611"/>
                  </a:lnTo>
                  <a:lnTo>
                    <a:pt x="1113" y="1609"/>
                  </a:lnTo>
                  <a:lnTo>
                    <a:pt x="1112" y="1601"/>
                  </a:lnTo>
                  <a:lnTo>
                    <a:pt x="1112" y="1595"/>
                  </a:lnTo>
                  <a:lnTo>
                    <a:pt x="1098" y="1595"/>
                  </a:lnTo>
                  <a:lnTo>
                    <a:pt x="1096" y="1590"/>
                  </a:lnTo>
                  <a:lnTo>
                    <a:pt x="1094" y="1585"/>
                  </a:lnTo>
                  <a:lnTo>
                    <a:pt x="1089" y="1583"/>
                  </a:lnTo>
                  <a:lnTo>
                    <a:pt x="1084" y="1582"/>
                  </a:lnTo>
                  <a:lnTo>
                    <a:pt x="1070" y="1567"/>
                  </a:lnTo>
                  <a:lnTo>
                    <a:pt x="1056" y="1554"/>
                  </a:lnTo>
                  <a:lnTo>
                    <a:pt x="1043" y="1554"/>
                  </a:lnTo>
                  <a:lnTo>
                    <a:pt x="1043" y="1539"/>
                  </a:lnTo>
                  <a:lnTo>
                    <a:pt x="1039" y="1538"/>
                  </a:lnTo>
                  <a:lnTo>
                    <a:pt x="1035" y="1536"/>
                  </a:lnTo>
                  <a:lnTo>
                    <a:pt x="1030" y="1530"/>
                  </a:lnTo>
                  <a:lnTo>
                    <a:pt x="1026" y="1525"/>
                  </a:lnTo>
                  <a:lnTo>
                    <a:pt x="1016" y="1514"/>
                  </a:lnTo>
                  <a:lnTo>
                    <a:pt x="1008" y="1506"/>
                  </a:lnTo>
                  <a:lnTo>
                    <a:pt x="1007" y="1497"/>
                  </a:lnTo>
                  <a:lnTo>
                    <a:pt x="1003" y="1486"/>
                  </a:lnTo>
                  <a:lnTo>
                    <a:pt x="1001" y="1480"/>
                  </a:lnTo>
                  <a:lnTo>
                    <a:pt x="999" y="1476"/>
                  </a:lnTo>
                  <a:lnTo>
                    <a:pt x="997" y="1472"/>
                  </a:lnTo>
                  <a:lnTo>
                    <a:pt x="995" y="1471"/>
                  </a:lnTo>
                  <a:lnTo>
                    <a:pt x="993" y="1466"/>
                  </a:lnTo>
                  <a:lnTo>
                    <a:pt x="992" y="1460"/>
                  </a:lnTo>
                  <a:lnTo>
                    <a:pt x="990" y="1456"/>
                  </a:lnTo>
                  <a:lnTo>
                    <a:pt x="988" y="1450"/>
                  </a:lnTo>
                  <a:lnTo>
                    <a:pt x="984" y="1445"/>
                  </a:lnTo>
                  <a:lnTo>
                    <a:pt x="982" y="1440"/>
                  </a:lnTo>
                  <a:lnTo>
                    <a:pt x="981" y="1434"/>
                  </a:lnTo>
                  <a:lnTo>
                    <a:pt x="980" y="1430"/>
                  </a:lnTo>
                  <a:lnTo>
                    <a:pt x="967" y="1430"/>
                  </a:lnTo>
                  <a:lnTo>
                    <a:pt x="965" y="1426"/>
                  </a:lnTo>
                  <a:lnTo>
                    <a:pt x="961" y="1418"/>
                  </a:lnTo>
                  <a:lnTo>
                    <a:pt x="955" y="1409"/>
                  </a:lnTo>
                  <a:lnTo>
                    <a:pt x="949" y="1399"/>
                  </a:lnTo>
                  <a:lnTo>
                    <a:pt x="941" y="1390"/>
                  </a:lnTo>
                  <a:lnTo>
                    <a:pt x="934" y="1382"/>
                  </a:lnTo>
                  <a:lnTo>
                    <a:pt x="929" y="1376"/>
                  </a:lnTo>
                  <a:lnTo>
                    <a:pt x="925" y="1374"/>
                  </a:lnTo>
                  <a:lnTo>
                    <a:pt x="925" y="1361"/>
                  </a:lnTo>
                  <a:lnTo>
                    <a:pt x="921" y="1359"/>
                  </a:lnTo>
                  <a:lnTo>
                    <a:pt x="915" y="1353"/>
                  </a:lnTo>
                  <a:lnTo>
                    <a:pt x="909" y="1344"/>
                  </a:lnTo>
                  <a:lnTo>
                    <a:pt x="902" y="1334"/>
                  </a:lnTo>
                  <a:lnTo>
                    <a:pt x="895" y="1324"/>
                  </a:lnTo>
                  <a:lnTo>
                    <a:pt x="890" y="1314"/>
                  </a:lnTo>
                  <a:lnTo>
                    <a:pt x="885" y="1305"/>
                  </a:lnTo>
                  <a:lnTo>
                    <a:pt x="884" y="1298"/>
                  </a:lnTo>
                  <a:lnTo>
                    <a:pt x="881" y="1298"/>
                  </a:lnTo>
                  <a:lnTo>
                    <a:pt x="878" y="1297"/>
                  </a:lnTo>
                  <a:lnTo>
                    <a:pt x="876" y="1295"/>
                  </a:lnTo>
                  <a:lnTo>
                    <a:pt x="874" y="1293"/>
                  </a:lnTo>
                  <a:lnTo>
                    <a:pt x="868" y="1287"/>
                  </a:lnTo>
                  <a:lnTo>
                    <a:pt x="865" y="1279"/>
                  </a:lnTo>
                  <a:lnTo>
                    <a:pt x="862" y="1272"/>
                  </a:lnTo>
                  <a:lnTo>
                    <a:pt x="858" y="1264"/>
                  </a:lnTo>
                  <a:lnTo>
                    <a:pt x="857" y="1256"/>
                  </a:lnTo>
                  <a:lnTo>
                    <a:pt x="856" y="1250"/>
                  </a:lnTo>
                  <a:lnTo>
                    <a:pt x="854" y="1248"/>
                  </a:lnTo>
                  <a:lnTo>
                    <a:pt x="851" y="1245"/>
                  </a:lnTo>
                  <a:lnTo>
                    <a:pt x="847" y="1239"/>
                  </a:lnTo>
                  <a:lnTo>
                    <a:pt x="844" y="1232"/>
                  </a:lnTo>
                  <a:lnTo>
                    <a:pt x="839" y="1227"/>
                  </a:lnTo>
                  <a:lnTo>
                    <a:pt x="835" y="1221"/>
                  </a:lnTo>
                  <a:lnTo>
                    <a:pt x="832" y="1219"/>
                  </a:lnTo>
                  <a:lnTo>
                    <a:pt x="828" y="1217"/>
                  </a:lnTo>
                  <a:lnTo>
                    <a:pt x="825" y="1216"/>
                  </a:lnTo>
                  <a:lnTo>
                    <a:pt x="821" y="1216"/>
                  </a:lnTo>
                  <a:lnTo>
                    <a:pt x="821" y="1201"/>
                  </a:lnTo>
                  <a:lnTo>
                    <a:pt x="815" y="1195"/>
                  </a:lnTo>
                  <a:lnTo>
                    <a:pt x="805" y="1191"/>
                  </a:lnTo>
                  <a:lnTo>
                    <a:pt x="794" y="1188"/>
                  </a:lnTo>
                  <a:lnTo>
                    <a:pt x="792" y="1183"/>
                  </a:lnTo>
                  <a:lnTo>
                    <a:pt x="789" y="1179"/>
                  </a:lnTo>
                  <a:lnTo>
                    <a:pt x="786" y="1176"/>
                  </a:lnTo>
                  <a:lnTo>
                    <a:pt x="780" y="1174"/>
                  </a:lnTo>
                  <a:lnTo>
                    <a:pt x="776" y="1170"/>
                  </a:lnTo>
                  <a:lnTo>
                    <a:pt x="766" y="1160"/>
                  </a:lnTo>
                  <a:lnTo>
                    <a:pt x="760" y="1155"/>
                  </a:lnTo>
                  <a:lnTo>
                    <a:pt x="753" y="1151"/>
                  </a:lnTo>
                  <a:lnTo>
                    <a:pt x="749" y="1148"/>
                  </a:lnTo>
                  <a:lnTo>
                    <a:pt x="746" y="1147"/>
                  </a:lnTo>
                  <a:lnTo>
                    <a:pt x="743" y="1139"/>
                  </a:lnTo>
                  <a:lnTo>
                    <a:pt x="739" y="1129"/>
                  </a:lnTo>
                  <a:lnTo>
                    <a:pt x="734" y="1120"/>
                  </a:lnTo>
                  <a:lnTo>
                    <a:pt x="732" y="1112"/>
                  </a:lnTo>
                  <a:lnTo>
                    <a:pt x="729" y="1111"/>
                  </a:lnTo>
                  <a:lnTo>
                    <a:pt x="725" y="1109"/>
                  </a:lnTo>
                  <a:lnTo>
                    <a:pt x="722" y="1105"/>
                  </a:lnTo>
                  <a:lnTo>
                    <a:pt x="719" y="1101"/>
                  </a:lnTo>
                  <a:lnTo>
                    <a:pt x="713" y="1092"/>
                  </a:lnTo>
                  <a:lnTo>
                    <a:pt x="711" y="1084"/>
                  </a:lnTo>
                  <a:lnTo>
                    <a:pt x="706" y="1084"/>
                  </a:lnTo>
                  <a:lnTo>
                    <a:pt x="703" y="1082"/>
                  </a:lnTo>
                  <a:lnTo>
                    <a:pt x="701" y="1080"/>
                  </a:lnTo>
                  <a:lnTo>
                    <a:pt x="699" y="1076"/>
                  </a:lnTo>
                  <a:lnTo>
                    <a:pt x="698" y="1070"/>
                  </a:lnTo>
                  <a:lnTo>
                    <a:pt x="698" y="1064"/>
                  </a:lnTo>
                  <a:lnTo>
                    <a:pt x="691" y="1057"/>
                  </a:lnTo>
                  <a:lnTo>
                    <a:pt x="683" y="1049"/>
                  </a:lnTo>
                  <a:lnTo>
                    <a:pt x="680" y="1049"/>
                  </a:lnTo>
                  <a:lnTo>
                    <a:pt x="677" y="1048"/>
                  </a:lnTo>
                  <a:lnTo>
                    <a:pt x="676" y="1047"/>
                  </a:lnTo>
                  <a:lnTo>
                    <a:pt x="676" y="1046"/>
                  </a:lnTo>
                  <a:lnTo>
                    <a:pt x="676" y="1045"/>
                  </a:lnTo>
                  <a:lnTo>
                    <a:pt x="675" y="1044"/>
                  </a:lnTo>
                  <a:lnTo>
                    <a:pt x="674" y="1043"/>
                  </a:lnTo>
                  <a:lnTo>
                    <a:pt x="670" y="1043"/>
                  </a:lnTo>
                  <a:lnTo>
                    <a:pt x="669" y="1038"/>
                  </a:lnTo>
                  <a:lnTo>
                    <a:pt x="665" y="1033"/>
                  </a:lnTo>
                  <a:lnTo>
                    <a:pt x="661" y="1027"/>
                  </a:lnTo>
                  <a:lnTo>
                    <a:pt x="656" y="1023"/>
                  </a:lnTo>
                  <a:lnTo>
                    <a:pt x="642" y="1023"/>
                  </a:lnTo>
                  <a:lnTo>
                    <a:pt x="642" y="1008"/>
                  </a:lnTo>
                  <a:lnTo>
                    <a:pt x="635" y="1001"/>
                  </a:lnTo>
                  <a:lnTo>
                    <a:pt x="628" y="995"/>
                  </a:lnTo>
                  <a:lnTo>
                    <a:pt x="622" y="988"/>
                  </a:lnTo>
                  <a:lnTo>
                    <a:pt x="615" y="980"/>
                  </a:lnTo>
                  <a:lnTo>
                    <a:pt x="607" y="974"/>
                  </a:lnTo>
                  <a:lnTo>
                    <a:pt x="594" y="974"/>
                  </a:lnTo>
                  <a:lnTo>
                    <a:pt x="580" y="974"/>
                  </a:lnTo>
                  <a:lnTo>
                    <a:pt x="579" y="972"/>
                  </a:lnTo>
                  <a:lnTo>
                    <a:pt x="576" y="971"/>
                  </a:lnTo>
                  <a:lnTo>
                    <a:pt x="571" y="970"/>
                  </a:lnTo>
                  <a:lnTo>
                    <a:pt x="565" y="970"/>
                  </a:lnTo>
                  <a:lnTo>
                    <a:pt x="549" y="969"/>
                  </a:lnTo>
                  <a:lnTo>
                    <a:pt x="530" y="968"/>
                  </a:lnTo>
                  <a:lnTo>
                    <a:pt x="492" y="967"/>
                  </a:lnTo>
                  <a:lnTo>
                    <a:pt x="470" y="967"/>
                  </a:lnTo>
                  <a:lnTo>
                    <a:pt x="462" y="960"/>
                  </a:lnTo>
                  <a:lnTo>
                    <a:pt x="462" y="955"/>
                  </a:lnTo>
                  <a:lnTo>
                    <a:pt x="460" y="949"/>
                  </a:lnTo>
                  <a:lnTo>
                    <a:pt x="456" y="942"/>
                  </a:lnTo>
                  <a:lnTo>
                    <a:pt x="452" y="936"/>
                  </a:lnTo>
                  <a:lnTo>
                    <a:pt x="449" y="928"/>
                  </a:lnTo>
                  <a:lnTo>
                    <a:pt x="445" y="920"/>
                  </a:lnTo>
                  <a:lnTo>
                    <a:pt x="443" y="912"/>
                  </a:lnTo>
                  <a:lnTo>
                    <a:pt x="442" y="904"/>
                  </a:lnTo>
                  <a:lnTo>
                    <a:pt x="440" y="903"/>
                  </a:lnTo>
                  <a:lnTo>
                    <a:pt x="437" y="900"/>
                  </a:lnTo>
                  <a:lnTo>
                    <a:pt x="436" y="893"/>
                  </a:lnTo>
                  <a:lnTo>
                    <a:pt x="436" y="885"/>
                  </a:lnTo>
                  <a:lnTo>
                    <a:pt x="435" y="865"/>
                  </a:lnTo>
                  <a:lnTo>
                    <a:pt x="436" y="841"/>
                  </a:lnTo>
                  <a:lnTo>
                    <a:pt x="440" y="794"/>
                  </a:lnTo>
                  <a:lnTo>
                    <a:pt x="442" y="767"/>
                  </a:lnTo>
                  <a:lnTo>
                    <a:pt x="440" y="766"/>
                  </a:lnTo>
                  <a:lnTo>
                    <a:pt x="437" y="766"/>
                  </a:lnTo>
                  <a:lnTo>
                    <a:pt x="436" y="764"/>
                  </a:lnTo>
                  <a:lnTo>
                    <a:pt x="436" y="763"/>
                  </a:lnTo>
                  <a:lnTo>
                    <a:pt x="435" y="758"/>
                  </a:lnTo>
                  <a:lnTo>
                    <a:pt x="435" y="753"/>
                  </a:lnTo>
                  <a:lnTo>
                    <a:pt x="431" y="753"/>
                  </a:lnTo>
                  <a:lnTo>
                    <a:pt x="429" y="751"/>
                  </a:lnTo>
                  <a:lnTo>
                    <a:pt x="429" y="750"/>
                  </a:lnTo>
                  <a:lnTo>
                    <a:pt x="429" y="749"/>
                  </a:lnTo>
                  <a:lnTo>
                    <a:pt x="427" y="748"/>
                  </a:lnTo>
                  <a:lnTo>
                    <a:pt x="427" y="747"/>
                  </a:lnTo>
                  <a:lnTo>
                    <a:pt x="425" y="746"/>
                  </a:lnTo>
                  <a:lnTo>
                    <a:pt x="421" y="746"/>
                  </a:lnTo>
                  <a:lnTo>
                    <a:pt x="421" y="726"/>
                  </a:lnTo>
                  <a:lnTo>
                    <a:pt x="417" y="725"/>
                  </a:lnTo>
                  <a:lnTo>
                    <a:pt x="415" y="725"/>
                  </a:lnTo>
                  <a:lnTo>
                    <a:pt x="414" y="724"/>
                  </a:lnTo>
                  <a:lnTo>
                    <a:pt x="414" y="722"/>
                  </a:lnTo>
                  <a:lnTo>
                    <a:pt x="414" y="720"/>
                  </a:lnTo>
                  <a:lnTo>
                    <a:pt x="413" y="719"/>
                  </a:lnTo>
                  <a:lnTo>
                    <a:pt x="412" y="719"/>
                  </a:lnTo>
                  <a:lnTo>
                    <a:pt x="407" y="718"/>
                  </a:lnTo>
                  <a:lnTo>
                    <a:pt x="407" y="705"/>
                  </a:lnTo>
                  <a:lnTo>
                    <a:pt x="397" y="698"/>
                  </a:lnTo>
                  <a:lnTo>
                    <a:pt x="386" y="691"/>
                  </a:lnTo>
                  <a:lnTo>
                    <a:pt x="383" y="680"/>
                  </a:lnTo>
                  <a:lnTo>
                    <a:pt x="379" y="670"/>
                  </a:lnTo>
                  <a:lnTo>
                    <a:pt x="373" y="663"/>
                  </a:lnTo>
                  <a:lnTo>
                    <a:pt x="369" y="662"/>
                  </a:lnTo>
                  <a:lnTo>
                    <a:pt x="367" y="661"/>
                  </a:lnTo>
                  <a:lnTo>
                    <a:pt x="363" y="659"/>
                  </a:lnTo>
                  <a:lnTo>
                    <a:pt x="359" y="655"/>
                  </a:lnTo>
                  <a:lnTo>
                    <a:pt x="357" y="652"/>
                  </a:lnTo>
                  <a:lnTo>
                    <a:pt x="355" y="649"/>
                  </a:lnTo>
                  <a:lnTo>
                    <a:pt x="353" y="645"/>
                  </a:lnTo>
                  <a:lnTo>
                    <a:pt x="353" y="642"/>
                  </a:lnTo>
                  <a:lnTo>
                    <a:pt x="297" y="642"/>
                  </a:lnTo>
                  <a:lnTo>
                    <a:pt x="291" y="637"/>
                  </a:lnTo>
                  <a:lnTo>
                    <a:pt x="283" y="629"/>
                  </a:lnTo>
                  <a:lnTo>
                    <a:pt x="278" y="621"/>
                  </a:lnTo>
                  <a:lnTo>
                    <a:pt x="276" y="615"/>
                  </a:lnTo>
                  <a:lnTo>
                    <a:pt x="262" y="615"/>
                  </a:lnTo>
                  <a:lnTo>
                    <a:pt x="262" y="613"/>
                  </a:lnTo>
                  <a:lnTo>
                    <a:pt x="261" y="611"/>
                  </a:lnTo>
                  <a:lnTo>
                    <a:pt x="260" y="610"/>
                  </a:lnTo>
                  <a:lnTo>
                    <a:pt x="258" y="609"/>
                  </a:lnTo>
                  <a:lnTo>
                    <a:pt x="253" y="609"/>
                  </a:lnTo>
                  <a:lnTo>
                    <a:pt x="249" y="607"/>
                  </a:lnTo>
                  <a:lnTo>
                    <a:pt x="248" y="605"/>
                  </a:lnTo>
                  <a:lnTo>
                    <a:pt x="247" y="604"/>
                  </a:lnTo>
                  <a:lnTo>
                    <a:pt x="243" y="603"/>
                  </a:lnTo>
                  <a:lnTo>
                    <a:pt x="241" y="602"/>
                  </a:lnTo>
                  <a:lnTo>
                    <a:pt x="234" y="601"/>
                  </a:lnTo>
                  <a:lnTo>
                    <a:pt x="228" y="601"/>
                  </a:lnTo>
                  <a:lnTo>
                    <a:pt x="226" y="600"/>
                  </a:lnTo>
                  <a:lnTo>
                    <a:pt x="223" y="599"/>
                  </a:lnTo>
                  <a:lnTo>
                    <a:pt x="216" y="597"/>
                  </a:lnTo>
                  <a:lnTo>
                    <a:pt x="210" y="597"/>
                  </a:lnTo>
                  <a:lnTo>
                    <a:pt x="190" y="596"/>
                  </a:lnTo>
                  <a:lnTo>
                    <a:pt x="167" y="595"/>
                  </a:lnTo>
                  <a:lnTo>
                    <a:pt x="123" y="594"/>
                  </a:lnTo>
                  <a:lnTo>
                    <a:pt x="97" y="594"/>
                  </a:lnTo>
                  <a:lnTo>
                    <a:pt x="96" y="592"/>
                  </a:lnTo>
                  <a:lnTo>
                    <a:pt x="96" y="591"/>
                  </a:lnTo>
                  <a:lnTo>
                    <a:pt x="94" y="589"/>
                  </a:lnTo>
                  <a:lnTo>
                    <a:pt x="93" y="589"/>
                  </a:lnTo>
                  <a:lnTo>
                    <a:pt x="88" y="587"/>
                  </a:lnTo>
                  <a:lnTo>
                    <a:pt x="82" y="587"/>
                  </a:lnTo>
                  <a:lnTo>
                    <a:pt x="81" y="585"/>
                  </a:lnTo>
                  <a:lnTo>
                    <a:pt x="76" y="583"/>
                  </a:lnTo>
                  <a:lnTo>
                    <a:pt x="69" y="582"/>
                  </a:lnTo>
                  <a:lnTo>
                    <a:pt x="61" y="582"/>
                  </a:lnTo>
                  <a:lnTo>
                    <a:pt x="45" y="581"/>
                  </a:lnTo>
                  <a:lnTo>
                    <a:pt x="34" y="581"/>
                  </a:lnTo>
                  <a:lnTo>
                    <a:pt x="28" y="574"/>
                  </a:lnTo>
                  <a:lnTo>
                    <a:pt x="28" y="560"/>
                  </a:lnTo>
                  <a:lnTo>
                    <a:pt x="13" y="553"/>
                  </a:lnTo>
                  <a:lnTo>
                    <a:pt x="13" y="543"/>
                  </a:lnTo>
                  <a:lnTo>
                    <a:pt x="13" y="532"/>
                  </a:lnTo>
                  <a:lnTo>
                    <a:pt x="16" y="532"/>
                  </a:lnTo>
                  <a:lnTo>
                    <a:pt x="18" y="530"/>
                  </a:lnTo>
                  <a:lnTo>
                    <a:pt x="19" y="529"/>
                  </a:lnTo>
                  <a:lnTo>
                    <a:pt x="20" y="528"/>
                  </a:lnTo>
                  <a:lnTo>
                    <a:pt x="21" y="524"/>
                  </a:lnTo>
                  <a:lnTo>
                    <a:pt x="21" y="518"/>
                  </a:lnTo>
                  <a:lnTo>
                    <a:pt x="23" y="518"/>
                  </a:lnTo>
                  <a:lnTo>
                    <a:pt x="24" y="516"/>
                  </a:lnTo>
                  <a:lnTo>
                    <a:pt x="26" y="514"/>
                  </a:lnTo>
                  <a:lnTo>
                    <a:pt x="27" y="510"/>
                  </a:lnTo>
                  <a:lnTo>
                    <a:pt x="28" y="504"/>
                  </a:lnTo>
                  <a:lnTo>
                    <a:pt x="28" y="497"/>
                  </a:lnTo>
                  <a:lnTo>
                    <a:pt x="13" y="490"/>
                  </a:lnTo>
                  <a:lnTo>
                    <a:pt x="7" y="484"/>
                  </a:lnTo>
                  <a:lnTo>
                    <a:pt x="0" y="477"/>
                  </a:lnTo>
                  <a:lnTo>
                    <a:pt x="1" y="455"/>
                  </a:lnTo>
                  <a:lnTo>
                    <a:pt x="3" y="429"/>
                  </a:lnTo>
                  <a:lnTo>
                    <a:pt x="5" y="405"/>
                  </a:lnTo>
                  <a:lnTo>
                    <a:pt x="7" y="388"/>
                  </a:lnTo>
                  <a:lnTo>
                    <a:pt x="10" y="385"/>
                  </a:lnTo>
                  <a:lnTo>
                    <a:pt x="16" y="383"/>
                  </a:lnTo>
                  <a:lnTo>
                    <a:pt x="21" y="378"/>
                  </a:lnTo>
                  <a:lnTo>
                    <a:pt x="28" y="372"/>
                  </a:lnTo>
                  <a:lnTo>
                    <a:pt x="40" y="361"/>
                  </a:lnTo>
                  <a:lnTo>
                    <a:pt x="48" y="353"/>
                  </a:lnTo>
                  <a:lnTo>
                    <a:pt x="48" y="332"/>
                  </a:lnTo>
                  <a:lnTo>
                    <a:pt x="50" y="331"/>
                  </a:lnTo>
                  <a:lnTo>
                    <a:pt x="52" y="326"/>
                  </a:lnTo>
                  <a:lnTo>
                    <a:pt x="53" y="321"/>
                  </a:lnTo>
                  <a:lnTo>
                    <a:pt x="55" y="314"/>
                  </a:lnTo>
                  <a:lnTo>
                    <a:pt x="55" y="299"/>
                  </a:lnTo>
                  <a:lnTo>
                    <a:pt x="56" y="291"/>
                  </a:lnTo>
                  <a:lnTo>
                    <a:pt x="58" y="289"/>
                  </a:lnTo>
                  <a:lnTo>
                    <a:pt x="59" y="288"/>
                  </a:lnTo>
                  <a:lnTo>
                    <a:pt x="60" y="286"/>
                  </a:lnTo>
                  <a:lnTo>
                    <a:pt x="61" y="283"/>
                  </a:lnTo>
                  <a:lnTo>
                    <a:pt x="62" y="276"/>
                  </a:lnTo>
                  <a:lnTo>
                    <a:pt x="62" y="269"/>
                  </a:lnTo>
                  <a:lnTo>
                    <a:pt x="66" y="269"/>
                  </a:lnTo>
                  <a:lnTo>
                    <a:pt x="68" y="268"/>
                  </a:lnTo>
                  <a:lnTo>
                    <a:pt x="69" y="267"/>
                  </a:lnTo>
                  <a:lnTo>
                    <a:pt x="69" y="266"/>
                  </a:lnTo>
                  <a:lnTo>
                    <a:pt x="69" y="265"/>
                  </a:lnTo>
                  <a:lnTo>
                    <a:pt x="70" y="264"/>
                  </a:lnTo>
                  <a:lnTo>
                    <a:pt x="72" y="263"/>
                  </a:lnTo>
                  <a:lnTo>
                    <a:pt x="76" y="263"/>
                  </a:lnTo>
                  <a:lnTo>
                    <a:pt x="77" y="259"/>
                  </a:lnTo>
                  <a:lnTo>
                    <a:pt x="78" y="256"/>
                  </a:lnTo>
                  <a:lnTo>
                    <a:pt x="81" y="253"/>
                  </a:lnTo>
                  <a:lnTo>
                    <a:pt x="86" y="248"/>
                  </a:lnTo>
                  <a:lnTo>
                    <a:pt x="98" y="239"/>
                  </a:lnTo>
                  <a:lnTo>
                    <a:pt x="113" y="228"/>
                  </a:lnTo>
                  <a:lnTo>
                    <a:pt x="152" y="203"/>
                  </a:lnTo>
                  <a:lnTo>
                    <a:pt x="197" y="176"/>
                  </a:lnTo>
                  <a:lnTo>
                    <a:pt x="250" y="139"/>
                  </a:lnTo>
                  <a:lnTo>
                    <a:pt x="297" y="105"/>
                  </a:lnTo>
                  <a:lnTo>
                    <a:pt x="330" y="81"/>
                  </a:lnTo>
                  <a:lnTo>
                    <a:pt x="343" y="71"/>
                  </a:lnTo>
                  <a:lnTo>
                    <a:pt x="359" y="72"/>
                  </a:lnTo>
                  <a:lnTo>
                    <a:pt x="372" y="74"/>
                  </a:lnTo>
                  <a:lnTo>
                    <a:pt x="384" y="75"/>
                  </a:lnTo>
                  <a:lnTo>
                    <a:pt x="401" y="76"/>
                  </a:lnTo>
                  <a:lnTo>
                    <a:pt x="407" y="70"/>
                  </a:lnTo>
                  <a:lnTo>
                    <a:pt x="407" y="65"/>
                  </a:lnTo>
                  <a:lnTo>
                    <a:pt x="408" y="64"/>
                  </a:lnTo>
                  <a:lnTo>
                    <a:pt x="410" y="63"/>
                  </a:lnTo>
                  <a:lnTo>
                    <a:pt x="411" y="63"/>
                  </a:lnTo>
                  <a:lnTo>
                    <a:pt x="412" y="63"/>
                  </a:lnTo>
                  <a:lnTo>
                    <a:pt x="413" y="62"/>
                  </a:lnTo>
                  <a:lnTo>
                    <a:pt x="414" y="60"/>
                  </a:lnTo>
                  <a:lnTo>
                    <a:pt x="414" y="56"/>
                  </a:lnTo>
                  <a:lnTo>
                    <a:pt x="429" y="56"/>
                  </a:lnTo>
                  <a:lnTo>
                    <a:pt x="435" y="48"/>
                  </a:lnTo>
                  <a:lnTo>
                    <a:pt x="435" y="46"/>
                  </a:lnTo>
                  <a:lnTo>
                    <a:pt x="439" y="43"/>
                  </a:lnTo>
                  <a:lnTo>
                    <a:pt x="442" y="39"/>
                  </a:lnTo>
                  <a:lnTo>
                    <a:pt x="448" y="36"/>
                  </a:lnTo>
                  <a:lnTo>
                    <a:pt x="460" y="29"/>
                  </a:lnTo>
                  <a:lnTo>
                    <a:pt x="474" y="23"/>
                  </a:lnTo>
                  <a:lnTo>
                    <a:pt x="490" y="17"/>
                  </a:lnTo>
                  <a:lnTo>
                    <a:pt x="504" y="12"/>
                  </a:lnTo>
                  <a:lnTo>
                    <a:pt x="517" y="8"/>
                  </a:lnTo>
                  <a:lnTo>
                    <a:pt x="525" y="7"/>
                  </a:lnTo>
                  <a:lnTo>
                    <a:pt x="526" y="5"/>
                  </a:lnTo>
                  <a:lnTo>
                    <a:pt x="528" y="4"/>
                  </a:lnTo>
                  <a:lnTo>
                    <a:pt x="531" y="3"/>
                  </a:lnTo>
                  <a:lnTo>
                    <a:pt x="536" y="1"/>
                  </a:lnTo>
                  <a:lnTo>
                    <a:pt x="545" y="0"/>
                  </a:lnTo>
                  <a:lnTo>
                    <a:pt x="552" y="0"/>
                  </a:lnTo>
                  <a:lnTo>
                    <a:pt x="554" y="9"/>
                  </a:lnTo>
                  <a:lnTo>
                    <a:pt x="556" y="18"/>
                  </a:lnTo>
                  <a:lnTo>
                    <a:pt x="558" y="26"/>
                  </a:lnTo>
                  <a:lnTo>
                    <a:pt x="559" y="35"/>
                  </a:lnTo>
                  <a:lnTo>
                    <a:pt x="561" y="35"/>
                  </a:lnTo>
                  <a:lnTo>
                    <a:pt x="564" y="36"/>
                  </a:lnTo>
                  <a:lnTo>
                    <a:pt x="565" y="37"/>
                  </a:lnTo>
                  <a:lnTo>
                    <a:pt x="565" y="39"/>
                  </a:lnTo>
                  <a:lnTo>
                    <a:pt x="566" y="44"/>
                  </a:lnTo>
                  <a:lnTo>
                    <a:pt x="566" y="48"/>
                  </a:lnTo>
                  <a:lnTo>
                    <a:pt x="568" y="51"/>
                  </a:lnTo>
                  <a:lnTo>
                    <a:pt x="573" y="53"/>
                  </a:lnTo>
                  <a:lnTo>
                    <a:pt x="576" y="55"/>
                  </a:lnTo>
                  <a:lnTo>
                    <a:pt x="578" y="57"/>
                  </a:lnTo>
                  <a:lnTo>
                    <a:pt x="579" y="61"/>
                  </a:lnTo>
                  <a:lnTo>
                    <a:pt x="580" y="63"/>
                  </a:lnTo>
                  <a:lnTo>
                    <a:pt x="618" y="64"/>
                  </a:lnTo>
                  <a:lnTo>
                    <a:pt x="658" y="66"/>
                  </a:lnTo>
                  <a:lnTo>
                    <a:pt x="698" y="68"/>
                  </a:lnTo>
                  <a:lnTo>
                    <a:pt x="732" y="70"/>
                  </a:lnTo>
                  <a:lnTo>
                    <a:pt x="732" y="72"/>
                  </a:lnTo>
                  <a:lnTo>
                    <a:pt x="736" y="74"/>
                  </a:lnTo>
                  <a:lnTo>
                    <a:pt x="739" y="75"/>
                  </a:lnTo>
                  <a:lnTo>
                    <a:pt x="743" y="75"/>
                  </a:lnTo>
                  <a:lnTo>
                    <a:pt x="752" y="76"/>
                  </a:lnTo>
                  <a:lnTo>
                    <a:pt x="759" y="76"/>
                  </a:lnTo>
                  <a:lnTo>
                    <a:pt x="760" y="81"/>
                  </a:lnTo>
                  <a:lnTo>
                    <a:pt x="760" y="83"/>
                  </a:lnTo>
                  <a:lnTo>
                    <a:pt x="761" y="83"/>
                  </a:lnTo>
                  <a:lnTo>
                    <a:pt x="763" y="83"/>
                  </a:lnTo>
                  <a:lnTo>
                    <a:pt x="765" y="83"/>
                  </a:lnTo>
                  <a:lnTo>
                    <a:pt x="766" y="84"/>
                  </a:lnTo>
                  <a:lnTo>
                    <a:pt x="766" y="86"/>
                  </a:lnTo>
                  <a:lnTo>
                    <a:pt x="767" y="91"/>
                  </a:lnTo>
                  <a:lnTo>
                    <a:pt x="780" y="91"/>
                  </a:lnTo>
                  <a:lnTo>
                    <a:pt x="780" y="104"/>
                  </a:lnTo>
                  <a:lnTo>
                    <a:pt x="785" y="104"/>
                  </a:lnTo>
                  <a:lnTo>
                    <a:pt x="786" y="105"/>
                  </a:lnTo>
                  <a:lnTo>
                    <a:pt x="787" y="106"/>
                  </a:lnTo>
                  <a:lnTo>
                    <a:pt x="787" y="107"/>
                  </a:lnTo>
                  <a:lnTo>
                    <a:pt x="787" y="109"/>
                  </a:lnTo>
                  <a:lnTo>
                    <a:pt x="788" y="110"/>
                  </a:lnTo>
                  <a:lnTo>
                    <a:pt x="790" y="111"/>
                  </a:lnTo>
                  <a:lnTo>
                    <a:pt x="794" y="111"/>
                  </a:lnTo>
                  <a:lnTo>
                    <a:pt x="797" y="121"/>
                  </a:lnTo>
                  <a:lnTo>
                    <a:pt x="801" y="132"/>
                  </a:lnTo>
                  <a:lnTo>
                    <a:pt x="808" y="139"/>
                  </a:lnTo>
                  <a:lnTo>
                    <a:pt x="811" y="139"/>
                  </a:lnTo>
                  <a:lnTo>
                    <a:pt x="814" y="140"/>
                  </a:lnTo>
                  <a:lnTo>
                    <a:pt x="815" y="141"/>
                  </a:lnTo>
                  <a:lnTo>
                    <a:pt x="815" y="142"/>
                  </a:lnTo>
                  <a:lnTo>
                    <a:pt x="815" y="143"/>
                  </a:lnTo>
                  <a:lnTo>
                    <a:pt x="816" y="144"/>
                  </a:lnTo>
                  <a:lnTo>
                    <a:pt x="818" y="145"/>
                  </a:lnTo>
                  <a:lnTo>
                    <a:pt x="821" y="145"/>
                  </a:lnTo>
                  <a:lnTo>
                    <a:pt x="821" y="159"/>
                  </a:lnTo>
                  <a:lnTo>
                    <a:pt x="828" y="160"/>
                  </a:lnTo>
                  <a:lnTo>
                    <a:pt x="835" y="163"/>
                  </a:lnTo>
                  <a:lnTo>
                    <a:pt x="837" y="166"/>
                  </a:lnTo>
                  <a:lnTo>
                    <a:pt x="840" y="168"/>
                  </a:lnTo>
                  <a:lnTo>
                    <a:pt x="842" y="170"/>
                  </a:lnTo>
                  <a:lnTo>
                    <a:pt x="843" y="173"/>
                  </a:lnTo>
                  <a:lnTo>
                    <a:pt x="863" y="173"/>
                  </a:lnTo>
                  <a:lnTo>
                    <a:pt x="863" y="177"/>
                  </a:lnTo>
                  <a:lnTo>
                    <a:pt x="864" y="179"/>
                  </a:lnTo>
                  <a:lnTo>
                    <a:pt x="865" y="180"/>
                  </a:lnTo>
                  <a:lnTo>
                    <a:pt x="866" y="180"/>
                  </a:lnTo>
                  <a:lnTo>
                    <a:pt x="867" y="180"/>
                  </a:lnTo>
                  <a:lnTo>
                    <a:pt x="868" y="181"/>
                  </a:lnTo>
                  <a:lnTo>
                    <a:pt x="869" y="183"/>
                  </a:lnTo>
                  <a:lnTo>
                    <a:pt x="869" y="187"/>
                  </a:lnTo>
                  <a:lnTo>
                    <a:pt x="877" y="189"/>
                  </a:lnTo>
                  <a:lnTo>
                    <a:pt x="887" y="195"/>
                  </a:lnTo>
                  <a:lnTo>
                    <a:pt x="897" y="201"/>
                  </a:lnTo>
                  <a:lnTo>
                    <a:pt x="904" y="208"/>
                  </a:lnTo>
                  <a:lnTo>
                    <a:pt x="904" y="221"/>
                  </a:lnTo>
                  <a:lnTo>
                    <a:pt x="906" y="221"/>
                  </a:lnTo>
                  <a:lnTo>
                    <a:pt x="909" y="222"/>
                  </a:lnTo>
                  <a:lnTo>
                    <a:pt x="910" y="224"/>
                  </a:lnTo>
                  <a:lnTo>
                    <a:pt x="911" y="226"/>
                  </a:lnTo>
                  <a:lnTo>
                    <a:pt x="911" y="230"/>
                  </a:lnTo>
                  <a:lnTo>
                    <a:pt x="912" y="235"/>
                  </a:lnTo>
                  <a:lnTo>
                    <a:pt x="904" y="243"/>
                  </a:lnTo>
                  <a:lnTo>
                    <a:pt x="897" y="249"/>
                  </a:lnTo>
                  <a:lnTo>
                    <a:pt x="884" y="249"/>
                  </a:lnTo>
                  <a:lnTo>
                    <a:pt x="883" y="251"/>
                  </a:lnTo>
                  <a:lnTo>
                    <a:pt x="881" y="255"/>
                  </a:lnTo>
                  <a:lnTo>
                    <a:pt x="877" y="257"/>
                  </a:lnTo>
                  <a:lnTo>
                    <a:pt x="873" y="260"/>
                  </a:lnTo>
                  <a:lnTo>
                    <a:pt x="869" y="264"/>
                  </a:lnTo>
                  <a:lnTo>
                    <a:pt x="866" y="267"/>
                  </a:lnTo>
                  <a:lnTo>
                    <a:pt x="864" y="272"/>
                  </a:lnTo>
                  <a:lnTo>
                    <a:pt x="863" y="277"/>
                  </a:lnTo>
                  <a:lnTo>
                    <a:pt x="859" y="277"/>
                  </a:lnTo>
                  <a:lnTo>
                    <a:pt x="857" y="278"/>
                  </a:lnTo>
                  <a:lnTo>
                    <a:pt x="856" y="279"/>
                  </a:lnTo>
                  <a:lnTo>
                    <a:pt x="856" y="280"/>
                  </a:lnTo>
                  <a:lnTo>
                    <a:pt x="856" y="282"/>
                  </a:lnTo>
                  <a:lnTo>
                    <a:pt x="855" y="283"/>
                  </a:lnTo>
                  <a:lnTo>
                    <a:pt x="853" y="283"/>
                  </a:lnTo>
                  <a:lnTo>
                    <a:pt x="849" y="284"/>
                  </a:lnTo>
                  <a:lnTo>
                    <a:pt x="848" y="291"/>
                  </a:lnTo>
                  <a:lnTo>
                    <a:pt x="844" y="299"/>
                  </a:lnTo>
                  <a:lnTo>
                    <a:pt x="842" y="304"/>
                  </a:lnTo>
                  <a:lnTo>
                    <a:pt x="837" y="308"/>
                  </a:lnTo>
                  <a:lnTo>
                    <a:pt x="834" y="311"/>
                  </a:lnTo>
                  <a:lnTo>
                    <a:pt x="828" y="311"/>
                  </a:lnTo>
                  <a:lnTo>
                    <a:pt x="828" y="325"/>
                  </a:lnTo>
                  <a:lnTo>
                    <a:pt x="821" y="332"/>
                  </a:lnTo>
                  <a:lnTo>
                    <a:pt x="815" y="339"/>
                  </a:lnTo>
                  <a:lnTo>
                    <a:pt x="809" y="341"/>
                  </a:lnTo>
                  <a:lnTo>
                    <a:pt x="805" y="344"/>
                  </a:lnTo>
                  <a:lnTo>
                    <a:pt x="799" y="350"/>
                  </a:lnTo>
                  <a:lnTo>
                    <a:pt x="794" y="356"/>
                  </a:lnTo>
                  <a:lnTo>
                    <a:pt x="787" y="362"/>
                  </a:lnTo>
                  <a:lnTo>
                    <a:pt x="780" y="368"/>
                  </a:lnTo>
                  <a:lnTo>
                    <a:pt x="777" y="370"/>
                  </a:lnTo>
                  <a:lnTo>
                    <a:pt x="773" y="372"/>
                  </a:lnTo>
                  <a:lnTo>
                    <a:pt x="770" y="373"/>
                  </a:lnTo>
                  <a:lnTo>
                    <a:pt x="767" y="373"/>
                  </a:lnTo>
                  <a:lnTo>
                    <a:pt x="767" y="388"/>
                  </a:lnTo>
                  <a:lnTo>
                    <a:pt x="758" y="388"/>
                  </a:lnTo>
                  <a:lnTo>
                    <a:pt x="755" y="389"/>
                  </a:lnTo>
                  <a:lnTo>
                    <a:pt x="752" y="393"/>
                  </a:lnTo>
                  <a:lnTo>
                    <a:pt x="752" y="401"/>
                  </a:lnTo>
                  <a:lnTo>
                    <a:pt x="750" y="401"/>
                  </a:lnTo>
                  <a:lnTo>
                    <a:pt x="749" y="402"/>
                  </a:lnTo>
                  <a:lnTo>
                    <a:pt x="748" y="403"/>
                  </a:lnTo>
                  <a:lnTo>
                    <a:pt x="747" y="405"/>
                  </a:lnTo>
                  <a:lnTo>
                    <a:pt x="746" y="410"/>
                  </a:lnTo>
                  <a:lnTo>
                    <a:pt x="746" y="414"/>
                  </a:lnTo>
                  <a:lnTo>
                    <a:pt x="752" y="421"/>
                  </a:lnTo>
                  <a:lnTo>
                    <a:pt x="767" y="421"/>
                  </a:lnTo>
                  <a:lnTo>
                    <a:pt x="768" y="424"/>
                  </a:lnTo>
                  <a:lnTo>
                    <a:pt x="770" y="426"/>
                  </a:lnTo>
                  <a:lnTo>
                    <a:pt x="775" y="428"/>
                  </a:lnTo>
                  <a:lnTo>
                    <a:pt x="780" y="429"/>
                  </a:lnTo>
                  <a:lnTo>
                    <a:pt x="786" y="431"/>
                  </a:lnTo>
                  <a:lnTo>
                    <a:pt x="789" y="435"/>
                  </a:lnTo>
                  <a:lnTo>
                    <a:pt x="792" y="438"/>
                  </a:lnTo>
                  <a:lnTo>
                    <a:pt x="794" y="442"/>
                  </a:lnTo>
                  <a:lnTo>
                    <a:pt x="808" y="442"/>
                  </a:lnTo>
                  <a:lnTo>
                    <a:pt x="808" y="445"/>
                  </a:lnTo>
                  <a:lnTo>
                    <a:pt x="809" y="447"/>
                  </a:lnTo>
                  <a:lnTo>
                    <a:pt x="810" y="448"/>
                  </a:lnTo>
                  <a:lnTo>
                    <a:pt x="813" y="448"/>
                  </a:lnTo>
                  <a:lnTo>
                    <a:pt x="817" y="449"/>
                  </a:lnTo>
                  <a:lnTo>
                    <a:pt x="821" y="449"/>
                  </a:lnTo>
                  <a:lnTo>
                    <a:pt x="824" y="452"/>
                  </a:lnTo>
                  <a:lnTo>
                    <a:pt x="830" y="458"/>
                  </a:lnTo>
                  <a:lnTo>
                    <a:pt x="839" y="464"/>
                  </a:lnTo>
                  <a:lnTo>
                    <a:pt x="851" y="469"/>
                  </a:lnTo>
                  <a:lnTo>
                    <a:pt x="871" y="479"/>
                  </a:lnTo>
                  <a:lnTo>
                    <a:pt x="884" y="484"/>
                  </a:lnTo>
                  <a:lnTo>
                    <a:pt x="884" y="486"/>
                  </a:lnTo>
                  <a:lnTo>
                    <a:pt x="886" y="488"/>
                  </a:lnTo>
                  <a:lnTo>
                    <a:pt x="888" y="490"/>
                  </a:lnTo>
                  <a:lnTo>
                    <a:pt x="892" y="491"/>
                  </a:lnTo>
                  <a:lnTo>
                    <a:pt x="900" y="494"/>
                  </a:lnTo>
                  <a:lnTo>
                    <a:pt x="910" y="496"/>
                  </a:lnTo>
                  <a:lnTo>
                    <a:pt x="931" y="497"/>
                  </a:lnTo>
                  <a:lnTo>
                    <a:pt x="945" y="497"/>
                  </a:lnTo>
                  <a:lnTo>
                    <a:pt x="954" y="499"/>
                  </a:lnTo>
                  <a:lnTo>
                    <a:pt x="962" y="501"/>
                  </a:lnTo>
                  <a:lnTo>
                    <a:pt x="971" y="506"/>
                  </a:lnTo>
                  <a:lnTo>
                    <a:pt x="980" y="512"/>
                  </a:lnTo>
                  <a:lnTo>
                    <a:pt x="989" y="516"/>
                  </a:lnTo>
                  <a:lnTo>
                    <a:pt x="998" y="520"/>
                  </a:lnTo>
                  <a:lnTo>
                    <a:pt x="1007" y="524"/>
                  </a:lnTo>
                  <a:lnTo>
                    <a:pt x="1015" y="525"/>
                  </a:lnTo>
                  <a:lnTo>
                    <a:pt x="1021" y="536"/>
                  </a:lnTo>
                  <a:lnTo>
                    <a:pt x="1029" y="546"/>
                  </a:lnTo>
                  <a:lnTo>
                    <a:pt x="1032" y="547"/>
                  </a:lnTo>
                  <a:lnTo>
                    <a:pt x="1037" y="549"/>
                  </a:lnTo>
                  <a:lnTo>
                    <a:pt x="1043" y="553"/>
                  </a:lnTo>
                  <a:lnTo>
                    <a:pt x="1048" y="557"/>
                  </a:lnTo>
                  <a:lnTo>
                    <a:pt x="1054" y="562"/>
                  </a:lnTo>
                  <a:lnTo>
                    <a:pt x="1059" y="566"/>
                  </a:lnTo>
                  <a:lnTo>
                    <a:pt x="1061" y="571"/>
                  </a:lnTo>
                  <a:lnTo>
                    <a:pt x="1064" y="574"/>
                  </a:lnTo>
                  <a:lnTo>
                    <a:pt x="1084" y="574"/>
                  </a:lnTo>
                  <a:lnTo>
                    <a:pt x="1085" y="576"/>
                  </a:lnTo>
                  <a:lnTo>
                    <a:pt x="1087" y="577"/>
                  </a:lnTo>
                  <a:lnTo>
                    <a:pt x="1091" y="578"/>
                  </a:lnTo>
                  <a:lnTo>
                    <a:pt x="1095" y="580"/>
                  </a:lnTo>
                  <a:lnTo>
                    <a:pt x="1104" y="581"/>
                  </a:lnTo>
                  <a:lnTo>
                    <a:pt x="1112" y="581"/>
                  </a:lnTo>
                  <a:lnTo>
                    <a:pt x="1114" y="583"/>
                  </a:lnTo>
                  <a:lnTo>
                    <a:pt x="1120" y="584"/>
                  </a:lnTo>
                  <a:lnTo>
                    <a:pt x="1127" y="585"/>
                  </a:lnTo>
                  <a:lnTo>
                    <a:pt x="1136" y="586"/>
                  </a:lnTo>
                  <a:lnTo>
                    <a:pt x="1155" y="587"/>
                  </a:lnTo>
                  <a:lnTo>
                    <a:pt x="1166" y="587"/>
                  </a:lnTo>
                  <a:lnTo>
                    <a:pt x="1174" y="601"/>
                  </a:lnTo>
                  <a:lnTo>
                    <a:pt x="1181" y="615"/>
                  </a:lnTo>
                  <a:lnTo>
                    <a:pt x="1185" y="615"/>
                  </a:lnTo>
                  <a:lnTo>
                    <a:pt x="1190" y="615"/>
                  </a:lnTo>
                  <a:lnTo>
                    <a:pt x="1192" y="616"/>
                  </a:lnTo>
                  <a:lnTo>
                    <a:pt x="1193" y="618"/>
                  </a:lnTo>
                  <a:lnTo>
                    <a:pt x="1194" y="620"/>
                  </a:lnTo>
                  <a:lnTo>
                    <a:pt x="1194" y="622"/>
                  </a:lnTo>
                  <a:lnTo>
                    <a:pt x="1201" y="615"/>
                  </a:lnTo>
                  <a:lnTo>
                    <a:pt x="1222" y="615"/>
                  </a:lnTo>
                  <a:lnTo>
                    <a:pt x="1223" y="612"/>
                  </a:lnTo>
                  <a:lnTo>
                    <a:pt x="1226" y="607"/>
                  </a:lnTo>
                  <a:lnTo>
                    <a:pt x="1229" y="603"/>
                  </a:lnTo>
                  <a:lnTo>
                    <a:pt x="1232" y="599"/>
                  </a:lnTo>
                  <a:lnTo>
                    <a:pt x="1239" y="591"/>
                  </a:lnTo>
                  <a:lnTo>
                    <a:pt x="1242" y="587"/>
                  </a:lnTo>
                  <a:lnTo>
                    <a:pt x="1243" y="577"/>
                  </a:lnTo>
                  <a:lnTo>
                    <a:pt x="1246" y="566"/>
                  </a:lnTo>
                  <a:lnTo>
                    <a:pt x="1249" y="556"/>
                  </a:lnTo>
                  <a:lnTo>
                    <a:pt x="1250" y="546"/>
                  </a:lnTo>
                  <a:lnTo>
                    <a:pt x="1253" y="546"/>
                  </a:lnTo>
                  <a:lnTo>
                    <a:pt x="1256" y="545"/>
                  </a:lnTo>
                  <a:lnTo>
                    <a:pt x="1257" y="544"/>
                  </a:lnTo>
                  <a:lnTo>
                    <a:pt x="1257" y="543"/>
                  </a:lnTo>
                  <a:lnTo>
                    <a:pt x="1257" y="542"/>
                  </a:lnTo>
                  <a:lnTo>
                    <a:pt x="1258" y="541"/>
                  </a:lnTo>
                  <a:lnTo>
                    <a:pt x="1259" y="539"/>
                  </a:lnTo>
                  <a:lnTo>
                    <a:pt x="1264" y="539"/>
                  </a:lnTo>
                  <a:lnTo>
                    <a:pt x="1265" y="534"/>
                  </a:lnTo>
                  <a:lnTo>
                    <a:pt x="1268" y="529"/>
                  </a:lnTo>
                  <a:lnTo>
                    <a:pt x="1272" y="526"/>
                  </a:lnTo>
                  <a:lnTo>
                    <a:pt x="1277" y="525"/>
                  </a:lnTo>
                  <a:lnTo>
                    <a:pt x="1278" y="522"/>
                  </a:lnTo>
                  <a:lnTo>
                    <a:pt x="1278" y="519"/>
                  </a:lnTo>
                  <a:lnTo>
                    <a:pt x="1279" y="518"/>
                  </a:lnTo>
                  <a:lnTo>
                    <a:pt x="1280" y="518"/>
                  </a:lnTo>
                  <a:lnTo>
                    <a:pt x="1283" y="518"/>
                  </a:lnTo>
                  <a:lnTo>
                    <a:pt x="1284" y="517"/>
                  </a:lnTo>
                  <a:lnTo>
                    <a:pt x="1284" y="515"/>
                  </a:lnTo>
                  <a:lnTo>
                    <a:pt x="1285" y="512"/>
                  </a:lnTo>
                  <a:lnTo>
                    <a:pt x="1291" y="510"/>
                  </a:lnTo>
                  <a:lnTo>
                    <a:pt x="1298" y="508"/>
                  </a:lnTo>
                  <a:lnTo>
                    <a:pt x="1305" y="505"/>
                  </a:lnTo>
                  <a:lnTo>
                    <a:pt x="1312" y="501"/>
                  </a:lnTo>
                  <a:lnTo>
                    <a:pt x="1318" y="497"/>
                  </a:lnTo>
                  <a:lnTo>
                    <a:pt x="1325" y="494"/>
                  </a:lnTo>
                  <a:lnTo>
                    <a:pt x="1332" y="491"/>
                  </a:lnTo>
                  <a:lnTo>
                    <a:pt x="1339" y="490"/>
                  </a:lnTo>
                  <a:lnTo>
                    <a:pt x="1343" y="477"/>
                  </a:lnTo>
                  <a:lnTo>
                    <a:pt x="1346" y="464"/>
                  </a:lnTo>
                  <a:lnTo>
                    <a:pt x="1348" y="462"/>
                  </a:lnTo>
                  <a:lnTo>
                    <a:pt x="1351" y="459"/>
                  </a:lnTo>
                  <a:lnTo>
                    <a:pt x="1352" y="453"/>
                  </a:lnTo>
                  <a:lnTo>
                    <a:pt x="1353" y="448"/>
                  </a:lnTo>
                  <a:lnTo>
                    <a:pt x="1353" y="437"/>
                  </a:lnTo>
                  <a:lnTo>
                    <a:pt x="1353" y="429"/>
                  </a:lnTo>
                  <a:lnTo>
                    <a:pt x="1357" y="428"/>
                  </a:lnTo>
                  <a:lnTo>
                    <a:pt x="1360" y="428"/>
                  </a:lnTo>
                  <a:lnTo>
                    <a:pt x="1360" y="427"/>
                  </a:lnTo>
                  <a:lnTo>
                    <a:pt x="1361" y="426"/>
                  </a:lnTo>
                  <a:lnTo>
                    <a:pt x="1361" y="423"/>
                  </a:lnTo>
                  <a:lnTo>
                    <a:pt x="1361" y="422"/>
                  </a:lnTo>
                  <a:lnTo>
                    <a:pt x="1363" y="422"/>
                  </a:lnTo>
                  <a:lnTo>
                    <a:pt x="1367" y="421"/>
                  </a:lnTo>
                  <a:lnTo>
                    <a:pt x="1374" y="408"/>
                  </a:lnTo>
                  <a:lnTo>
                    <a:pt x="1381" y="394"/>
                  </a:lnTo>
                  <a:lnTo>
                    <a:pt x="1394" y="394"/>
                  </a:lnTo>
                  <a:lnTo>
                    <a:pt x="1399" y="380"/>
                  </a:lnTo>
                  <a:lnTo>
                    <a:pt x="1402" y="366"/>
                  </a:lnTo>
                  <a:lnTo>
                    <a:pt x="1409" y="360"/>
                  </a:lnTo>
                  <a:lnTo>
                    <a:pt x="1422" y="360"/>
                  </a:lnTo>
                  <a:lnTo>
                    <a:pt x="1422" y="357"/>
                  </a:lnTo>
                  <a:lnTo>
                    <a:pt x="1423" y="355"/>
                  </a:lnTo>
                  <a:lnTo>
                    <a:pt x="1424" y="354"/>
                  </a:lnTo>
                  <a:lnTo>
                    <a:pt x="1427" y="353"/>
                  </a:lnTo>
                  <a:lnTo>
                    <a:pt x="1431" y="353"/>
                  </a:lnTo>
                  <a:lnTo>
                    <a:pt x="1437" y="353"/>
                  </a:lnTo>
                  <a:lnTo>
                    <a:pt x="1437" y="350"/>
                  </a:lnTo>
                  <a:lnTo>
                    <a:pt x="1439" y="347"/>
                  </a:lnTo>
                  <a:lnTo>
                    <a:pt x="1441" y="345"/>
                  </a:lnTo>
                  <a:lnTo>
                    <a:pt x="1444" y="343"/>
                  </a:lnTo>
                  <a:lnTo>
                    <a:pt x="1451" y="340"/>
                  </a:lnTo>
                  <a:lnTo>
                    <a:pt x="1457" y="339"/>
                  </a:lnTo>
                  <a:lnTo>
                    <a:pt x="1457" y="335"/>
                  </a:lnTo>
                  <a:lnTo>
                    <a:pt x="1458" y="333"/>
                  </a:lnTo>
                  <a:lnTo>
                    <a:pt x="1459" y="332"/>
                  </a:lnTo>
                  <a:lnTo>
                    <a:pt x="1460" y="332"/>
                  </a:lnTo>
                  <a:lnTo>
                    <a:pt x="1461" y="332"/>
                  </a:lnTo>
                  <a:lnTo>
                    <a:pt x="1462" y="331"/>
                  </a:lnTo>
                  <a:lnTo>
                    <a:pt x="1463" y="328"/>
                  </a:lnTo>
                  <a:lnTo>
                    <a:pt x="1463" y="325"/>
                  </a:lnTo>
                  <a:lnTo>
                    <a:pt x="1478" y="325"/>
                  </a:lnTo>
                  <a:lnTo>
                    <a:pt x="1485" y="318"/>
                  </a:lnTo>
                  <a:lnTo>
                    <a:pt x="1479" y="313"/>
                  </a:lnTo>
                  <a:lnTo>
                    <a:pt x="1476" y="310"/>
                  </a:lnTo>
                  <a:lnTo>
                    <a:pt x="1473" y="308"/>
                  </a:lnTo>
                  <a:lnTo>
                    <a:pt x="1473" y="310"/>
                  </a:lnTo>
                  <a:lnTo>
                    <a:pt x="1476" y="316"/>
                  </a:lnTo>
                  <a:lnTo>
                    <a:pt x="1482" y="326"/>
                  </a:lnTo>
                  <a:lnTo>
                    <a:pt x="1489" y="340"/>
                  </a:lnTo>
                  <a:lnTo>
                    <a:pt x="1497" y="354"/>
                  </a:lnTo>
                  <a:lnTo>
                    <a:pt x="1500" y="362"/>
                  </a:lnTo>
                  <a:lnTo>
                    <a:pt x="1502" y="369"/>
                  </a:lnTo>
                  <a:lnTo>
                    <a:pt x="1505" y="375"/>
                  </a:lnTo>
                  <a:lnTo>
                    <a:pt x="1505" y="38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53" name="Freeform 19"/>
            <p:cNvSpPr>
              <a:spLocks noChangeAspect="1"/>
            </p:cNvSpPr>
            <p:nvPr/>
          </p:nvSpPr>
          <p:spPr bwMode="gray">
            <a:xfrm rot="355651">
              <a:off x="5790089" y="3627438"/>
              <a:ext cx="368170" cy="235278"/>
            </a:xfrm>
            <a:custGeom>
              <a:avLst/>
              <a:gdLst/>
              <a:ahLst/>
              <a:cxnLst>
                <a:cxn ang="0">
                  <a:pos x="0" y="556"/>
                </a:cxn>
                <a:cxn ang="0">
                  <a:pos x="65" y="452"/>
                </a:cxn>
                <a:cxn ang="0">
                  <a:pos x="86" y="289"/>
                </a:cxn>
                <a:cxn ang="0">
                  <a:pos x="113" y="241"/>
                </a:cxn>
                <a:cxn ang="0">
                  <a:pos x="235" y="282"/>
                </a:cxn>
                <a:cxn ang="0">
                  <a:pos x="350" y="379"/>
                </a:cxn>
                <a:cxn ang="0">
                  <a:pos x="438" y="411"/>
                </a:cxn>
                <a:cxn ang="0">
                  <a:pos x="551" y="359"/>
                </a:cxn>
                <a:cxn ang="0">
                  <a:pos x="608" y="331"/>
                </a:cxn>
                <a:cxn ang="0">
                  <a:pos x="690" y="287"/>
                </a:cxn>
                <a:cxn ang="0">
                  <a:pos x="725" y="239"/>
                </a:cxn>
                <a:cxn ang="0">
                  <a:pos x="781" y="176"/>
                </a:cxn>
                <a:cxn ang="0">
                  <a:pos x="893" y="44"/>
                </a:cxn>
                <a:cxn ang="0">
                  <a:pos x="953" y="26"/>
                </a:cxn>
                <a:cxn ang="0">
                  <a:pos x="1013" y="3"/>
                </a:cxn>
                <a:cxn ang="0">
                  <a:pos x="1198" y="91"/>
                </a:cxn>
                <a:cxn ang="0">
                  <a:pos x="1275" y="144"/>
                </a:cxn>
                <a:cxn ang="0">
                  <a:pos x="1421" y="219"/>
                </a:cxn>
                <a:cxn ang="0">
                  <a:pos x="1521" y="288"/>
                </a:cxn>
                <a:cxn ang="0">
                  <a:pos x="1594" y="326"/>
                </a:cxn>
                <a:cxn ang="0">
                  <a:pos x="1751" y="388"/>
                </a:cxn>
                <a:cxn ang="0">
                  <a:pos x="1827" y="433"/>
                </a:cxn>
                <a:cxn ang="0">
                  <a:pos x="1905" y="489"/>
                </a:cxn>
                <a:cxn ang="0">
                  <a:pos x="1952" y="511"/>
                </a:cxn>
                <a:cxn ang="0">
                  <a:pos x="1996" y="528"/>
                </a:cxn>
                <a:cxn ang="0">
                  <a:pos x="2023" y="573"/>
                </a:cxn>
                <a:cxn ang="0">
                  <a:pos x="2021" y="681"/>
                </a:cxn>
                <a:cxn ang="0">
                  <a:pos x="1992" y="760"/>
                </a:cxn>
                <a:cxn ang="0">
                  <a:pos x="1975" y="853"/>
                </a:cxn>
                <a:cxn ang="0">
                  <a:pos x="1897" y="911"/>
                </a:cxn>
                <a:cxn ang="0">
                  <a:pos x="1846" y="979"/>
                </a:cxn>
                <a:cxn ang="0">
                  <a:pos x="1765" y="1025"/>
                </a:cxn>
                <a:cxn ang="0">
                  <a:pos x="1725" y="1067"/>
                </a:cxn>
                <a:cxn ang="0">
                  <a:pos x="1671" y="1159"/>
                </a:cxn>
                <a:cxn ang="0">
                  <a:pos x="1665" y="1318"/>
                </a:cxn>
                <a:cxn ang="0">
                  <a:pos x="1610" y="1385"/>
                </a:cxn>
                <a:cxn ang="0">
                  <a:pos x="1472" y="1417"/>
                </a:cxn>
                <a:cxn ang="0">
                  <a:pos x="1328" y="1446"/>
                </a:cxn>
                <a:cxn ang="0">
                  <a:pos x="1228" y="1460"/>
                </a:cxn>
                <a:cxn ang="0">
                  <a:pos x="1112" y="1380"/>
                </a:cxn>
                <a:cxn ang="0">
                  <a:pos x="1039" y="1316"/>
                </a:cxn>
                <a:cxn ang="0">
                  <a:pos x="987" y="1029"/>
                </a:cxn>
                <a:cxn ang="0">
                  <a:pos x="946" y="960"/>
                </a:cxn>
                <a:cxn ang="0">
                  <a:pos x="905" y="985"/>
                </a:cxn>
                <a:cxn ang="0">
                  <a:pos x="835" y="1056"/>
                </a:cxn>
                <a:cxn ang="0">
                  <a:pos x="814" y="1099"/>
                </a:cxn>
                <a:cxn ang="0">
                  <a:pos x="748" y="1153"/>
                </a:cxn>
                <a:cxn ang="0">
                  <a:pos x="724" y="1180"/>
                </a:cxn>
                <a:cxn ang="0">
                  <a:pos x="662" y="1257"/>
                </a:cxn>
                <a:cxn ang="0">
                  <a:pos x="580" y="1216"/>
                </a:cxn>
                <a:cxn ang="0">
                  <a:pos x="500" y="1182"/>
                </a:cxn>
                <a:cxn ang="0">
                  <a:pos x="368" y="1129"/>
                </a:cxn>
                <a:cxn ang="0">
                  <a:pos x="278" y="1083"/>
                </a:cxn>
                <a:cxn ang="0">
                  <a:pos x="214" y="1049"/>
                </a:cxn>
                <a:cxn ang="0">
                  <a:pos x="245" y="1005"/>
                </a:cxn>
                <a:cxn ang="0">
                  <a:pos x="312" y="934"/>
                </a:cxn>
                <a:cxn ang="0">
                  <a:pos x="341" y="895"/>
                </a:cxn>
                <a:cxn ang="0">
                  <a:pos x="372" y="843"/>
                </a:cxn>
                <a:cxn ang="0">
                  <a:pos x="310" y="805"/>
                </a:cxn>
                <a:cxn ang="0">
                  <a:pos x="276" y="774"/>
                </a:cxn>
                <a:cxn ang="0">
                  <a:pos x="234" y="721"/>
                </a:cxn>
                <a:cxn ang="0">
                  <a:pos x="166" y="703"/>
                </a:cxn>
                <a:cxn ang="0">
                  <a:pos x="29" y="670"/>
                </a:cxn>
              </a:cxnLst>
              <a:rect l="0" t="0" r="r" b="b"/>
              <a:pathLst>
                <a:path w="2033" h="1468">
                  <a:moveTo>
                    <a:pt x="10" y="635"/>
                  </a:moveTo>
                  <a:lnTo>
                    <a:pt x="12" y="628"/>
                  </a:lnTo>
                  <a:lnTo>
                    <a:pt x="13" y="619"/>
                  </a:lnTo>
                  <a:lnTo>
                    <a:pt x="13" y="610"/>
                  </a:lnTo>
                  <a:lnTo>
                    <a:pt x="13" y="602"/>
                  </a:lnTo>
                  <a:lnTo>
                    <a:pt x="9" y="602"/>
                  </a:lnTo>
                  <a:lnTo>
                    <a:pt x="7" y="601"/>
                  </a:lnTo>
                  <a:lnTo>
                    <a:pt x="7" y="600"/>
                  </a:lnTo>
                  <a:lnTo>
                    <a:pt x="7" y="599"/>
                  </a:lnTo>
                  <a:lnTo>
                    <a:pt x="7" y="597"/>
                  </a:lnTo>
                  <a:lnTo>
                    <a:pt x="6" y="596"/>
                  </a:lnTo>
                  <a:lnTo>
                    <a:pt x="4" y="595"/>
                  </a:lnTo>
                  <a:lnTo>
                    <a:pt x="0" y="595"/>
                  </a:lnTo>
                  <a:lnTo>
                    <a:pt x="0" y="556"/>
                  </a:lnTo>
                  <a:lnTo>
                    <a:pt x="7" y="549"/>
                  </a:lnTo>
                  <a:lnTo>
                    <a:pt x="23" y="544"/>
                  </a:lnTo>
                  <a:lnTo>
                    <a:pt x="39" y="537"/>
                  </a:lnTo>
                  <a:lnTo>
                    <a:pt x="41" y="533"/>
                  </a:lnTo>
                  <a:lnTo>
                    <a:pt x="43" y="528"/>
                  </a:lnTo>
                  <a:lnTo>
                    <a:pt x="47" y="525"/>
                  </a:lnTo>
                  <a:lnTo>
                    <a:pt x="52" y="524"/>
                  </a:lnTo>
                  <a:lnTo>
                    <a:pt x="58" y="517"/>
                  </a:lnTo>
                  <a:lnTo>
                    <a:pt x="58" y="505"/>
                  </a:lnTo>
                  <a:lnTo>
                    <a:pt x="61" y="503"/>
                  </a:lnTo>
                  <a:lnTo>
                    <a:pt x="62" y="496"/>
                  </a:lnTo>
                  <a:lnTo>
                    <a:pt x="63" y="486"/>
                  </a:lnTo>
                  <a:lnTo>
                    <a:pt x="64" y="475"/>
                  </a:lnTo>
                  <a:lnTo>
                    <a:pt x="65" y="452"/>
                  </a:lnTo>
                  <a:lnTo>
                    <a:pt x="65" y="440"/>
                  </a:lnTo>
                  <a:lnTo>
                    <a:pt x="67" y="436"/>
                  </a:lnTo>
                  <a:lnTo>
                    <a:pt x="70" y="426"/>
                  </a:lnTo>
                  <a:lnTo>
                    <a:pt x="72" y="410"/>
                  </a:lnTo>
                  <a:lnTo>
                    <a:pt x="74" y="393"/>
                  </a:lnTo>
                  <a:lnTo>
                    <a:pt x="76" y="357"/>
                  </a:lnTo>
                  <a:lnTo>
                    <a:pt x="77" y="336"/>
                  </a:lnTo>
                  <a:lnTo>
                    <a:pt x="80" y="334"/>
                  </a:lnTo>
                  <a:lnTo>
                    <a:pt x="82" y="330"/>
                  </a:lnTo>
                  <a:lnTo>
                    <a:pt x="83" y="324"/>
                  </a:lnTo>
                  <a:lnTo>
                    <a:pt x="84" y="316"/>
                  </a:lnTo>
                  <a:lnTo>
                    <a:pt x="84" y="301"/>
                  </a:lnTo>
                  <a:lnTo>
                    <a:pt x="84" y="290"/>
                  </a:lnTo>
                  <a:lnTo>
                    <a:pt x="86" y="289"/>
                  </a:lnTo>
                  <a:lnTo>
                    <a:pt x="89" y="287"/>
                  </a:lnTo>
                  <a:lnTo>
                    <a:pt x="90" y="283"/>
                  </a:lnTo>
                  <a:lnTo>
                    <a:pt x="90" y="277"/>
                  </a:lnTo>
                  <a:lnTo>
                    <a:pt x="91" y="266"/>
                  </a:lnTo>
                  <a:lnTo>
                    <a:pt x="91" y="258"/>
                  </a:lnTo>
                  <a:lnTo>
                    <a:pt x="93" y="258"/>
                  </a:lnTo>
                  <a:lnTo>
                    <a:pt x="94" y="257"/>
                  </a:lnTo>
                  <a:lnTo>
                    <a:pt x="95" y="256"/>
                  </a:lnTo>
                  <a:lnTo>
                    <a:pt x="96" y="255"/>
                  </a:lnTo>
                  <a:lnTo>
                    <a:pt x="97" y="250"/>
                  </a:lnTo>
                  <a:lnTo>
                    <a:pt x="97" y="246"/>
                  </a:lnTo>
                  <a:lnTo>
                    <a:pt x="111" y="246"/>
                  </a:lnTo>
                  <a:lnTo>
                    <a:pt x="111" y="244"/>
                  </a:lnTo>
                  <a:lnTo>
                    <a:pt x="113" y="241"/>
                  </a:lnTo>
                  <a:lnTo>
                    <a:pt x="116" y="239"/>
                  </a:lnTo>
                  <a:lnTo>
                    <a:pt x="122" y="238"/>
                  </a:lnTo>
                  <a:lnTo>
                    <a:pt x="133" y="236"/>
                  </a:lnTo>
                  <a:lnTo>
                    <a:pt x="148" y="235"/>
                  </a:lnTo>
                  <a:lnTo>
                    <a:pt x="176" y="232"/>
                  </a:lnTo>
                  <a:lnTo>
                    <a:pt x="195" y="232"/>
                  </a:lnTo>
                  <a:lnTo>
                    <a:pt x="200" y="238"/>
                  </a:lnTo>
                  <a:lnTo>
                    <a:pt x="207" y="246"/>
                  </a:lnTo>
                  <a:lnTo>
                    <a:pt x="211" y="253"/>
                  </a:lnTo>
                  <a:lnTo>
                    <a:pt x="214" y="258"/>
                  </a:lnTo>
                  <a:lnTo>
                    <a:pt x="227" y="265"/>
                  </a:lnTo>
                  <a:lnTo>
                    <a:pt x="228" y="270"/>
                  </a:lnTo>
                  <a:lnTo>
                    <a:pt x="231" y="276"/>
                  </a:lnTo>
                  <a:lnTo>
                    <a:pt x="235" y="282"/>
                  </a:lnTo>
                  <a:lnTo>
                    <a:pt x="240" y="287"/>
                  </a:lnTo>
                  <a:lnTo>
                    <a:pt x="245" y="294"/>
                  </a:lnTo>
                  <a:lnTo>
                    <a:pt x="249" y="299"/>
                  </a:lnTo>
                  <a:lnTo>
                    <a:pt x="252" y="305"/>
                  </a:lnTo>
                  <a:lnTo>
                    <a:pt x="253" y="311"/>
                  </a:lnTo>
                  <a:lnTo>
                    <a:pt x="266" y="320"/>
                  </a:lnTo>
                  <a:lnTo>
                    <a:pt x="284" y="332"/>
                  </a:lnTo>
                  <a:lnTo>
                    <a:pt x="301" y="344"/>
                  </a:lnTo>
                  <a:lnTo>
                    <a:pt x="311" y="350"/>
                  </a:lnTo>
                  <a:lnTo>
                    <a:pt x="317" y="362"/>
                  </a:lnTo>
                  <a:lnTo>
                    <a:pt x="331" y="362"/>
                  </a:lnTo>
                  <a:lnTo>
                    <a:pt x="334" y="365"/>
                  </a:lnTo>
                  <a:lnTo>
                    <a:pt x="341" y="372"/>
                  </a:lnTo>
                  <a:lnTo>
                    <a:pt x="350" y="379"/>
                  </a:lnTo>
                  <a:lnTo>
                    <a:pt x="356" y="382"/>
                  </a:lnTo>
                  <a:lnTo>
                    <a:pt x="356" y="385"/>
                  </a:lnTo>
                  <a:lnTo>
                    <a:pt x="358" y="388"/>
                  </a:lnTo>
                  <a:lnTo>
                    <a:pt x="359" y="388"/>
                  </a:lnTo>
                  <a:lnTo>
                    <a:pt x="360" y="388"/>
                  </a:lnTo>
                  <a:lnTo>
                    <a:pt x="361" y="388"/>
                  </a:lnTo>
                  <a:lnTo>
                    <a:pt x="362" y="389"/>
                  </a:lnTo>
                  <a:lnTo>
                    <a:pt x="362" y="391"/>
                  </a:lnTo>
                  <a:lnTo>
                    <a:pt x="363" y="394"/>
                  </a:lnTo>
                  <a:lnTo>
                    <a:pt x="377" y="398"/>
                  </a:lnTo>
                  <a:lnTo>
                    <a:pt x="396" y="401"/>
                  </a:lnTo>
                  <a:lnTo>
                    <a:pt x="408" y="414"/>
                  </a:lnTo>
                  <a:lnTo>
                    <a:pt x="423" y="413"/>
                  </a:lnTo>
                  <a:lnTo>
                    <a:pt x="438" y="411"/>
                  </a:lnTo>
                  <a:lnTo>
                    <a:pt x="454" y="408"/>
                  </a:lnTo>
                  <a:lnTo>
                    <a:pt x="468" y="404"/>
                  </a:lnTo>
                  <a:lnTo>
                    <a:pt x="483" y="401"/>
                  </a:lnTo>
                  <a:lnTo>
                    <a:pt x="496" y="398"/>
                  </a:lnTo>
                  <a:lnTo>
                    <a:pt x="508" y="395"/>
                  </a:lnTo>
                  <a:lnTo>
                    <a:pt x="518" y="394"/>
                  </a:lnTo>
                  <a:lnTo>
                    <a:pt x="525" y="388"/>
                  </a:lnTo>
                  <a:lnTo>
                    <a:pt x="532" y="382"/>
                  </a:lnTo>
                  <a:lnTo>
                    <a:pt x="533" y="376"/>
                  </a:lnTo>
                  <a:lnTo>
                    <a:pt x="535" y="373"/>
                  </a:lnTo>
                  <a:lnTo>
                    <a:pt x="540" y="370"/>
                  </a:lnTo>
                  <a:lnTo>
                    <a:pt x="544" y="369"/>
                  </a:lnTo>
                  <a:lnTo>
                    <a:pt x="551" y="362"/>
                  </a:lnTo>
                  <a:lnTo>
                    <a:pt x="551" y="359"/>
                  </a:lnTo>
                  <a:lnTo>
                    <a:pt x="552" y="356"/>
                  </a:lnTo>
                  <a:lnTo>
                    <a:pt x="553" y="355"/>
                  </a:lnTo>
                  <a:lnTo>
                    <a:pt x="554" y="355"/>
                  </a:lnTo>
                  <a:lnTo>
                    <a:pt x="555" y="355"/>
                  </a:lnTo>
                  <a:lnTo>
                    <a:pt x="556" y="355"/>
                  </a:lnTo>
                  <a:lnTo>
                    <a:pt x="557" y="353"/>
                  </a:lnTo>
                  <a:lnTo>
                    <a:pt x="557" y="350"/>
                  </a:lnTo>
                  <a:lnTo>
                    <a:pt x="570" y="346"/>
                  </a:lnTo>
                  <a:lnTo>
                    <a:pt x="583" y="343"/>
                  </a:lnTo>
                  <a:lnTo>
                    <a:pt x="584" y="341"/>
                  </a:lnTo>
                  <a:lnTo>
                    <a:pt x="588" y="338"/>
                  </a:lnTo>
                  <a:lnTo>
                    <a:pt x="592" y="336"/>
                  </a:lnTo>
                  <a:lnTo>
                    <a:pt x="596" y="334"/>
                  </a:lnTo>
                  <a:lnTo>
                    <a:pt x="608" y="331"/>
                  </a:lnTo>
                  <a:lnTo>
                    <a:pt x="615" y="330"/>
                  </a:lnTo>
                  <a:lnTo>
                    <a:pt x="622" y="325"/>
                  </a:lnTo>
                  <a:lnTo>
                    <a:pt x="632" y="321"/>
                  </a:lnTo>
                  <a:lnTo>
                    <a:pt x="643" y="318"/>
                  </a:lnTo>
                  <a:lnTo>
                    <a:pt x="655" y="317"/>
                  </a:lnTo>
                  <a:lnTo>
                    <a:pt x="655" y="315"/>
                  </a:lnTo>
                  <a:lnTo>
                    <a:pt x="656" y="313"/>
                  </a:lnTo>
                  <a:lnTo>
                    <a:pt x="657" y="312"/>
                  </a:lnTo>
                  <a:lnTo>
                    <a:pt x="658" y="311"/>
                  </a:lnTo>
                  <a:lnTo>
                    <a:pt x="662" y="311"/>
                  </a:lnTo>
                  <a:lnTo>
                    <a:pt x="667" y="311"/>
                  </a:lnTo>
                  <a:lnTo>
                    <a:pt x="673" y="297"/>
                  </a:lnTo>
                  <a:lnTo>
                    <a:pt x="680" y="290"/>
                  </a:lnTo>
                  <a:lnTo>
                    <a:pt x="690" y="287"/>
                  </a:lnTo>
                  <a:lnTo>
                    <a:pt x="699" y="285"/>
                  </a:lnTo>
                  <a:lnTo>
                    <a:pt x="700" y="278"/>
                  </a:lnTo>
                  <a:lnTo>
                    <a:pt x="704" y="273"/>
                  </a:lnTo>
                  <a:lnTo>
                    <a:pt x="706" y="269"/>
                  </a:lnTo>
                  <a:lnTo>
                    <a:pt x="708" y="267"/>
                  </a:lnTo>
                  <a:lnTo>
                    <a:pt x="710" y="266"/>
                  </a:lnTo>
                  <a:lnTo>
                    <a:pt x="713" y="265"/>
                  </a:lnTo>
                  <a:lnTo>
                    <a:pt x="714" y="259"/>
                  </a:lnTo>
                  <a:lnTo>
                    <a:pt x="715" y="255"/>
                  </a:lnTo>
                  <a:lnTo>
                    <a:pt x="717" y="251"/>
                  </a:lnTo>
                  <a:lnTo>
                    <a:pt x="719" y="249"/>
                  </a:lnTo>
                  <a:lnTo>
                    <a:pt x="721" y="246"/>
                  </a:lnTo>
                  <a:lnTo>
                    <a:pt x="724" y="244"/>
                  </a:lnTo>
                  <a:lnTo>
                    <a:pt x="725" y="239"/>
                  </a:lnTo>
                  <a:lnTo>
                    <a:pt x="726" y="232"/>
                  </a:lnTo>
                  <a:lnTo>
                    <a:pt x="729" y="232"/>
                  </a:lnTo>
                  <a:lnTo>
                    <a:pt x="733" y="231"/>
                  </a:lnTo>
                  <a:lnTo>
                    <a:pt x="736" y="230"/>
                  </a:lnTo>
                  <a:lnTo>
                    <a:pt x="738" y="229"/>
                  </a:lnTo>
                  <a:lnTo>
                    <a:pt x="740" y="225"/>
                  </a:lnTo>
                  <a:lnTo>
                    <a:pt x="745" y="220"/>
                  </a:lnTo>
                  <a:lnTo>
                    <a:pt x="746" y="216"/>
                  </a:lnTo>
                  <a:lnTo>
                    <a:pt x="751" y="210"/>
                  </a:lnTo>
                  <a:lnTo>
                    <a:pt x="755" y="202"/>
                  </a:lnTo>
                  <a:lnTo>
                    <a:pt x="762" y="195"/>
                  </a:lnTo>
                  <a:lnTo>
                    <a:pt x="768" y="187"/>
                  </a:lnTo>
                  <a:lnTo>
                    <a:pt x="775" y="180"/>
                  </a:lnTo>
                  <a:lnTo>
                    <a:pt x="781" y="176"/>
                  </a:lnTo>
                  <a:lnTo>
                    <a:pt x="784" y="174"/>
                  </a:lnTo>
                  <a:lnTo>
                    <a:pt x="785" y="168"/>
                  </a:lnTo>
                  <a:lnTo>
                    <a:pt x="787" y="161"/>
                  </a:lnTo>
                  <a:lnTo>
                    <a:pt x="791" y="154"/>
                  </a:lnTo>
                  <a:lnTo>
                    <a:pt x="795" y="147"/>
                  </a:lnTo>
                  <a:lnTo>
                    <a:pt x="807" y="130"/>
                  </a:lnTo>
                  <a:lnTo>
                    <a:pt x="821" y="114"/>
                  </a:lnTo>
                  <a:lnTo>
                    <a:pt x="835" y="97"/>
                  </a:lnTo>
                  <a:lnTo>
                    <a:pt x="850" y="83"/>
                  </a:lnTo>
                  <a:lnTo>
                    <a:pt x="861" y="68"/>
                  </a:lnTo>
                  <a:lnTo>
                    <a:pt x="868" y="58"/>
                  </a:lnTo>
                  <a:lnTo>
                    <a:pt x="874" y="56"/>
                  </a:lnTo>
                  <a:lnTo>
                    <a:pt x="884" y="51"/>
                  </a:lnTo>
                  <a:lnTo>
                    <a:pt x="893" y="44"/>
                  </a:lnTo>
                  <a:lnTo>
                    <a:pt x="900" y="38"/>
                  </a:lnTo>
                  <a:lnTo>
                    <a:pt x="906" y="38"/>
                  </a:lnTo>
                  <a:lnTo>
                    <a:pt x="912" y="37"/>
                  </a:lnTo>
                  <a:lnTo>
                    <a:pt x="916" y="37"/>
                  </a:lnTo>
                  <a:lnTo>
                    <a:pt x="918" y="36"/>
                  </a:lnTo>
                  <a:lnTo>
                    <a:pt x="919" y="34"/>
                  </a:lnTo>
                  <a:lnTo>
                    <a:pt x="920" y="32"/>
                  </a:lnTo>
                  <a:lnTo>
                    <a:pt x="939" y="32"/>
                  </a:lnTo>
                  <a:lnTo>
                    <a:pt x="939" y="29"/>
                  </a:lnTo>
                  <a:lnTo>
                    <a:pt x="940" y="28"/>
                  </a:lnTo>
                  <a:lnTo>
                    <a:pt x="941" y="27"/>
                  </a:lnTo>
                  <a:lnTo>
                    <a:pt x="944" y="26"/>
                  </a:lnTo>
                  <a:lnTo>
                    <a:pt x="947" y="26"/>
                  </a:lnTo>
                  <a:lnTo>
                    <a:pt x="953" y="26"/>
                  </a:lnTo>
                  <a:lnTo>
                    <a:pt x="953" y="22"/>
                  </a:lnTo>
                  <a:lnTo>
                    <a:pt x="954" y="19"/>
                  </a:lnTo>
                  <a:lnTo>
                    <a:pt x="954" y="19"/>
                  </a:lnTo>
                  <a:lnTo>
                    <a:pt x="956" y="19"/>
                  </a:lnTo>
                  <a:lnTo>
                    <a:pt x="957" y="19"/>
                  </a:lnTo>
                  <a:lnTo>
                    <a:pt x="958" y="18"/>
                  </a:lnTo>
                  <a:lnTo>
                    <a:pt x="958" y="16"/>
                  </a:lnTo>
                  <a:lnTo>
                    <a:pt x="958" y="13"/>
                  </a:lnTo>
                  <a:lnTo>
                    <a:pt x="973" y="11"/>
                  </a:lnTo>
                  <a:lnTo>
                    <a:pt x="985" y="9"/>
                  </a:lnTo>
                  <a:lnTo>
                    <a:pt x="997" y="7"/>
                  </a:lnTo>
                  <a:lnTo>
                    <a:pt x="1011" y="6"/>
                  </a:lnTo>
                  <a:lnTo>
                    <a:pt x="1011" y="4"/>
                  </a:lnTo>
                  <a:lnTo>
                    <a:pt x="1013" y="3"/>
                  </a:lnTo>
                  <a:lnTo>
                    <a:pt x="1016" y="1"/>
                  </a:lnTo>
                  <a:lnTo>
                    <a:pt x="1020" y="0"/>
                  </a:lnTo>
                  <a:lnTo>
                    <a:pt x="1030" y="0"/>
                  </a:lnTo>
                  <a:lnTo>
                    <a:pt x="1041" y="1"/>
                  </a:lnTo>
                  <a:lnTo>
                    <a:pt x="1062" y="4"/>
                  </a:lnTo>
                  <a:lnTo>
                    <a:pt x="1075" y="6"/>
                  </a:lnTo>
                  <a:lnTo>
                    <a:pt x="1094" y="16"/>
                  </a:lnTo>
                  <a:lnTo>
                    <a:pt x="1137" y="40"/>
                  </a:lnTo>
                  <a:lnTo>
                    <a:pt x="1159" y="55"/>
                  </a:lnTo>
                  <a:lnTo>
                    <a:pt x="1179" y="68"/>
                  </a:lnTo>
                  <a:lnTo>
                    <a:pt x="1187" y="75"/>
                  </a:lnTo>
                  <a:lnTo>
                    <a:pt x="1193" y="81"/>
                  </a:lnTo>
                  <a:lnTo>
                    <a:pt x="1197" y="86"/>
                  </a:lnTo>
                  <a:lnTo>
                    <a:pt x="1198" y="91"/>
                  </a:lnTo>
                  <a:lnTo>
                    <a:pt x="1205" y="92"/>
                  </a:lnTo>
                  <a:lnTo>
                    <a:pt x="1210" y="94"/>
                  </a:lnTo>
                  <a:lnTo>
                    <a:pt x="1214" y="99"/>
                  </a:lnTo>
                  <a:lnTo>
                    <a:pt x="1218" y="103"/>
                  </a:lnTo>
                  <a:lnTo>
                    <a:pt x="1223" y="107"/>
                  </a:lnTo>
                  <a:lnTo>
                    <a:pt x="1228" y="112"/>
                  </a:lnTo>
                  <a:lnTo>
                    <a:pt x="1232" y="114"/>
                  </a:lnTo>
                  <a:lnTo>
                    <a:pt x="1235" y="115"/>
                  </a:lnTo>
                  <a:lnTo>
                    <a:pt x="1239" y="115"/>
                  </a:lnTo>
                  <a:lnTo>
                    <a:pt x="1244" y="116"/>
                  </a:lnTo>
                  <a:lnTo>
                    <a:pt x="1263" y="129"/>
                  </a:lnTo>
                  <a:lnTo>
                    <a:pt x="1266" y="134"/>
                  </a:lnTo>
                  <a:lnTo>
                    <a:pt x="1271" y="139"/>
                  </a:lnTo>
                  <a:lnTo>
                    <a:pt x="1275" y="144"/>
                  </a:lnTo>
                  <a:lnTo>
                    <a:pt x="1281" y="150"/>
                  </a:lnTo>
                  <a:lnTo>
                    <a:pt x="1295" y="161"/>
                  </a:lnTo>
                  <a:lnTo>
                    <a:pt x="1312" y="171"/>
                  </a:lnTo>
                  <a:lnTo>
                    <a:pt x="1329" y="180"/>
                  </a:lnTo>
                  <a:lnTo>
                    <a:pt x="1347" y="188"/>
                  </a:lnTo>
                  <a:lnTo>
                    <a:pt x="1356" y="190"/>
                  </a:lnTo>
                  <a:lnTo>
                    <a:pt x="1364" y="192"/>
                  </a:lnTo>
                  <a:lnTo>
                    <a:pt x="1372" y="193"/>
                  </a:lnTo>
                  <a:lnTo>
                    <a:pt x="1380" y="193"/>
                  </a:lnTo>
                  <a:lnTo>
                    <a:pt x="1386" y="199"/>
                  </a:lnTo>
                  <a:lnTo>
                    <a:pt x="1394" y="205"/>
                  </a:lnTo>
                  <a:lnTo>
                    <a:pt x="1402" y="210"/>
                  </a:lnTo>
                  <a:lnTo>
                    <a:pt x="1412" y="215"/>
                  </a:lnTo>
                  <a:lnTo>
                    <a:pt x="1421" y="219"/>
                  </a:lnTo>
                  <a:lnTo>
                    <a:pt x="1430" y="222"/>
                  </a:lnTo>
                  <a:lnTo>
                    <a:pt x="1438" y="226"/>
                  </a:lnTo>
                  <a:lnTo>
                    <a:pt x="1445" y="226"/>
                  </a:lnTo>
                  <a:lnTo>
                    <a:pt x="1450" y="239"/>
                  </a:lnTo>
                  <a:lnTo>
                    <a:pt x="1455" y="239"/>
                  </a:lnTo>
                  <a:lnTo>
                    <a:pt x="1459" y="241"/>
                  </a:lnTo>
                  <a:lnTo>
                    <a:pt x="1464" y="244"/>
                  </a:lnTo>
                  <a:lnTo>
                    <a:pt x="1468" y="247"/>
                  </a:lnTo>
                  <a:lnTo>
                    <a:pt x="1478" y="256"/>
                  </a:lnTo>
                  <a:lnTo>
                    <a:pt x="1490" y="265"/>
                  </a:lnTo>
                  <a:lnTo>
                    <a:pt x="1501" y="275"/>
                  </a:lnTo>
                  <a:lnTo>
                    <a:pt x="1511" y="283"/>
                  </a:lnTo>
                  <a:lnTo>
                    <a:pt x="1516" y="286"/>
                  </a:lnTo>
                  <a:lnTo>
                    <a:pt x="1521" y="288"/>
                  </a:lnTo>
                  <a:lnTo>
                    <a:pt x="1525" y="290"/>
                  </a:lnTo>
                  <a:lnTo>
                    <a:pt x="1529" y="290"/>
                  </a:lnTo>
                  <a:lnTo>
                    <a:pt x="1529" y="294"/>
                  </a:lnTo>
                  <a:lnTo>
                    <a:pt x="1531" y="296"/>
                  </a:lnTo>
                  <a:lnTo>
                    <a:pt x="1533" y="298"/>
                  </a:lnTo>
                  <a:lnTo>
                    <a:pt x="1536" y="301"/>
                  </a:lnTo>
                  <a:lnTo>
                    <a:pt x="1542" y="305"/>
                  </a:lnTo>
                  <a:lnTo>
                    <a:pt x="1548" y="311"/>
                  </a:lnTo>
                  <a:lnTo>
                    <a:pt x="1568" y="311"/>
                  </a:lnTo>
                  <a:lnTo>
                    <a:pt x="1571" y="315"/>
                  </a:lnTo>
                  <a:lnTo>
                    <a:pt x="1575" y="318"/>
                  </a:lnTo>
                  <a:lnTo>
                    <a:pt x="1581" y="321"/>
                  </a:lnTo>
                  <a:lnTo>
                    <a:pt x="1588" y="323"/>
                  </a:lnTo>
                  <a:lnTo>
                    <a:pt x="1594" y="326"/>
                  </a:lnTo>
                  <a:lnTo>
                    <a:pt x="1601" y="328"/>
                  </a:lnTo>
                  <a:lnTo>
                    <a:pt x="1608" y="332"/>
                  </a:lnTo>
                  <a:lnTo>
                    <a:pt x="1612" y="336"/>
                  </a:lnTo>
                  <a:lnTo>
                    <a:pt x="1626" y="337"/>
                  </a:lnTo>
                  <a:lnTo>
                    <a:pt x="1638" y="342"/>
                  </a:lnTo>
                  <a:lnTo>
                    <a:pt x="1651" y="346"/>
                  </a:lnTo>
                  <a:lnTo>
                    <a:pt x="1664" y="352"/>
                  </a:lnTo>
                  <a:lnTo>
                    <a:pt x="1676" y="359"/>
                  </a:lnTo>
                  <a:lnTo>
                    <a:pt x="1688" y="363"/>
                  </a:lnTo>
                  <a:lnTo>
                    <a:pt x="1699" y="367"/>
                  </a:lnTo>
                  <a:lnTo>
                    <a:pt x="1709" y="369"/>
                  </a:lnTo>
                  <a:lnTo>
                    <a:pt x="1723" y="382"/>
                  </a:lnTo>
                  <a:lnTo>
                    <a:pt x="1742" y="382"/>
                  </a:lnTo>
                  <a:lnTo>
                    <a:pt x="1751" y="388"/>
                  </a:lnTo>
                  <a:lnTo>
                    <a:pt x="1763" y="393"/>
                  </a:lnTo>
                  <a:lnTo>
                    <a:pt x="1770" y="397"/>
                  </a:lnTo>
                  <a:lnTo>
                    <a:pt x="1776" y="399"/>
                  </a:lnTo>
                  <a:lnTo>
                    <a:pt x="1782" y="400"/>
                  </a:lnTo>
                  <a:lnTo>
                    <a:pt x="1788" y="401"/>
                  </a:lnTo>
                  <a:lnTo>
                    <a:pt x="1788" y="403"/>
                  </a:lnTo>
                  <a:lnTo>
                    <a:pt x="1789" y="404"/>
                  </a:lnTo>
                  <a:lnTo>
                    <a:pt x="1790" y="405"/>
                  </a:lnTo>
                  <a:lnTo>
                    <a:pt x="1792" y="407"/>
                  </a:lnTo>
                  <a:lnTo>
                    <a:pt x="1795" y="408"/>
                  </a:lnTo>
                  <a:lnTo>
                    <a:pt x="1801" y="408"/>
                  </a:lnTo>
                  <a:lnTo>
                    <a:pt x="1807" y="414"/>
                  </a:lnTo>
                  <a:lnTo>
                    <a:pt x="1813" y="427"/>
                  </a:lnTo>
                  <a:lnTo>
                    <a:pt x="1827" y="433"/>
                  </a:lnTo>
                  <a:lnTo>
                    <a:pt x="1839" y="440"/>
                  </a:lnTo>
                  <a:lnTo>
                    <a:pt x="1841" y="443"/>
                  </a:lnTo>
                  <a:lnTo>
                    <a:pt x="1846" y="448"/>
                  </a:lnTo>
                  <a:lnTo>
                    <a:pt x="1852" y="453"/>
                  </a:lnTo>
                  <a:lnTo>
                    <a:pt x="1860" y="458"/>
                  </a:lnTo>
                  <a:lnTo>
                    <a:pt x="1875" y="468"/>
                  </a:lnTo>
                  <a:lnTo>
                    <a:pt x="1885" y="472"/>
                  </a:lnTo>
                  <a:lnTo>
                    <a:pt x="1886" y="475"/>
                  </a:lnTo>
                  <a:lnTo>
                    <a:pt x="1887" y="477"/>
                  </a:lnTo>
                  <a:lnTo>
                    <a:pt x="1889" y="479"/>
                  </a:lnTo>
                  <a:lnTo>
                    <a:pt x="1893" y="481"/>
                  </a:lnTo>
                  <a:lnTo>
                    <a:pt x="1898" y="484"/>
                  </a:lnTo>
                  <a:lnTo>
                    <a:pt x="1904" y="485"/>
                  </a:lnTo>
                  <a:lnTo>
                    <a:pt x="1905" y="489"/>
                  </a:lnTo>
                  <a:lnTo>
                    <a:pt x="1905" y="490"/>
                  </a:lnTo>
                  <a:lnTo>
                    <a:pt x="1906" y="491"/>
                  </a:lnTo>
                  <a:lnTo>
                    <a:pt x="1907" y="491"/>
                  </a:lnTo>
                  <a:lnTo>
                    <a:pt x="1908" y="491"/>
                  </a:lnTo>
                  <a:lnTo>
                    <a:pt x="1909" y="492"/>
                  </a:lnTo>
                  <a:lnTo>
                    <a:pt x="1910" y="495"/>
                  </a:lnTo>
                  <a:lnTo>
                    <a:pt x="1910" y="498"/>
                  </a:lnTo>
                  <a:lnTo>
                    <a:pt x="1920" y="499"/>
                  </a:lnTo>
                  <a:lnTo>
                    <a:pt x="1930" y="501"/>
                  </a:lnTo>
                  <a:lnTo>
                    <a:pt x="1939" y="504"/>
                  </a:lnTo>
                  <a:lnTo>
                    <a:pt x="1949" y="505"/>
                  </a:lnTo>
                  <a:lnTo>
                    <a:pt x="1949" y="508"/>
                  </a:lnTo>
                  <a:lnTo>
                    <a:pt x="1951" y="510"/>
                  </a:lnTo>
                  <a:lnTo>
                    <a:pt x="1952" y="511"/>
                  </a:lnTo>
                  <a:lnTo>
                    <a:pt x="1953" y="511"/>
                  </a:lnTo>
                  <a:lnTo>
                    <a:pt x="1954" y="511"/>
                  </a:lnTo>
                  <a:lnTo>
                    <a:pt x="1955" y="511"/>
                  </a:lnTo>
                  <a:lnTo>
                    <a:pt x="1956" y="514"/>
                  </a:lnTo>
                  <a:lnTo>
                    <a:pt x="1956" y="517"/>
                  </a:lnTo>
                  <a:lnTo>
                    <a:pt x="1975" y="517"/>
                  </a:lnTo>
                  <a:lnTo>
                    <a:pt x="1976" y="519"/>
                  </a:lnTo>
                  <a:lnTo>
                    <a:pt x="1977" y="522"/>
                  </a:lnTo>
                  <a:lnTo>
                    <a:pt x="1980" y="523"/>
                  </a:lnTo>
                  <a:lnTo>
                    <a:pt x="1983" y="523"/>
                  </a:lnTo>
                  <a:lnTo>
                    <a:pt x="1990" y="524"/>
                  </a:lnTo>
                  <a:lnTo>
                    <a:pt x="1995" y="524"/>
                  </a:lnTo>
                  <a:lnTo>
                    <a:pt x="1995" y="526"/>
                  </a:lnTo>
                  <a:lnTo>
                    <a:pt x="1996" y="528"/>
                  </a:lnTo>
                  <a:lnTo>
                    <a:pt x="1997" y="529"/>
                  </a:lnTo>
                  <a:lnTo>
                    <a:pt x="1999" y="529"/>
                  </a:lnTo>
                  <a:lnTo>
                    <a:pt x="2003" y="530"/>
                  </a:lnTo>
                  <a:lnTo>
                    <a:pt x="2007" y="530"/>
                  </a:lnTo>
                  <a:lnTo>
                    <a:pt x="2007" y="544"/>
                  </a:lnTo>
                  <a:lnTo>
                    <a:pt x="2012" y="544"/>
                  </a:lnTo>
                  <a:lnTo>
                    <a:pt x="2013" y="545"/>
                  </a:lnTo>
                  <a:lnTo>
                    <a:pt x="2014" y="545"/>
                  </a:lnTo>
                  <a:lnTo>
                    <a:pt x="2014" y="547"/>
                  </a:lnTo>
                  <a:lnTo>
                    <a:pt x="2014" y="548"/>
                  </a:lnTo>
                  <a:lnTo>
                    <a:pt x="2015" y="549"/>
                  </a:lnTo>
                  <a:lnTo>
                    <a:pt x="2018" y="549"/>
                  </a:lnTo>
                  <a:lnTo>
                    <a:pt x="2021" y="549"/>
                  </a:lnTo>
                  <a:lnTo>
                    <a:pt x="2023" y="573"/>
                  </a:lnTo>
                  <a:lnTo>
                    <a:pt x="2028" y="600"/>
                  </a:lnTo>
                  <a:lnTo>
                    <a:pt x="2032" y="628"/>
                  </a:lnTo>
                  <a:lnTo>
                    <a:pt x="2033" y="653"/>
                  </a:lnTo>
                  <a:lnTo>
                    <a:pt x="2032" y="654"/>
                  </a:lnTo>
                  <a:lnTo>
                    <a:pt x="2030" y="655"/>
                  </a:lnTo>
                  <a:lnTo>
                    <a:pt x="2029" y="658"/>
                  </a:lnTo>
                  <a:lnTo>
                    <a:pt x="2028" y="661"/>
                  </a:lnTo>
                  <a:lnTo>
                    <a:pt x="2028" y="667"/>
                  </a:lnTo>
                  <a:lnTo>
                    <a:pt x="2028" y="673"/>
                  </a:lnTo>
                  <a:lnTo>
                    <a:pt x="2025" y="673"/>
                  </a:lnTo>
                  <a:lnTo>
                    <a:pt x="2023" y="674"/>
                  </a:lnTo>
                  <a:lnTo>
                    <a:pt x="2022" y="676"/>
                  </a:lnTo>
                  <a:lnTo>
                    <a:pt x="2022" y="677"/>
                  </a:lnTo>
                  <a:lnTo>
                    <a:pt x="2021" y="681"/>
                  </a:lnTo>
                  <a:lnTo>
                    <a:pt x="2021" y="686"/>
                  </a:lnTo>
                  <a:lnTo>
                    <a:pt x="2007" y="686"/>
                  </a:lnTo>
                  <a:lnTo>
                    <a:pt x="2001" y="692"/>
                  </a:lnTo>
                  <a:lnTo>
                    <a:pt x="1995" y="699"/>
                  </a:lnTo>
                  <a:lnTo>
                    <a:pt x="1995" y="709"/>
                  </a:lnTo>
                  <a:lnTo>
                    <a:pt x="1995" y="718"/>
                  </a:lnTo>
                  <a:lnTo>
                    <a:pt x="1993" y="720"/>
                  </a:lnTo>
                  <a:lnTo>
                    <a:pt x="1991" y="724"/>
                  </a:lnTo>
                  <a:lnTo>
                    <a:pt x="1990" y="729"/>
                  </a:lnTo>
                  <a:lnTo>
                    <a:pt x="1990" y="735"/>
                  </a:lnTo>
                  <a:lnTo>
                    <a:pt x="1989" y="748"/>
                  </a:lnTo>
                  <a:lnTo>
                    <a:pt x="1989" y="757"/>
                  </a:lnTo>
                  <a:lnTo>
                    <a:pt x="1991" y="758"/>
                  </a:lnTo>
                  <a:lnTo>
                    <a:pt x="1992" y="760"/>
                  </a:lnTo>
                  <a:lnTo>
                    <a:pt x="1993" y="764"/>
                  </a:lnTo>
                  <a:lnTo>
                    <a:pt x="1994" y="767"/>
                  </a:lnTo>
                  <a:lnTo>
                    <a:pt x="1994" y="778"/>
                  </a:lnTo>
                  <a:lnTo>
                    <a:pt x="1993" y="792"/>
                  </a:lnTo>
                  <a:lnTo>
                    <a:pt x="1990" y="817"/>
                  </a:lnTo>
                  <a:lnTo>
                    <a:pt x="1989" y="835"/>
                  </a:lnTo>
                  <a:lnTo>
                    <a:pt x="1986" y="835"/>
                  </a:lnTo>
                  <a:lnTo>
                    <a:pt x="1985" y="836"/>
                  </a:lnTo>
                  <a:lnTo>
                    <a:pt x="1983" y="837"/>
                  </a:lnTo>
                  <a:lnTo>
                    <a:pt x="1983" y="838"/>
                  </a:lnTo>
                  <a:lnTo>
                    <a:pt x="1982" y="843"/>
                  </a:lnTo>
                  <a:lnTo>
                    <a:pt x="1982" y="847"/>
                  </a:lnTo>
                  <a:lnTo>
                    <a:pt x="1978" y="850"/>
                  </a:lnTo>
                  <a:lnTo>
                    <a:pt x="1975" y="853"/>
                  </a:lnTo>
                  <a:lnTo>
                    <a:pt x="1971" y="857"/>
                  </a:lnTo>
                  <a:lnTo>
                    <a:pt x="1965" y="864"/>
                  </a:lnTo>
                  <a:lnTo>
                    <a:pt x="1959" y="870"/>
                  </a:lnTo>
                  <a:lnTo>
                    <a:pt x="1954" y="875"/>
                  </a:lnTo>
                  <a:lnTo>
                    <a:pt x="1948" y="879"/>
                  </a:lnTo>
                  <a:lnTo>
                    <a:pt x="1943" y="880"/>
                  </a:lnTo>
                  <a:lnTo>
                    <a:pt x="1934" y="890"/>
                  </a:lnTo>
                  <a:lnTo>
                    <a:pt x="1924" y="900"/>
                  </a:lnTo>
                  <a:lnTo>
                    <a:pt x="1910" y="900"/>
                  </a:lnTo>
                  <a:lnTo>
                    <a:pt x="1910" y="902"/>
                  </a:lnTo>
                  <a:lnTo>
                    <a:pt x="1908" y="904"/>
                  </a:lnTo>
                  <a:lnTo>
                    <a:pt x="1906" y="907"/>
                  </a:lnTo>
                  <a:lnTo>
                    <a:pt x="1904" y="909"/>
                  </a:lnTo>
                  <a:lnTo>
                    <a:pt x="1897" y="911"/>
                  </a:lnTo>
                  <a:lnTo>
                    <a:pt x="1891" y="912"/>
                  </a:lnTo>
                  <a:lnTo>
                    <a:pt x="1871" y="932"/>
                  </a:lnTo>
                  <a:lnTo>
                    <a:pt x="1871" y="945"/>
                  </a:lnTo>
                  <a:lnTo>
                    <a:pt x="1870" y="946"/>
                  </a:lnTo>
                  <a:lnTo>
                    <a:pt x="1868" y="947"/>
                  </a:lnTo>
                  <a:lnTo>
                    <a:pt x="1867" y="949"/>
                  </a:lnTo>
                  <a:lnTo>
                    <a:pt x="1866" y="952"/>
                  </a:lnTo>
                  <a:lnTo>
                    <a:pt x="1866" y="959"/>
                  </a:lnTo>
                  <a:lnTo>
                    <a:pt x="1866" y="965"/>
                  </a:lnTo>
                  <a:lnTo>
                    <a:pt x="1852" y="965"/>
                  </a:lnTo>
                  <a:lnTo>
                    <a:pt x="1852" y="969"/>
                  </a:lnTo>
                  <a:lnTo>
                    <a:pt x="1850" y="972"/>
                  </a:lnTo>
                  <a:lnTo>
                    <a:pt x="1848" y="977"/>
                  </a:lnTo>
                  <a:lnTo>
                    <a:pt x="1846" y="979"/>
                  </a:lnTo>
                  <a:lnTo>
                    <a:pt x="1839" y="985"/>
                  </a:lnTo>
                  <a:lnTo>
                    <a:pt x="1833" y="990"/>
                  </a:lnTo>
                  <a:lnTo>
                    <a:pt x="1820" y="990"/>
                  </a:lnTo>
                  <a:lnTo>
                    <a:pt x="1819" y="992"/>
                  </a:lnTo>
                  <a:lnTo>
                    <a:pt x="1815" y="994"/>
                  </a:lnTo>
                  <a:lnTo>
                    <a:pt x="1812" y="996"/>
                  </a:lnTo>
                  <a:lnTo>
                    <a:pt x="1807" y="997"/>
                  </a:lnTo>
                  <a:lnTo>
                    <a:pt x="1802" y="999"/>
                  </a:lnTo>
                  <a:lnTo>
                    <a:pt x="1798" y="1003"/>
                  </a:lnTo>
                  <a:lnTo>
                    <a:pt x="1795" y="1005"/>
                  </a:lnTo>
                  <a:lnTo>
                    <a:pt x="1794" y="1009"/>
                  </a:lnTo>
                  <a:lnTo>
                    <a:pt x="1781" y="1009"/>
                  </a:lnTo>
                  <a:lnTo>
                    <a:pt x="1774" y="1016"/>
                  </a:lnTo>
                  <a:lnTo>
                    <a:pt x="1765" y="1025"/>
                  </a:lnTo>
                  <a:lnTo>
                    <a:pt x="1760" y="1029"/>
                  </a:lnTo>
                  <a:lnTo>
                    <a:pt x="1755" y="1033"/>
                  </a:lnTo>
                  <a:lnTo>
                    <a:pt x="1752" y="1035"/>
                  </a:lnTo>
                  <a:lnTo>
                    <a:pt x="1748" y="1036"/>
                  </a:lnTo>
                  <a:lnTo>
                    <a:pt x="1748" y="1038"/>
                  </a:lnTo>
                  <a:lnTo>
                    <a:pt x="1746" y="1042"/>
                  </a:lnTo>
                  <a:lnTo>
                    <a:pt x="1744" y="1045"/>
                  </a:lnTo>
                  <a:lnTo>
                    <a:pt x="1742" y="1047"/>
                  </a:lnTo>
                  <a:lnTo>
                    <a:pt x="1738" y="1051"/>
                  </a:lnTo>
                  <a:lnTo>
                    <a:pt x="1735" y="1053"/>
                  </a:lnTo>
                  <a:lnTo>
                    <a:pt x="1732" y="1054"/>
                  </a:lnTo>
                  <a:lnTo>
                    <a:pt x="1730" y="1055"/>
                  </a:lnTo>
                  <a:lnTo>
                    <a:pt x="1728" y="1061"/>
                  </a:lnTo>
                  <a:lnTo>
                    <a:pt x="1725" y="1067"/>
                  </a:lnTo>
                  <a:lnTo>
                    <a:pt x="1721" y="1075"/>
                  </a:lnTo>
                  <a:lnTo>
                    <a:pt x="1715" y="1083"/>
                  </a:lnTo>
                  <a:lnTo>
                    <a:pt x="1711" y="1090"/>
                  </a:lnTo>
                  <a:lnTo>
                    <a:pt x="1705" y="1095"/>
                  </a:lnTo>
                  <a:lnTo>
                    <a:pt x="1700" y="1099"/>
                  </a:lnTo>
                  <a:lnTo>
                    <a:pt x="1697" y="1101"/>
                  </a:lnTo>
                  <a:lnTo>
                    <a:pt x="1696" y="1106"/>
                  </a:lnTo>
                  <a:lnTo>
                    <a:pt x="1694" y="1115"/>
                  </a:lnTo>
                  <a:lnTo>
                    <a:pt x="1690" y="1124"/>
                  </a:lnTo>
                  <a:lnTo>
                    <a:pt x="1686" y="1134"/>
                  </a:lnTo>
                  <a:lnTo>
                    <a:pt x="1682" y="1143"/>
                  </a:lnTo>
                  <a:lnTo>
                    <a:pt x="1678" y="1151"/>
                  </a:lnTo>
                  <a:lnTo>
                    <a:pt x="1674" y="1157"/>
                  </a:lnTo>
                  <a:lnTo>
                    <a:pt x="1671" y="1159"/>
                  </a:lnTo>
                  <a:lnTo>
                    <a:pt x="1679" y="1195"/>
                  </a:lnTo>
                  <a:lnTo>
                    <a:pt x="1688" y="1230"/>
                  </a:lnTo>
                  <a:lnTo>
                    <a:pt x="1695" y="1265"/>
                  </a:lnTo>
                  <a:lnTo>
                    <a:pt x="1703" y="1298"/>
                  </a:lnTo>
                  <a:lnTo>
                    <a:pt x="1693" y="1299"/>
                  </a:lnTo>
                  <a:lnTo>
                    <a:pt x="1688" y="1299"/>
                  </a:lnTo>
                  <a:lnTo>
                    <a:pt x="1686" y="1301"/>
                  </a:lnTo>
                  <a:lnTo>
                    <a:pt x="1685" y="1301"/>
                  </a:lnTo>
                  <a:lnTo>
                    <a:pt x="1685" y="1302"/>
                  </a:lnTo>
                  <a:lnTo>
                    <a:pt x="1685" y="1303"/>
                  </a:lnTo>
                  <a:lnTo>
                    <a:pt x="1684" y="1303"/>
                  </a:lnTo>
                  <a:lnTo>
                    <a:pt x="1680" y="1303"/>
                  </a:lnTo>
                  <a:lnTo>
                    <a:pt x="1676" y="1312"/>
                  </a:lnTo>
                  <a:lnTo>
                    <a:pt x="1665" y="1318"/>
                  </a:lnTo>
                  <a:lnTo>
                    <a:pt x="1654" y="1325"/>
                  </a:lnTo>
                  <a:lnTo>
                    <a:pt x="1649" y="1330"/>
                  </a:lnTo>
                  <a:lnTo>
                    <a:pt x="1645" y="1334"/>
                  </a:lnTo>
                  <a:lnTo>
                    <a:pt x="1645" y="1343"/>
                  </a:lnTo>
                  <a:lnTo>
                    <a:pt x="1640" y="1347"/>
                  </a:lnTo>
                  <a:lnTo>
                    <a:pt x="1636" y="1352"/>
                  </a:lnTo>
                  <a:lnTo>
                    <a:pt x="1636" y="1365"/>
                  </a:lnTo>
                  <a:lnTo>
                    <a:pt x="1631" y="1371"/>
                  </a:lnTo>
                  <a:lnTo>
                    <a:pt x="1627" y="1379"/>
                  </a:lnTo>
                  <a:lnTo>
                    <a:pt x="1623" y="1379"/>
                  </a:lnTo>
                  <a:lnTo>
                    <a:pt x="1621" y="1380"/>
                  </a:lnTo>
                  <a:lnTo>
                    <a:pt x="1619" y="1381"/>
                  </a:lnTo>
                  <a:lnTo>
                    <a:pt x="1618" y="1383"/>
                  </a:lnTo>
                  <a:lnTo>
                    <a:pt x="1610" y="1385"/>
                  </a:lnTo>
                  <a:lnTo>
                    <a:pt x="1604" y="1388"/>
                  </a:lnTo>
                  <a:lnTo>
                    <a:pt x="1497" y="1383"/>
                  </a:lnTo>
                  <a:lnTo>
                    <a:pt x="1496" y="1386"/>
                  </a:lnTo>
                  <a:lnTo>
                    <a:pt x="1493" y="1390"/>
                  </a:lnTo>
                  <a:lnTo>
                    <a:pt x="1491" y="1392"/>
                  </a:lnTo>
                  <a:lnTo>
                    <a:pt x="1488" y="1392"/>
                  </a:lnTo>
                  <a:lnTo>
                    <a:pt x="1488" y="1397"/>
                  </a:lnTo>
                  <a:lnTo>
                    <a:pt x="1486" y="1401"/>
                  </a:lnTo>
                  <a:lnTo>
                    <a:pt x="1483" y="1404"/>
                  </a:lnTo>
                  <a:lnTo>
                    <a:pt x="1479" y="1405"/>
                  </a:lnTo>
                  <a:lnTo>
                    <a:pt x="1479" y="1414"/>
                  </a:lnTo>
                  <a:lnTo>
                    <a:pt x="1476" y="1414"/>
                  </a:lnTo>
                  <a:lnTo>
                    <a:pt x="1474" y="1415"/>
                  </a:lnTo>
                  <a:lnTo>
                    <a:pt x="1472" y="1417"/>
                  </a:lnTo>
                  <a:lnTo>
                    <a:pt x="1471" y="1419"/>
                  </a:lnTo>
                  <a:lnTo>
                    <a:pt x="1381" y="1419"/>
                  </a:lnTo>
                  <a:lnTo>
                    <a:pt x="1376" y="1417"/>
                  </a:lnTo>
                  <a:lnTo>
                    <a:pt x="1368" y="1415"/>
                  </a:lnTo>
                  <a:lnTo>
                    <a:pt x="1359" y="1414"/>
                  </a:lnTo>
                  <a:lnTo>
                    <a:pt x="1350" y="1414"/>
                  </a:lnTo>
                  <a:lnTo>
                    <a:pt x="1350" y="1417"/>
                  </a:lnTo>
                  <a:lnTo>
                    <a:pt x="1349" y="1418"/>
                  </a:lnTo>
                  <a:lnTo>
                    <a:pt x="1348" y="1418"/>
                  </a:lnTo>
                  <a:lnTo>
                    <a:pt x="1346" y="1419"/>
                  </a:lnTo>
                  <a:lnTo>
                    <a:pt x="1341" y="1419"/>
                  </a:lnTo>
                  <a:lnTo>
                    <a:pt x="1337" y="1419"/>
                  </a:lnTo>
                  <a:lnTo>
                    <a:pt x="1332" y="1434"/>
                  </a:lnTo>
                  <a:lnTo>
                    <a:pt x="1328" y="1446"/>
                  </a:lnTo>
                  <a:lnTo>
                    <a:pt x="1325" y="1447"/>
                  </a:lnTo>
                  <a:lnTo>
                    <a:pt x="1322" y="1449"/>
                  </a:lnTo>
                  <a:lnTo>
                    <a:pt x="1320" y="1451"/>
                  </a:lnTo>
                  <a:lnTo>
                    <a:pt x="1319" y="1455"/>
                  </a:lnTo>
                  <a:lnTo>
                    <a:pt x="1314" y="1459"/>
                  </a:lnTo>
                  <a:lnTo>
                    <a:pt x="1301" y="1459"/>
                  </a:lnTo>
                  <a:lnTo>
                    <a:pt x="1296" y="1462"/>
                  </a:lnTo>
                  <a:lnTo>
                    <a:pt x="1291" y="1465"/>
                  </a:lnTo>
                  <a:lnTo>
                    <a:pt x="1282" y="1466"/>
                  </a:lnTo>
                  <a:lnTo>
                    <a:pt x="1273" y="1467"/>
                  </a:lnTo>
                  <a:lnTo>
                    <a:pt x="1253" y="1468"/>
                  </a:lnTo>
                  <a:lnTo>
                    <a:pt x="1235" y="1468"/>
                  </a:lnTo>
                  <a:lnTo>
                    <a:pt x="1232" y="1465"/>
                  </a:lnTo>
                  <a:lnTo>
                    <a:pt x="1228" y="1460"/>
                  </a:lnTo>
                  <a:lnTo>
                    <a:pt x="1223" y="1457"/>
                  </a:lnTo>
                  <a:lnTo>
                    <a:pt x="1216" y="1452"/>
                  </a:lnTo>
                  <a:lnTo>
                    <a:pt x="1202" y="1442"/>
                  </a:lnTo>
                  <a:lnTo>
                    <a:pt x="1185" y="1431"/>
                  </a:lnTo>
                  <a:lnTo>
                    <a:pt x="1167" y="1420"/>
                  </a:lnTo>
                  <a:lnTo>
                    <a:pt x="1150" y="1409"/>
                  </a:lnTo>
                  <a:lnTo>
                    <a:pt x="1143" y="1403"/>
                  </a:lnTo>
                  <a:lnTo>
                    <a:pt x="1137" y="1399"/>
                  </a:lnTo>
                  <a:lnTo>
                    <a:pt x="1131" y="1393"/>
                  </a:lnTo>
                  <a:lnTo>
                    <a:pt x="1128" y="1388"/>
                  </a:lnTo>
                  <a:lnTo>
                    <a:pt x="1124" y="1388"/>
                  </a:lnTo>
                  <a:lnTo>
                    <a:pt x="1120" y="1385"/>
                  </a:lnTo>
                  <a:lnTo>
                    <a:pt x="1117" y="1383"/>
                  </a:lnTo>
                  <a:lnTo>
                    <a:pt x="1112" y="1380"/>
                  </a:lnTo>
                  <a:lnTo>
                    <a:pt x="1103" y="1371"/>
                  </a:lnTo>
                  <a:lnTo>
                    <a:pt x="1093" y="1361"/>
                  </a:lnTo>
                  <a:lnTo>
                    <a:pt x="1084" y="1351"/>
                  </a:lnTo>
                  <a:lnTo>
                    <a:pt x="1074" y="1343"/>
                  </a:lnTo>
                  <a:lnTo>
                    <a:pt x="1070" y="1340"/>
                  </a:lnTo>
                  <a:lnTo>
                    <a:pt x="1065" y="1336"/>
                  </a:lnTo>
                  <a:lnTo>
                    <a:pt x="1061" y="1335"/>
                  </a:lnTo>
                  <a:lnTo>
                    <a:pt x="1056" y="1334"/>
                  </a:lnTo>
                  <a:lnTo>
                    <a:pt x="1054" y="1331"/>
                  </a:lnTo>
                  <a:lnTo>
                    <a:pt x="1051" y="1328"/>
                  </a:lnTo>
                  <a:lnTo>
                    <a:pt x="1046" y="1326"/>
                  </a:lnTo>
                  <a:lnTo>
                    <a:pt x="1043" y="1325"/>
                  </a:lnTo>
                  <a:lnTo>
                    <a:pt x="1041" y="1321"/>
                  </a:lnTo>
                  <a:lnTo>
                    <a:pt x="1039" y="1316"/>
                  </a:lnTo>
                  <a:lnTo>
                    <a:pt x="1028" y="1315"/>
                  </a:lnTo>
                  <a:lnTo>
                    <a:pt x="1011" y="1312"/>
                  </a:lnTo>
                  <a:lnTo>
                    <a:pt x="1002" y="1284"/>
                  </a:lnTo>
                  <a:lnTo>
                    <a:pt x="993" y="1259"/>
                  </a:lnTo>
                  <a:lnTo>
                    <a:pt x="985" y="1238"/>
                  </a:lnTo>
                  <a:lnTo>
                    <a:pt x="980" y="1222"/>
                  </a:lnTo>
                  <a:lnTo>
                    <a:pt x="978" y="1208"/>
                  </a:lnTo>
                  <a:lnTo>
                    <a:pt x="978" y="1187"/>
                  </a:lnTo>
                  <a:lnTo>
                    <a:pt x="979" y="1160"/>
                  </a:lnTo>
                  <a:lnTo>
                    <a:pt x="980" y="1131"/>
                  </a:lnTo>
                  <a:lnTo>
                    <a:pt x="983" y="1101"/>
                  </a:lnTo>
                  <a:lnTo>
                    <a:pt x="985" y="1073"/>
                  </a:lnTo>
                  <a:lnTo>
                    <a:pt x="986" y="1048"/>
                  </a:lnTo>
                  <a:lnTo>
                    <a:pt x="987" y="1029"/>
                  </a:lnTo>
                  <a:lnTo>
                    <a:pt x="973" y="1015"/>
                  </a:lnTo>
                  <a:lnTo>
                    <a:pt x="973" y="1010"/>
                  </a:lnTo>
                  <a:lnTo>
                    <a:pt x="970" y="1004"/>
                  </a:lnTo>
                  <a:lnTo>
                    <a:pt x="968" y="997"/>
                  </a:lnTo>
                  <a:lnTo>
                    <a:pt x="965" y="989"/>
                  </a:lnTo>
                  <a:lnTo>
                    <a:pt x="957" y="975"/>
                  </a:lnTo>
                  <a:lnTo>
                    <a:pt x="950" y="961"/>
                  </a:lnTo>
                  <a:lnTo>
                    <a:pt x="944" y="951"/>
                  </a:lnTo>
                  <a:lnTo>
                    <a:pt x="941" y="945"/>
                  </a:lnTo>
                  <a:lnTo>
                    <a:pt x="941" y="943"/>
                  </a:lnTo>
                  <a:lnTo>
                    <a:pt x="944" y="945"/>
                  </a:lnTo>
                  <a:lnTo>
                    <a:pt x="947" y="948"/>
                  </a:lnTo>
                  <a:lnTo>
                    <a:pt x="953" y="953"/>
                  </a:lnTo>
                  <a:lnTo>
                    <a:pt x="946" y="960"/>
                  </a:lnTo>
                  <a:lnTo>
                    <a:pt x="931" y="960"/>
                  </a:lnTo>
                  <a:lnTo>
                    <a:pt x="931" y="963"/>
                  </a:lnTo>
                  <a:lnTo>
                    <a:pt x="930" y="966"/>
                  </a:lnTo>
                  <a:lnTo>
                    <a:pt x="929" y="967"/>
                  </a:lnTo>
                  <a:lnTo>
                    <a:pt x="928" y="967"/>
                  </a:lnTo>
                  <a:lnTo>
                    <a:pt x="927" y="967"/>
                  </a:lnTo>
                  <a:lnTo>
                    <a:pt x="926" y="968"/>
                  </a:lnTo>
                  <a:lnTo>
                    <a:pt x="925" y="970"/>
                  </a:lnTo>
                  <a:lnTo>
                    <a:pt x="925" y="974"/>
                  </a:lnTo>
                  <a:lnTo>
                    <a:pt x="919" y="975"/>
                  </a:lnTo>
                  <a:lnTo>
                    <a:pt x="912" y="978"/>
                  </a:lnTo>
                  <a:lnTo>
                    <a:pt x="909" y="980"/>
                  </a:lnTo>
                  <a:lnTo>
                    <a:pt x="907" y="982"/>
                  </a:lnTo>
                  <a:lnTo>
                    <a:pt x="905" y="985"/>
                  </a:lnTo>
                  <a:lnTo>
                    <a:pt x="905" y="988"/>
                  </a:lnTo>
                  <a:lnTo>
                    <a:pt x="899" y="988"/>
                  </a:lnTo>
                  <a:lnTo>
                    <a:pt x="895" y="988"/>
                  </a:lnTo>
                  <a:lnTo>
                    <a:pt x="892" y="989"/>
                  </a:lnTo>
                  <a:lnTo>
                    <a:pt x="891" y="990"/>
                  </a:lnTo>
                  <a:lnTo>
                    <a:pt x="890" y="992"/>
                  </a:lnTo>
                  <a:lnTo>
                    <a:pt x="890" y="995"/>
                  </a:lnTo>
                  <a:lnTo>
                    <a:pt x="877" y="995"/>
                  </a:lnTo>
                  <a:lnTo>
                    <a:pt x="870" y="1001"/>
                  </a:lnTo>
                  <a:lnTo>
                    <a:pt x="867" y="1015"/>
                  </a:lnTo>
                  <a:lnTo>
                    <a:pt x="862" y="1029"/>
                  </a:lnTo>
                  <a:lnTo>
                    <a:pt x="849" y="1029"/>
                  </a:lnTo>
                  <a:lnTo>
                    <a:pt x="842" y="1043"/>
                  </a:lnTo>
                  <a:lnTo>
                    <a:pt x="835" y="1056"/>
                  </a:lnTo>
                  <a:lnTo>
                    <a:pt x="831" y="1057"/>
                  </a:lnTo>
                  <a:lnTo>
                    <a:pt x="829" y="1057"/>
                  </a:lnTo>
                  <a:lnTo>
                    <a:pt x="829" y="1058"/>
                  </a:lnTo>
                  <a:lnTo>
                    <a:pt x="829" y="1061"/>
                  </a:lnTo>
                  <a:lnTo>
                    <a:pt x="828" y="1062"/>
                  </a:lnTo>
                  <a:lnTo>
                    <a:pt x="828" y="1063"/>
                  </a:lnTo>
                  <a:lnTo>
                    <a:pt x="825" y="1063"/>
                  </a:lnTo>
                  <a:lnTo>
                    <a:pt x="821" y="1064"/>
                  </a:lnTo>
                  <a:lnTo>
                    <a:pt x="821" y="1072"/>
                  </a:lnTo>
                  <a:lnTo>
                    <a:pt x="821" y="1083"/>
                  </a:lnTo>
                  <a:lnTo>
                    <a:pt x="820" y="1088"/>
                  </a:lnTo>
                  <a:lnTo>
                    <a:pt x="819" y="1094"/>
                  </a:lnTo>
                  <a:lnTo>
                    <a:pt x="816" y="1097"/>
                  </a:lnTo>
                  <a:lnTo>
                    <a:pt x="814" y="1099"/>
                  </a:lnTo>
                  <a:lnTo>
                    <a:pt x="811" y="1112"/>
                  </a:lnTo>
                  <a:lnTo>
                    <a:pt x="807" y="1125"/>
                  </a:lnTo>
                  <a:lnTo>
                    <a:pt x="800" y="1126"/>
                  </a:lnTo>
                  <a:lnTo>
                    <a:pt x="793" y="1129"/>
                  </a:lnTo>
                  <a:lnTo>
                    <a:pt x="786" y="1132"/>
                  </a:lnTo>
                  <a:lnTo>
                    <a:pt x="780" y="1136"/>
                  </a:lnTo>
                  <a:lnTo>
                    <a:pt x="773" y="1140"/>
                  </a:lnTo>
                  <a:lnTo>
                    <a:pt x="766" y="1143"/>
                  </a:lnTo>
                  <a:lnTo>
                    <a:pt x="759" y="1145"/>
                  </a:lnTo>
                  <a:lnTo>
                    <a:pt x="753" y="1147"/>
                  </a:lnTo>
                  <a:lnTo>
                    <a:pt x="752" y="1150"/>
                  </a:lnTo>
                  <a:lnTo>
                    <a:pt x="752" y="1152"/>
                  </a:lnTo>
                  <a:lnTo>
                    <a:pt x="751" y="1153"/>
                  </a:lnTo>
                  <a:lnTo>
                    <a:pt x="748" y="1153"/>
                  </a:lnTo>
                  <a:lnTo>
                    <a:pt x="747" y="1153"/>
                  </a:lnTo>
                  <a:lnTo>
                    <a:pt x="746" y="1154"/>
                  </a:lnTo>
                  <a:lnTo>
                    <a:pt x="746" y="1157"/>
                  </a:lnTo>
                  <a:lnTo>
                    <a:pt x="745" y="1160"/>
                  </a:lnTo>
                  <a:lnTo>
                    <a:pt x="740" y="1161"/>
                  </a:lnTo>
                  <a:lnTo>
                    <a:pt x="736" y="1164"/>
                  </a:lnTo>
                  <a:lnTo>
                    <a:pt x="733" y="1169"/>
                  </a:lnTo>
                  <a:lnTo>
                    <a:pt x="732" y="1174"/>
                  </a:lnTo>
                  <a:lnTo>
                    <a:pt x="727" y="1174"/>
                  </a:lnTo>
                  <a:lnTo>
                    <a:pt x="726" y="1176"/>
                  </a:lnTo>
                  <a:lnTo>
                    <a:pt x="725" y="1177"/>
                  </a:lnTo>
                  <a:lnTo>
                    <a:pt x="725" y="1178"/>
                  </a:lnTo>
                  <a:lnTo>
                    <a:pt x="725" y="1179"/>
                  </a:lnTo>
                  <a:lnTo>
                    <a:pt x="724" y="1180"/>
                  </a:lnTo>
                  <a:lnTo>
                    <a:pt x="721" y="1181"/>
                  </a:lnTo>
                  <a:lnTo>
                    <a:pt x="718" y="1181"/>
                  </a:lnTo>
                  <a:lnTo>
                    <a:pt x="717" y="1191"/>
                  </a:lnTo>
                  <a:lnTo>
                    <a:pt x="714" y="1201"/>
                  </a:lnTo>
                  <a:lnTo>
                    <a:pt x="711" y="1212"/>
                  </a:lnTo>
                  <a:lnTo>
                    <a:pt x="710" y="1222"/>
                  </a:lnTo>
                  <a:lnTo>
                    <a:pt x="707" y="1226"/>
                  </a:lnTo>
                  <a:lnTo>
                    <a:pt x="700" y="1234"/>
                  </a:lnTo>
                  <a:lnTo>
                    <a:pt x="697" y="1238"/>
                  </a:lnTo>
                  <a:lnTo>
                    <a:pt x="694" y="1242"/>
                  </a:lnTo>
                  <a:lnTo>
                    <a:pt x="691" y="1247"/>
                  </a:lnTo>
                  <a:lnTo>
                    <a:pt x="690" y="1250"/>
                  </a:lnTo>
                  <a:lnTo>
                    <a:pt x="669" y="1250"/>
                  </a:lnTo>
                  <a:lnTo>
                    <a:pt x="662" y="1257"/>
                  </a:lnTo>
                  <a:lnTo>
                    <a:pt x="662" y="1255"/>
                  </a:lnTo>
                  <a:lnTo>
                    <a:pt x="661" y="1253"/>
                  </a:lnTo>
                  <a:lnTo>
                    <a:pt x="660" y="1251"/>
                  </a:lnTo>
                  <a:lnTo>
                    <a:pt x="658" y="1250"/>
                  </a:lnTo>
                  <a:lnTo>
                    <a:pt x="653" y="1250"/>
                  </a:lnTo>
                  <a:lnTo>
                    <a:pt x="649" y="1250"/>
                  </a:lnTo>
                  <a:lnTo>
                    <a:pt x="642" y="1236"/>
                  </a:lnTo>
                  <a:lnTo>
                    <a:pt x="634" y="1222"/>
                  </a:lnTo>
                  <a:lnTo>
                    <a:pt x="623" y="1222"/>
                  </a:lnTo>
                  <a:lnTo>
                    <a:pt x="604" y="1221"/>
                  </a:lnTo>
                  <a:lnTo>
                    <a:pt x="595" y="1220"/>
                  </a:lnTo>
                  <a:lnTo>
                    <a:pt x="588" y="1219"/>
                  </a:lnTo>
                  <a:lnTo>
                    <a:pt x="582" y="1218"/>
                  </a:lnTo>
                  <a:lnTo>
                    <a:pt x="580" y="1216"/>
                  </a:lnTo>
                  <a:lnTo>
                    <a:pt x="572" y="1216"/>
                  </a:lnTo>
                  <a:lnTo>
                    <a:pt x="563" y="1215"/>
                  </a:lnTo>
                  <a:lnTo>
                    <a:pt x="559" y="1213"/>
                  </a:lnTo>
                  <a:lnTo>
                    <a:pt x="555" y="1212"/>
                  </a:lnTo>
                  <a:lnTo>
                    <a:pt x="553" y="1211"/>
                  </a:lnTo>
                  <a:lnTo>
                    <a:pt x="552" y="1209"/>
                  </a:lnTo>
                  <a:lnTo>
                    <a:pt x="532" y="1209"/>
                  </a:lnTo>
                  <a:lnTo>
                    <a:pt x="529" y="1206"/>
                  </a:lnTo>
                  <a:lnTo>
                    <a:pt x="527" y="1201"/>
                  </a:lnTo>
                  <a:lnTo>
                    <a:pt x="522" y="1197"/>
                  </a:lnTo>
                  <a:lnTo>
                    <a:pt x="516" y="1192"/>
                  </a:lnTo>
                  <a:lnTo>
                    <a:pt x="511" y="1188"/>
                  </a:lnTo>
                  <a:lnTo>
                    <a:pt x="505" y="1184"/>
                  </a:lnTo>
                  <a:lnTo>
                    <a:pt x="500" y="1182"/>
                  </a:lnTo>
                  <a:lnTo>
                    <a:pt x="497" y="1181"/>
                  </a:lnTo>
                  <a:lnTo>
                    <a:pt x="489" y="1171"/>
                  </a:lnTo>
                  <a:lnTo>
                    <a:pt x="483" y="1160"/>
                  </a:lnTo>
                  <a:lnTo>
                    <a:pt x="475" y="1159"/>
                  </a:lnTo>
                  <a:lnTo>
                    <a:pt x="466" y="1155"/>
                  </a:lnTo>
                  <a:lnTo>
                    <a:pt x="457" y="1151"/>
                  </a:lnTo>
                  <a:lnTo>
                    <a:pt x="448" y="1147"/>
                  </a:lnTo>
                  <a:lnTo>
                    <a:pt x="439" y="1141"/>
                  </a:lnTo>
                  <a:lnTo>
                    <a:pt x="430" y="1136"/>
                  </a:lnTo>
                  <a:lnTo>
                    <a:pt x="422" y="1134"/>
                  </a:lnTo>
                  <a:lnTo>
                    <a:pt x="413" y="1132"/>
                  </a:lnTo>
                  <a:lnTo>
                    <a:pt x="399" y="1132"/>
                  </a:lnTo>
                  <a:lnTo>
                    <a:pt x="378" y="1131"/>
                  </a:lnTo>
                  <a:lnTo>
                    <a:pt x="368" y="1129"/>
                  </a:lnTo>
                  <a:lnTo>
                    <a:pt x="360" y="1126"/>
                  </a:lnTo>
                  <a:lnTo>
                    <a:pt x="356" y="1125"/>
                  </a:lnTo>
                  <a:lnTo>
                    <a:pt x="354" y="1123"/>
                  </a:lnTo>
                  <a:lnTo>
                    <a:pt x="352" y="1121"/>
                  </a:lnTo>
                  <a:lnTo>
                    <a:pt x="352" y="1119"/>
                  </a:lnTo>
                  <a:lnTo>
                    <a:pt x="339" y="1114"/>
                  </a:lnTo>
                  <a:lnTo>
                    <a:pt x="319" y="1104"/>
                  </a:lnTo>
                  <a:lnTo>
                    <a:pt x="307" y="1099"/>
                  </a:lnTo>
                  <a:lnTo>
                    <a:pt x="298" y="1093"/>
                  </a:lnTo>
                  <a:lnTo>
                    <a:pt x="292" y="1087"/>
                  </a:lnTo>
                  <a:lnTo>
                    <a:pt x="289" y="1084"/>
                  </a:lnTo>
                  <a:lnTo>
                    <a:pt x="285" y="1084"/>
                  </a:lnTo>
                  <a:lnTo>
                    <a:pt x="281" y="1083"/>
                  </a:lnTo>
                  <a:lnTo>
                    <a:pt x="278" y="1083"/>
                  </a:lnTo>
                  <a:lnTo>
                    <a:pt x="277" y="1082"/>
                  </a:lnTo>
                  <a:lnTo>
                    <a:pt x="276" y="1080"/>
                  </a:lnTo>
                  <a:lnTo>
                    <a:pt x="276" y="1077"/>
                  </a:lnTo>
                  <a:lnTo>
                    <a:pt x="262" y="1077"/>
                  </a:lnTo>
                  <a:lnTo>
                    <a:pt x="260" y="1073"/>
                  </a:lnTo>
                  <a:lnTo>
                    <a:pt x="257" y="1070"/>
                  </a:lnTo>
                  <a:lnTo>
                    <a:pt x="254" y="1066"/>
                  </a:lnTo>
                  <a:lnTo>
                    <a:pt x="248" y="1064"/>
                  </a:lnTo>
                  <a:lnTo>
                    <a:pt x="243" y="1063"/>
                  </a:lnTo>
                  <a:lnTo>
                    <a:pt x="238" y="1061"/>
                  </a:lnTo>
                  <a:lnTo>
                    <a:pt x="236" y="1059"/>
                  </a:lnTo>
                  <a:lnTo>
                    <a:pt x="235" y="1056"/>
                  </a:lnTo>
                  <a:lnTo>
                    <a:pt x="220" y="1056"/>
                  </a:lnTo>
                  <a:lnTo>
                    <a:pt x="214" y="1049"/>
                  </a:lnTo>
                  <a:lnTo>
                    <a:pt x="214" y="1045"/>
                  </a:lnTo>
                  <a:lnTo>
                    <a:pt x="215" y="1040"/>
                  </a:lnTo>
                  <a:lnTo>
                    <a:pt x="216" y="1038"/>
                  </a:lnTo>
                  <a:lnTo>
                    <a:pt x="217" y="1037"/>
                  </a:lnTo>
                  <a:lnTo>
                    <a:pt x="218" y="1036"/>
                  </a:lnTo>
                  <a:lnTo>
                    <a:pt x="220" y="1036"/>
                  </a:lnTo>
                  <a:lnTo>
                    <a:pt x="220" y="1028"/>
                  </a:lnTo>
                  <a:lnTo>
                    <a:pt x="223" y="1024"/>
                  </a:lnTo>
                  <a:lnTo>
                    <a:pt x="226" y="1023"/>
                  </a:lnTo>
                  <a:lnTo>
                    <a:pt x="235" y="1023"/>
                  </a:lnTo>
                  <a:lnTo>
                    <a:pt x="235" y="1008"/>
                  </a:lnTo>
                  <a:lnTo>
                    <a:pt x="238" y="1008"/>
                  </a:lnTo>
                  <a:lnTo>
                    <a:pt x="241" y="1007"/>
                  </a:lnTo>
                  <a:lnTo>
                    <a:pt x="245" y="1005"/>
                  </a:lnTo>
                  <a:lnTo>
                    <a:pt x="248" y="1003"/>
                  </a:lnTo>
                  <a:lnTo>
                    <a:pt x="255" y="997"/>
                  </a:lnTo>
                  <a:lnTo>
                    <a:pt x="262" y="991"/>
                  </a:lnTo>
                  <a:lnTo>
                    <a:pt x="267" y="985"/>
                  </a:lnTo>
                  <a:lnTo>
                    <a:pt x="273" y="979"/>
                  </a:lnTo>
                  <a:lnTo>
                    <a:pt x="277" y="976"/>
                  </a:lnTo>
                  <a:lnTo>
                    <a:pt x="283" y="974"/>
                  </a:lnTo>
                  <a:lnTo>
                    <a:pt x="289" y="967"/>
                  </a:lnTo>
                  <a:lnTo>
                    <a:pt x="296" y="960"/>
                  </a:lnTo>
                  <a:lnTo>
                    <a:pt x="296" y="946"/>
                  </a:lnTo>
                  <a:lnTo>
                    <a:pt x="302" y="946"/>
                  </a:lnTo>
                  <a:lnTo>
                    <a:pt x="305" y="943"/>
                  </a:lnTo>
                  <a:lnTo>
                    <a:pt x="310" y="939"/>
                  </a:lnTo>
                  <a:lnTo>
                    <a:pt x="312" y="934"/>
                  </a:lnTo>
                  <a:lnTo>
                    <a:pt x="316" y="926"/>
                  </a:lnTo>
                  <a:lnTo>
                    <a:pt x="317" y="919"/>
                  </a:lnTo>
                  <a:lnTo>
                    <a:pt x="321" y="918"/>
                  </a:lnTo>
                  <a:lnTo>
                    <a:pt x="323" y="918"/>
                  </a:lnTo>
                  <a:lnTo>
                    <a:pt x="324" y="917"/>
                  </a:lnTo>
                  <a:lnTo>
                    <a:pt x="324" y="915"/>
                  </a:lnTo>
                  <a:lnTo>
                    <a:pt x="324" y="914"/>
                  </a:lnTo>
                  <a:lnTo>
                    <a:pt x="325" y="913"/>
                  </a:lnTo>
                  <a:lnTo>
                    <a:pt x="327" y="912"/>
                  </a:lnTo>
                  <a:lnTo>
                    <a:pt x="331" y="912"/>
                  </a:lnTo>
                  <a:lnTo>
                    <a:pt x="332" y="907"/>
                  </a:lnTo>
                  <a:lnTo>
                    <a:pt x="334" y="902"/>
                  </a:lnTo>
                  <a:lnTo>
                    <a:pt x="337" y="899"/>
                  </a:lnTo>
                  <a:lnTo>
                    <a:pt x="341" y="895"/>
                  </a:lnTo>
                  <a:lnTo>
                    <a:pt x="345" y="892"/>
                  </a:lnTo>
                  <a:lnTo>
                    <a:pt x="349" y="890"/>
                  </a:lnTo>
                  <a:lnTo>
                    <a:pt x="351" y="886"/>
                  </a:lnTo>
                  <a:lnTo>
                    <a:pt x="352" y="884"/>
                  </a:lnTo>
                  <a:lnTo>
                    <a:pt x="365" y="884"/>
                  </a:lnTo>
                  <a:lnTo>
                    <a:pt x="372" y="878"/>
                  </a:lnTo>
                  <a:lnTo>
                    <a:pt x="380" y="870"/>
                  </a:lnTo>
                  <a:lnTo>
                    <a:pt x="379" y="865"/>
                  </a:lnTo>
                  <a:lnTo>
                    <a:pt x="379" y="861"/>
                  </a:lnTo>
                  <a:lnTo>
                    <a:pt x="378" y="859"/>
                  </a:lnTo>
                  <a:lnTo>
                    <a:pt x="377" y="857"/>
                  </a:lnTo>
                  <a:lnTo>
                    <a:pt x="374" y="856"/>
                  </a:lnTo>
                  <a:lnTo>
                    <a:pt x="372" y="856"/>
                  </a:lnTo>
                  <a:lnTo>
                    <a:pt x="372" y="843"/>
                  </a:lnTo>
                  <a:lnTo>
                    <a:pt x="365" y="836"/>
                  </a:lnTo>
                  <a:lnTo>
                    <a:pt x="355" y="830"/>
                  </a:lnTo>
                  <a:lnTo>
                    <a:pt x="345" y="824"/>
                  </a:lnTo>
                  <a:lnTo>
                    <a:pt x="337" y="822"/>
                  </a:lnTo>
                  <a:lnTo>
                    <a:pt x="337" y="818"/>
                  </a:lnTo>
                  <a:lnTo>
                    <a:pt x="336" y="816"/>
                  </a:lnTo>
                  <a:lnTo>
                    <a:pt x="335" y="815"/>
                  </a:lnTo>
                  <a:lnTo>
                    <a:pt x="334" y="815"/>
                  </a:lnTo>
                  <a:lnTo>
                    <a:pt x="333" y="815"/>
                  </a:lnTo>
                  <a:lnTo>
                    <a:pt x="332" y="814"/>
                  </a:lnTo>
                  <a:lnTo>
                    <a:pt x="331" y="812"/>
                  </a:lnTo>
                  <a:lnTo>
                    <a:pt x="331" y="808"/>
                  </a:lnTo>
                  <a:lnTo>
                    <a:pt x="311" y="808"/>
                  </a:lnTo>
                  <a:lnTo>
                    <a:pt x="310" y="805"/>
                  </a:lnTo>
                  <a:lnTo>
                    <a:pt x="308" y="803"/>
                  </a:lnTo>
                  <a:lnTo>
                    <a:pt x="305" y="801"/>
                  </a:lnTo>
                  <a:lnTo>
                    <a:pt x="303" y="798"/>
                  </a:lnTo>
                  <a:lnTo>
                    <a:pt x="296" y="795"/>
                  </a:lnTo>
                  <a:lnTo>
                    <a:pt x="289" y="794"/>
                  </a:lnTo>
                  <a:lnTo>
                    <a:pt x="289" y="780"/>
                  </a:lnTo>
                  <a:lnTo>
                    <a:pt x="286" y="780"/>
                  </a:lnTo>
                  <a:lnTo>
                    <a:pt x="284" y="779"/>
                  </a:lnTo>
                  <a:lnTo>
                    <a:pt x="283" y="778"/>
                  </a:lnTo>
                  <a:lnTo>
                    <a:pt x="283" y="777"/>
                  </a:lnTo>
                  <a:lnTo>
                    <a:pt x="283" y="776"/>
                  </a:lnTo>
                  <a:lnTo>
                    <a:pt x="282" y="775"/>
                  </a:lnTo>
                  <a:lnTo>
                    <a:pt x="279" y="774"/>
                  </a:lnTo>
                  <a:lnTo>
                    <a:pt x="276" y="774"/>
                  </a:lnTo>
                  <a:lnTo>
                    <a:pt x="269" y="767"/>
                  </a:lnTo>
                  <a:lnTo>
                    <a:pt x="265" y="756"/>
                  </a:lnTo>
                  <a:lnTo>
                    <a:pt x="262" y="746"/>
                  </a:lnTo>
                  <a:lnTo>
                    <a:pt x="258" y="746"/>
                  </a:lnTo>
                  <a:lnTo>
                    <a:pt x="256" y="745"/>
                  </a:lnTo>
                  <a:lnTo>
                    <a:pt x="255" y="744"/>
                  </a:lnTo>
                  <a:lnTo>
                    <a:pt x="255" y="742"/>
                  </a:lnTo>
                  <a:lnTo>
                    <a:pt x="255" y="741"/>
                  </a:lnTo>
                  <a:lnTo>
                    <a:pt x="254" y="740"/>
                  </a:lnTo>
                  <a:lnTo>
                    <a:pt x="253" y="739"/>
                  </a:lnTo>
                  <a:lnTo>
                    <a:pt x="248" y="739"/>
                  </a:lnTo>
                  <a:lnTo>
                    <a:pt x="248" y="726"/>
                  </a:lnTo>
                  <a:lnTo>
                    <a:pt x="235" y="726"/>
                  </a:lnTo>
                  <a:lnTo>
                    <a:pt x="234" y="721"/>
                  </a:lnTo>
                  <a:lnTo>
                    <a:pt x="234" y="719"/>
                  </a:lnTo>
                  <a:lnTo>
                    <a:pt x="233" y="718"/>
                  </a:lnTo>
                  <a:lnTo>
                    <a:pt x="231" y="718"/>
                  </a:lnTo>
                  <a:lnTo>
                    <a:pt x="229" y="718"/>
                  </a:lnTo>
                  <a:lnTo>
                    <a:pt x="228" y="718"/>
                  </a:lnTo>
                  <a:lnTo>
                    <a:pt x="228" y="716"/>
                  </a:lnTo>
                  <a:lnTo>
                    <a:pt x="227" y="711"/>
                  </a:lnTo>
                  <a:lnTo>
                    <a:pt x="220" y="711"/>
                  </a:lnTo>
                  <a:lnTo>
                    <a:pt x="211" y="710"/>
                  </a:lnTo>
                  <a:lnTo>
                    <a:pt x="207" y="710"/>
                  </a:lnTo>
                  <a:lnTo>
                    <a:pt x="204" y="709"/>
                  </a:lnTo>
                  <a:lnTo>
                    <a:pt x="200" y="707"/>
                  </a:lnTo>
                  <a:lnTo>
                    <a:pt x="200" y="705"/>
                  </a:lnTo>
                  <a:lnTo>
                    <a:pt x="166" y="703"/>
                  </a:lnTo>
                  <a:lnTo>
                    <a:pt x="126" y="701"/>
                  </a:lnTo>
                  <a:lnTo>
                    <a:pt x="86" y="699"/>
                  </a:lnTo>
                  <a:lnTo>
                    <a:pt x="48" y="698"/>
                  </a:lnTo>
                  <a:lnTo>
                    <a:pt x="47" y="696"/>
                  </a:lnTo>
                  <a:lnTo>
                    <a:pt x="46" y="692"/>
                  </a:lnTo>
                  <a:lnTo>
                    <a:pt x="44" y="690"/>
                  </a:lnTo>
                  <a:lnTo>
                    <a:pt x="41" y="688"/>
                  </a:lnTo>
                  <a:lnTo>
                    <a:pt x="36" y="686"/>
                  </a:lnTo>
                  <a:lnTo>
                    <a:pt x="34" y="683"/>
                  </a:lnTo>
                  <a:lnTo>
                    <a:pt x="34" y="679"/>
                  </a:lnTo>
                  <a:lnTo>
                    <a:pt x="33" y="674"/>
                  </a:lnTo>
                  <a:lnTo>
                    <a:pt x="33" y="672"/>
                  </a:lnTo>
                  <a:lnTo>
                    <a:pt x="32" y="671"/>
                  </a:lnTo>
                  <a:lnTo>
                    <a:pt x="29" y="670"/>
                  </a:lnTo>
                  <a:lnTo>
                    <a:pt x="27" y="670"/>
                  </a:lnTo>
                  <a:lnTo>
                    <a:pt x="26" y="661"/>
                  </a:lnTo>
                  <a:lnTo>
                    <a:pt x="24" y="653"/>
                  </a:lnTo>
                  <a:lnTo>
                    <a:pt x="22" y="644"/>
                  </a:lnTo>
                  <a:lnTo>
                    <a:pt x="20" y="635"/>
                  </a:lnTo>
                  <a:lnTo>
                    <a:pt x="16" y="635"/>
                  </a:lnTo>
                  <a:lnTo>
                    <a:pt x="10" y="635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54" name="Freeform 20"/>
            <p:cNvSpPr>
              <a:spLocks noChangeAspect="1"/>
            </p:cNvSpPr>
            <p:nvPr/>
          </p:nvSpPr>
          <p:spPr bwMode="gray">
            <a:xfrm rot="355651">
              <a:off x="6085258" y="3744913"/>
              <a:ext cx="348068" cy="195889"/>
            </a:xfrm>
            <a:custGeom>
              <a:avLst/>
              <a:gdLst/>
              <a:ahLst/>
              <a:cxnLst>
                <a:cxn ang="0">
                  <a:pos x="362" y="4"/>
                </a:cxn>
                <a:cxn ang="0">
                  <a:pos x="403" y="15"/>
                </a:cxn>
                <a:cxn ang="0">
                  <a:pos x="583" y="40"/>
                </a:cxn>
                <a:cxn ang="0">
                  <a:pos x="743" y="81"/>
                </a:cxn>
                <a:cxn ang="0">
                  <a:pos x="1217" y="119"/>
                </a:cxn>
                <a:cxn ang="0">
                  <a:pos x="1214" y="260"/>
                </a:cxn>
                <a:cxn ang="0">
                  <a:pos x="1231" y="375"/>
                </a:cxn>
                <a:cxn ang="0">
                  <a:pos x="1367" y="428"/>
                </a:cxn>
                <a:cxn ang="0">
                  <a:pos x="1416" y="447"/>
                </a:cxn>
                <a:cxn ang="0">
                  <a:pos x="1463" y="476"/>
                </a:cxn>
                <a:cxn ang="0">
                  <a:pos x="1515" y="502"/>
                </a:cxn>
                <a:cxn ang="0">
                  <a:pos x="1558" y="520"/>
                </a:cxn>
                <a:cxn ang="0">
                  <a:pos x="1601" y="552"/>
                </a:cxn>
                <a:cxn ang="0">
                  <a:pos x="1624" y="621"/>
                </a:cxn>
                <a:cxn ang="0">
                  <a:pos x="1659" y="684"/>
                </a:cxn>
                <a:cxn ang="0">
                  <a:pos x="1723" y="737"/>
                </a:cxn>
                <a:cxn ang="0">
                  <a:pos x="1756" y="761"/>
                </a:cxn>
                <a:cxn ang="0">
                  <a:pos x="1813" y="796"/>
                </a:cxn>
                <a:cxn ang="0">
                  <a:pos x="1896" y="848"/>
                </a:cxn>
                <a:cxn ang="0">
                  <a:pos x="1910" y="886"/>
                </a:cxn>
                <a:cxn ang="0">
                  <a:pos x="1839" y="1077"/>
                </a:cxn>
                <a:cxn ang="0">
                  <a:pos x="1681" y="1099"/>
                </a:cxn>
                <a:cxn ang="0">
                  <a:pos x="1654" y="1112"/>
                </a:cxn>
                <a:cxn ang="0">
                  <a:pos x="1607" y="1144"/>
                </a:cxn>
                <a:cxn ang="0">
                  <a:pos x="1551" y="1174"/>
                </a:cxn>
                <a:cxn ang="0">
                  <a:pos x="1523" y="1214"/>
                </a:cxn>
                <a:cxn ang="0">
                  <a:pos x="1489" y="1148"/>
                </a:cxn>
                <a:cxn ang="0">
                  <a:pos x="1457" y="1093"/>
                </a:cxn>
                <a:cxn ang="0">
                  <a:pos x="1437" y="1076"/>
                </a:cxn>
                <a:cxn ang="0">
                  <a:pos x="1409" y="1076"/>
                </a:cxn>
                <a:cxn ang="0">
                  <a:pos x="1371" y="1107"/>
                </a:cxn>
                <a:cxn ang="0">
                  <a:pos x="1331" y="1127"/>
                </a:cxn>
                <a:cxn ang="0">
                  <a:pos x="1197" y="1100"/>
                </a:cxn>
                <a:cxn ang="0">
                  <a:pos x="1150" y="1028"/>
                </a:cxn>
                <a:cxn ang="0">
                  <a:pos x="1103" y="969"/>
                </a:cxn>
                <a:cxn ang="0">
                  <a:pos x="891" y="957"/>
                </a:cxn>
                <a:cxn ang="0">
                  <a:pos x="853" y="938"/>
                </a:cxn>
                <a:cxn ang="0">
                  <a:pos x="713" y="954"/>
                </a:cxn>
                <a:cxn ang="0">
                  <a:pos x="621" y="934"/>
                </a:cxn>
                <a:cxn ang="0">
                  <a:pos x="589" y="870"/>
                </a:cxn>
                <a:cxn ang="0">
                  <a:pos x="533" y="858"/>
                </a:cxn>
                <a:cxn ang="0">
                  <a:pos x="359" y="886"/>
                </a:cxn>
                <a:cxn ang="0">
                  <a:pos x="313" y="879"/>
                </a:cxn>
                <a:cxn ang="0">
                  <a:pos x="271" y="871"/>
                </a:cxn>
                <a:cxn ang="0">
                  <a:pos x="194" y="874"/>
                </a:cxn>
                <a:cxn ang="0">
                  <a:pos x="131" y="852"/>
                </a:cxn>
                <a:cxn ang="0">
                  <a:pos x="108" y="838"/>
                </a:cxn>
                <a:cxn ang="0">
                  <a:pos x="76" y="820"/>
                </a:cxn>
                <a:cxn ang="0">
                  <a:pos x="45" y="784"/>
                </a:cxn>
                <a:cxn ang="0">
                  <a:pos x="11" y="620"/>
                </a:cxn>
                <a:cxn ang="0">
                  <a:pos x="44" y="560"/>
                </a:cxn>
                <a:cxn ang="0">
                  <a:pos x="73" y="522"/>
                </a:cxn>
                <a:cxn ang="0">
                  <a:pos x="110" y="486"/>
                </a:cxn>
                <a:cxn ang="0">
                  <a:pos x="149" y="467"/>
                </a:cxn>
                <a:cxn ang="0">
                  <a:pos x="195" y="436"/>
                </a:cxn>
                <a:cxn ang="0">
                  <a:pos x="233" y="386"/>
                </a:cxn>
                <a:cxn ang="0">
                  <a:pos x="283" y="352"/>
                </a:cxn>
                <a:cxn ang="0">
                  <a:pos x="312" y="314"/>
                </a:cxn>
                <a:cxn ang="0">
                  <a:pos x="321" y="237"/>
                </a:cxn>
                <a:cxn ang="0">
                  <a:pos x="324" y="186"/>
                </a:cxn>
                <a:cxn ang="0">
                  <a:pos x="354" y="150"/>
                </a:cxn>
                <a:cxn ang="0">
                  <a:pos x="357" y="77"/>
                </a:cxn>
                <a:cxn ang="0">
                  <a:pos x="341" y="21"/>
                </a:cxn>
              </a:cxnLst>
              <a:rect l="0" t="0" r="r" b="b"/>
              <a:pathLst>
                <a:path w="1910" h="1217">
                  <a:moveTo>
                    <a:pt x="325" y="5"/>
                  </a:moveTo>
                  <a:lnTo>
                    <a:pt x="332" y="2"/>
                  </a:lnTo>
                  <a:lnTo>
                    <a:pt x="340" y="1"/>
                  </a:lnTo>
                  <a:lnTo>
                    <a:pt x="348" y="0"/>
                  </a:lnTo>
                  <a:lnTo>
                    <a:pt x="357" y="0"/>
                  </a:lnTo>
                  <a:lnTo>
                    <a:pt x="357" y="1"/>
                  </a:lnTo>
                  <a:lnTo>
                    <a:pt x="358" y="2"/>
                  </a:lnTo>
                  <a:lnTo>
                    <a:pt x="360" y="3"/>
                  </a:lnTo>
                  <a:lnTo>
                    <a:pt x="362" y="4"/>
                  </a:lnTo>
                  <a:lnTo>
                    <a:pt x="368" y="4"/>
                  </a:lnTo>
                  <a:lnTo>
                    <a:pt x="374" y="5"/>
                  </a:lnTo>
                  <a:lnTo>
                    <a:pt x="381" y="5"/>
                  </a:lnTo>
                  <a:lnTo>
                    <a:pt x="387" y="7"/>
                  </a:lnTo>
                  <a:lnTo>
                    <a:pt x="389" y="9"/>
                  </a:lnTo>
                  <a:lnTo>
                    <a:pt x="391" y="10"/>
                  </a:lnTo>
                  <a:lnTo>
                    <a:pt x="392" y="12"/>
                  </a:lnTo>
                  <a:lnTo>
                    <a:pt x="392" y="14"/>
                  </a:lnTo>
                  <a:lnTo>
                    <a:pt x="403" y="15"/>
                  </a:lnTo>
                  <a:lnTo>
                    <a:pt x="417" y="19"/>
                  </a:lnTo>
                  <a:lnTo>
                    <a:pt x="424" y="21"/>
                  </a:lnTo>
                  <a:lnTo>
                    <a:pt x="429" y="23"/>
                  </a:lnTo>
                  <a:lnTo>
                    <a:pt x="432" y="26"/>
                  </a:lnTo>
                  <a:lnTo>
                    <a:pt x="434" y="30"/>
                  </a:lnTo>
                  <a:lnTo>
                    <a:pt x="467" y="32"/>
                  </a:lnTo>
                  <a:lnTo>
                    <a:pt x="504" y="35"/>
                  </a:lnTo>
                  <a:lnTo>
                    <a:pt x="544" y="39"/>
                  </a:lnTo>
                  <a:lnTo>
                    <a:pt x="583" y="40"/>
                  </a:lnTo>
                  <a:lnTo>
                    <a:pt x="593" y="43"/>
                  </a:lnTo>
                  <a:lnTo>
                    <a:pt x="618" y="48"/>
                  </a:lnTo>
                  <a:lnTo>
                    <a:pt x="643" y="53"/>
                  </a:lnTo>
                  <a:lnTo>
                    <a:pt x="660" y="55"/>
                  </a:lnTo>
                  <a:lnTo>
                    <a:pt x="676" y="60"/>
                  </a:lnTo>
                  <a:lnTo>
                    <a:pt x="700" y="69"/>
                  </a:lnTo>
                  <a:lnTo>
                    <a:pt x="723" y="78"/>
                  </a:lnTo>
                  <a:lnTo>
                    <a:pt x="732" y="81"/>
                  </a:lnTo>
                  <a:lnTo>
                    <a:pt x="743" y="81"/>
                  </a:lnTo>
                  <a:lnTo>
                    <a:pt x="745" y="86"/>
                  </a:lnTo>
                  <a:lnTo>
                    <a:pt x="753" y="90"/>
                  </a:lnTo>
                  <a:lnTo>
                    <a:pt x="756" y="92"/>
                  </a:lnTo>
                  <a:lnTo>
                    <a:pt x="760" y="96"/>
                  </a:lnTo>
                  <a:lnTo>
                    <a:pt x="762" y="98"/>
                  </a:lnTo>
                  <a:lnTo>
                    <a:pt x="763" y="102"/>
                  </a:lnTo>
                  <a:lnTo>
                    <a:pt x="1215" y="107"/>
                  </a:lnTo>
                  <a:lnTo>
                    <a:pt x="1215" y="117"/>
                  </a:lnTo>
                  <a:lnTo>
                    <a:pt x="1217" y="119"/>
                  </a:lnTo>
                  <a:lnTo>
                    <a:pt x="1218" y="122"/>
                  </a:lnTo>
                  <a:lnTo>
                    <a:pt x="1219" y="128"/>
                  </a:lnTo>
                  <a:lnTo>
                    <a:pt x="1219" y="135"/>
                  </a:lnTo>
                  <a:lnTo>
                    <a:pt x="1219" y="154"/>
                  </a:lnTo>
                  <a:lnTo>
                    <a:pt x="1219" y="175"/>
                  </a:lnTo>
                  <a:lnTo>
                    <a:pt x="1217" y="215"/>
                  </a:lnTo>
                  <a:lnTo>
                    <a:pt x="1215" y="235"/>
                  </a:lnTo>
                  <a:lnTo>
                    <a:pt x="1214" y="244"/>
                  </a:lnTo>
                  <a:lnTo>
                    <a:pt x="1214" y="260"/>
                  </a:lnTo>
                  <a:lnTo>
                    <a:pt x="1214" y="281"/>
                  </a:lnTo>
                  <a:lnTo>
                    <a:pt x="1215" y="303"/>
                  </a:lnTo>
                  <a:lnTo>
                    <a:pt x="1218" y="327"/>
                  </a:lnTo>
                  <a:lnTo>
                    <a:pt x="1222" y="346"/>
                  </a:lnTo>
                  <a:lnTo>
                    <a:pt x="1223" y="353"/>
                  </a:lnTo>
                  <a:lnTo>
                    <a:pt x="1225" y="359"/>
                  </a:lnTo>
                  <a:lnTo>
                    <a:pt x="1228" y="362"/>
                  </a:lnTo>
                  <a:lnTo>
                    <a:pt x="1231" y="365"/>
                  </a:lnTo>
                  <a:lnTo>
                    <a:pt x="1231" y="375"/>
                  </a:lnTo>
                  <a:lnTo>
                    <a:pt x="1241" y="381"/>
                  </a:lnTo>
                  <a:lnTo>
                    <a:pt x="1259" y="396"/>
                  </a:lnTo>
                  <a:lnTo>
                    <a:pt x="1267" y="404"/>
                  </a:lnTo>
                  <a:lnTo>
                    <a:pt x="1275" y="411"/>
                  </a:lnTo>
                  <a:lnTo>
                    <a:pt x="1280" y="417"/>
                  </a:lnTo>
                  <a:lnTo>
                    <a:pt x="1282" y="420"/>
                  </a:lnTo>
                  <a:lnTo>
                    <a:pt x="1308" y="422"/>
                  </a:lnTo>
                  <a:lnTo>
                    <a:pt x="1347" y="425"/>
                  </a:lnTo>
                  <a:lnTo>
                    <a:pt x="1367" y="428"/>
                  </a:lnTo>
                  <a:lnTo>
                    <a:pt x="1385" y="432"/>
                  </a:lnTo>
                  <a:lnTo>
                    <a:pt x="1391" y="434"/>
                  </a:lnTo>
                  <a:lnTo>
                    <a:pt x="1396" y="436"/>
                  </a:lnTo>
                  <a:lnTo>
                    <a:pt x="1399" y="438"/>
                  </a:lnTo>
                  <a:lnTo>
                    <a:pt x="1400" y="442"/>
                  </a:lnTo>
                  <a:lnTo>
                    <a:pt x="1410" y="442"/>
                  </a:lnTo>
                  <a:lnTo>
                    <a:pt x="1411" y="443"/>
                  </a:lnTo>
                  <a:lnTo>
                    <a:pt x="1414" y="445"/>
                  </a:lnTo>
                  <a:lnTo>
                    <a:pt x="1416" y="447"/>
                  </a:lnTo>
                  <a:lnTo>
                    <a:pt x="1419" y="448"/>
                  </a:lnTo>
                  <a:lnTo>
                    <a:pt x="1426" y="451"/>
                  </a:lnTo>
                  <a:lnTo>
                    <a:pt x="1432" y="452"/>
                  </a:lnTo>
                  <a:lnTo>
                    <a:pt x="1432" y="455"/>
                  </a:lnTo>
                  <a:lnTo>
                    <a:pt x="1434" y="458"/>
                  </a:lnTo>
                  <a:lnTo>
                    <a:pt x="1437" y="462"/>
                  </a:lnTo>
                  <a:lnTo>
                    <a:pt x="1442" y="465"/>
                  </a:lnTo>
                  <a:lnTo>
                    <a:pt x="1451" y="472"/>
                  </a:lnTo>
                  <a:lnTo>
                    <a:pt x="1463" y="476"/>
                  </a:lnTo>
                  <a:lnTo>
                    <a:pt x="1474" y="482"/>
                  </a:lnTo>
                  <a:lnTo>
                    <a:pt x="1484" y="487"/>
                  </a:lnTo>
                  <a:lnTo>
                    <a:pt x="1487" y="490"/>
                  </a:lnTo>
                  <a:lnTo>
                    <a:pt x="1491" y="492"/>
                  </a:lnTo>
                  <a:lnTo>
                    <a:pt x="1493" y="495"/>
                  </a:lnTo>
                  <a:lnTo>
                    <a:pt x="1493" y="497"/>
                  </a:lnTo>
                  <a:lnTo>
                    <a:pt x="1509" y="497"/>
                  </a:lnTo>
                  <a:lnTo>
                    <a:pt x="1511" y="500"/>
                  </a:lnTo>
                  <a:lnTo>
                    <a:pt x="1515" y="502"/>
                  </a:lnTo>
                  <a:lnTo>
                    <a:pt x="1522" y="504"/>
                  </a:lnTo>
                  <a:lnTo>
                    <a:pt x="1529" y="506"/>
                  </a:lnTo>
                  <a:lnTo>
                    <a:pt x="1537" y="509"/>
                  </a:lnTo>
                  <a:lnTo>
                    <a:pt x="1543" y="512"/>
                  </a:lnTo>
                  <a:lnTo>
                    <a:pt x="1545" y="513"/>
                  </a:lnTo>
                  <a:lnTo>
                    <a:pt x="1548" y="515"/>
                  </a:lnTo>
                  <a:lnTo>
                    <a:pt x="1549" y="516"/>
                  </a:lnTo>
                  <a:lnTo>
                    <a:pt x="1550" y="519"/>
                  </a:lnTo>
                  <a:lnTo>
                    <a:pt x="1558" y="520"/>
                  </a:lnTo>
                  <a:lnTo>
                    <a:pt x="1567" y="522"/>
                  </a:lnTo>
                  <a:lnTo>
                    <a:pt x="1570" y="524"/>
                  </a:lnTo>
                  <a:lnTo>
                    <a:pt x="1573" y="528"/>
                  </a:lnTo>
                  <a:lnTo>
                    <a:pt x="1574" y="530"/>
                  </a:lnTo>
                  <a:lnTo>
                    <a:pt x="1576" y="534"/>
                  </a:lnTo>
                  <a:lnTo>
                    <a:pt x="1586" y="534"/>
                  </a:lnTo>
                  <a:lnTo>
                    <a:pt x="1588" y="539"/>
                  </a:lnTo>
                  <a:lnTo>
                    <a:pt x="1595" y="547"/>
                  </a:lnTo>
                  <a:lnTo>
                    <a:pt x="1601" y="552"/>
                  </a:lnTo>
                  <a:lnTo>
                    <a:pt x="1607" y="554"/>
                  </a:lnTo>
                  <a:lnTo>
                    <a:pt x="1607" y="564"/>
                  </a:lnTo>
                  <a:lnTo>
                    <a:pt x="1608" y="565"/>
                  </a:lnTo>
                  <a:lnTo>
                    <a:pt x="1610" y="568"/>
                  </a:lnTo>
                  <a:lnTo>
                    <a:pt x="1611" y="572"/>
                  </a:lnTo>
                  <a:lnTo>
                    <a:pt x="1614" y="578"/>
                  </a:lnTo>
                  <a:lnTo>
                    <a:pt x="1617" y="591"/>
                  </a:lnTo>
                  <a:lnTo>
                    <a:pt x="1620" y="606"/>
                  </a:lnTo>
                  <a:lnTo>
                    <a:pt x="1624" y="621"/>
                  </a:lnTo>
                  <a:lnTo>
                    <a:pt x="1627" y="634"/>
                  </a:lnTo>
                  <a:lnTo>
                    <a:pt x="1629" y="639"/>
                  </a:lnTo>
                  <a:lnTo>
                    <a:pt x="1631" y="644"/>
                  </a:lnTo>
                  <a:lnTo>
                    <a:pt x="1635" y="646"/>
                  </a:lnTo>
                  <a:lnTo>
                    <a:pt x="1637" y="647"/>
                  </a:lnTo>
                  <a:lnTo>
                    <a:pt x="1637" y="663"/>
                  </a:lnTo>
                  <a:lnTo>
                    <a:pt x="1643" y="665"/>
                  </a:lnTo>
                  <a:lnTo>
                    <a:pt x="1650" y="673"/>
                  </a:lnTo>
                  <a:lnTo>
                    <a:pt x="1659" y="684"/>
                  </a:lnTo>
                  <a:lnTo>
                    <a:pt x="1670" y="696"/>
                  </a:lnTo>
                  <a:lnTo>
                    <a:pt x="1683" y="708"/>
                  </a:lnTo>
                  <a:lnTo>
                    <a:pt x="1695" y="718"/>
                  </a:lnTo>
                  <a:lnTo>
                    <a:pt x="1702" y="723"/>
                  </a:lnTo>
                  <a:lnTo>
                    <a:pt x="1707" y="726"/>
                  </a:lnTo>
                  <a:lnTo>
                    <a:pt x="1714" y="728"/>
                  </a:lnTo>
                  <a:lnTo>
                    <a:pt x="1720" y="730"/>
                  </a:lnTo>
                  <a:lnTo>
                    <a:pt x="1721" y="734"/>
                  </a:lnTo>
                  <a:lnTo>
                    <a:pt x="1723" y="737"/>
                  </a:lnTo>
                  <a:lnTo>
                    <a:pt x="1726" y="740"/>
                  </a:lnTo>
                  <a:lnTo>
                    <a:pt x="1730" y="742"/>
                  </a:lnTo>
                  <a:lnTo>
                    <a:pt x="1733" y="744"/>
                  </a:lnTo>
                  <a:lnTo>
                    <a:pt x="1736" y="746"/>
                  </a:lnTo>
                  <a:lnTo>
                    <a:pt x="1739" y="750"/>
                  </a:lnTo>
                  <a:lnTo>
                    <a:pt x="1740" y="755"/>
                  </a:lnTo>
                  <a:lnTo>
                    <a:pt x="1751" y="755"/>
                  </a:lnTo>
                  <a:lnTo>
                    <a:pt x="1752" y="757"/>
                  </a:lnTo>
                  <a:lnTo>
                    <a:pt x="1756" y="761"/>
                  </a:lnTo>
                  <a:lnTo>
                    <a:pt x="1763" y="765"/>
                  </a:lnTo>
                  <a:lnTo>
                    <a:pt x="1771" y="771"/>
                  </a:lnTo>
                  <a:lnTo>
                    <a:pt x="1779" y="775"/>
                  </a:lnTo>
                  <a:lnTo>
                    <a:pt x="1785" y="780"/>
                  </a:lnTo>
                  <a:lnTo>
                    <a:pt x="1790" y="783"/>
                  </a:lnTo>
                  <a:lnTo>
                    <a:pt x="1791" y="785"/>
                  </a:lnTo>
                  <a:lnTo>
                    <a:pt x="1802" y="785"/>
                  </a:lnTo>
                  <a:lnTo>
                    <a:pt x="1804" y="790"/>
                  </a:lnTo>
                  <a:lnTo>
                    <a:pt x="1813" y="796"/>
                  </a:lnTo>
                  <a:lnTo>
                    <a:pt x="1826" y="805"/>
                  </a:lnTo>
                  <a:lnTo>
                    <a:pt x="1840" y="815"/>
                  </a:lnTo>
                  <a:lnTo>
                    <a:pt x="1855" y="826"/>
                  </a:lnTo>
                  <a:lnTo>
                    <a:pt x="1869" y="834"/>
                  </a:lnTo>
                  <a:lnTo>
                    <a:pt x="1881" y="840"/>
                  </a:lnTo>
                  <a:lnTo>
                    <a:pt x="1889" y="842"/>
                  </a:lnTo>
                  <a:lnTo>
                    <a:pt x="1890" y="846"/>
                  </a:lnTo>
                  <a:lnTo>
                    <a:pt x="1893" y="847"/>
                  </a:lnTo>
                  <a:lnTo>
                    <a:pt x="1896" y="848"/>
                  </a:lnTo>
                  <a:lnTo>
                    <a:pt x="1899" y="848"/>
                  </a:lnTo>
                  <a:lnTo>
                    <a:pt x="1902" y="858"/>
                  </a:lnTo>
                  <a:lnTo>
                    <a:pt x="1905" y="868"/>
                  </a:lnTo>
                  <a:lnTo>
                    <a:pt x="1906" y="868"/>
                  </a:lnTo>
                  <a:lnTo>
                    <a:pt x="1908" y="869"/>
                  </a:lnTo>
                  <a:lnTo>
                    <a:pt x="1909" y="871"/>
                  </a:lnTo>
                  <a:lnTo>
                    <a:pt x="1909" y="872"/>
                  </a:lnTo>
                  <a:lnTo>
                    <a:pt x="1910" y="878"/>
                  </a:lnTo>
                  <a:lnTo>
                    <a:pt x="1910" y="886"/>
                  </a:lnTo>
                  <a:lnTo>
                    <a:pt x="1908" y="904"/>
                  </a:lnTo>
                  <a:lnTo>
                    <a:pt x="1905" y="925"/>
                  </a:lnTo>
                  <a:lnTo>
                    <a:pt x="1895" y="966"/>
                  </a:lnTo>
                  <a:lnTo>
                    <a:pt x="1889" y="986"/>
                  </a:lnTo>
                  <a:lnTo>
                    <a:pt x="1881" y="1005"/>
                  </a:lnTo>
                  <a:lnTo>
                    <a:pt x="1875" y="1026"/>
                  </a:lnTo>
                  <a:lnTo>
                    <a:pt x="1868" y="1050"/>
                  </a:lnTo>
                  <a:lnTo>
                    <a:pt x="1861" y="1076"/>
                  </a:lnTo>
                  <a:lnTo>
                    <a:pt x="1839" y="1077"/>
                  </a:lnTo>
                  <a:lnTo>
                    <a:pt x="1814" y="1079"/>
                  </a:lnTo>
                  <a:lnTo>
                    <a:pt x="1791" y="1081"/>
                  </a:lnTo>
                  <a:lnTo>
                    <a:pt x="1766" y="1084"/>
                  </a:lnTo>
                  <a:lnTo>
                    <a:pt x="1743" y="1088"/>
                  </a:lnTo>
                  <a:lnTo>
                    <a:pt x="1721" y="1091"/>
                  </a:lnTo>
                  <a:lnTo>
                    <a:pt x="1701" y="1093"/>
                  </a:lnTo>
                  <a:lnTo>
                    <a:pt x="1682" y="1093"/>
                  </a:lnTo>
                  <a:lnTo>
                    <a:pt x="1681" y="1097"/>
                  </a:lnTo>
                  <a:lnTo>
                    <a:pt x="1681" y="1099"/>
                  </a:lnTo>
                  <a:lnTo>
                    <a:pt x="1679" y="1100"/>
                  </a:lnTo>
                  <a:lnTo>
                    <a:pt x="1678" y="1100"/>
                  </a:lnTo>
                  <a:lnTo>
                    <a:pt x="1677" y="1100"/>
                  </a:lnTo>
                  <a:lnTo>
                    <a:pt x="1676" y="1100"/>
                  </a:lnTo>
                  <a:lnTo>
                    <a:pt x="1675" y="1102"/>
                  </a:lnTo>
                  <a:lnTo>
                    <a:pt x="1675" y="1106"/>
                  </a:lnTo>
                  <a:lnTo>
                    <a:pt x="1669" y="1107"/>
                  </a:lnTo>
                  <a:lnTo>
                    <a:pt x="1662" y="1109"/>
                  </a:lnTo>
                  <a:lnTo>
                    <a:pt x="1654" y="1112"/>
                  </a:lnTo>
                  <a:lnTo>
                    <a:pt x="1646" y="1117"/>
                  </a:lnTo>
                  <a:lnTo>
                    <a:pt x="1638" y="1121"/>
                  </a:lnTo>
                  <a:lnTo>
                    <a:pt x="1631" y="1127"/>
                  </a:lnTo>
                  <a:lnTo>
                    <a:pt x="1629" y="1129"/>
                  </a:lnTo>
                  <a:lnTo>
                    <a:pt x="1627" y="1132"/>
                  </a:lnTo>
                  <a:lnTo>
                    <a:pt x="1626" y="1135"/>
                  </a:lnTo>
                  <a:lnTo>
                    <a:pt x="1625" y="1137"/>
                  </a:lnTo>
                  <a:lnTo>
                    <a:pt x="1612" y="1137"/>
                  </a:lnTo>
                  <a:lnTo>
                    <a:pt x="1607" y="1144"/>
                  </a:lnTo>
                  <a:lnTo>
                    <a:pt x="1607" y="1156"/>
                  </a:lnTo>
                  <a:lnTo>
                    <a:pt x="1595" y="1156"/>
                  </a:lnTo>
                  <a:lnTo>
                    <a:pt x="1592" y="1158"/>
                  </a:lnTo>
                  <a:lnTo>
                    <a:pt x="1588" y="1159"/>
                  </a:lnTo>
                  <a:lnTo>
                    <a:pt x="1582" y="1160"/>
                  </a:lnTo>
                  <a:lnTo>
                    <a:pt x="1574" y="1161"/>
                  </a:lnTo>
                  <a:lnTo>
                    <a:pt x="1560" y="1161"/>
                  </a:lnTo>
                  <a:lnTo>
                    <a:pt x="1551" y="1161"/>
                  </a:lnTo>
                  <a:lnTo>
                    <a:pt x="1551" y="1174"/>
                  </a:lnTo>
                  <a:lnTo>
                    <a:pt x="1549" y="1176"/>
                  </a:lnTo>
                  <a:lnTo>
                    <a:pt x="1548" y="1180"/>
                  </a:lnTo>
                  <a:lnTo>
                    <a:pt x="1547" y="1186"/>
                  </a:lnTo>
                  <a:lnTo>
                    <a:pt x="1545" y="1194"/>
                  </a:lnTo>
                  <a:lnTo>
                    <a:pt x="1544" y="1208"/>
                  </a:lnTo>
                  <a:lnTo>
                    <a:pt x="1544" y="1217"/>
                  </a:lnTo>
                  <a:lnTo>
                    <a:pt x="1537" y="1217"/>
                  </a:lnTo>
                  <a:lnTo>
                    <a:pt x="1529" y="1216"/>
                  </a:lnTo>
                  <a:lnTo>
                    <a:pt x="1523" y="1214"/>
                  </a:lnTo>
                  <a:lnTo>
                    <a:pt x="1518" y="1211"/>
                  </a:lnTo>
                  <a:lnTo>
                    <a:pt x="1507" y="1205"/>
                  </a:lnTo>
                  <a:lnTo>
                    <a:pt x="1495" y="1199"/>
                  </a:lnTo>
                  <a:lnTo>
                    <a:pt x="1495" y="1156"/>
                  </a:lnTo>
                  <a:lnTo>
                    <a:pt x="1493" y="1156"/>
                  </a:lnTo>
                  <a:lnTo>
                    <a:pt x="1492" y="1155"/>
                  </a:lnTo>
                  <a:lnTo>
                    <a:pt x="1491" y="1154"/>
                  </a:lnTo>
                  <a:lnTo>
                    <a:pt x="1490" y="1151"/>
                  </a:lnTo>
                  <a:lnTo>
                    <a:pt x="1489" y="1148"/>
                  </a:lnTo>
                  <a:lnTo>
                    <a:pt x="1489" y="1144"/>
                  </a:lnTo>
                  <a:lnTo>
                    <a:pt x="1483" y="1134"/>
                  </a:lnTo>
                  <a:lnTo>
                    <a:pt x="1476" y="1118"/>
                  </a:lnTo>
                  <a:lnTo>
                    <a:pt x="1474" y="1118"/>
                  </a:lnTo>
                  <a:lnTo>
                    <a:pt x="1471" y="1116"/>
                  </a:lnTo>
                  <a:lnTo>
                    <a:pt x="1467" y="1112"/>
                  </a:lnTo>
                  <a:lnTo>
                    <a:pt x="1465" y="1108"/>
                  </a:lnTo>
                  <a:lnTo>
                    <a:pt x="1459" y="1100"/>
                  </a:lnTo>
                  <a:lnTo>
                    <a:pt x="1457" y="1093"/>
                  </a:lnTo>
                  <a:lnTo>
                    <a:pt x="1454" y="1091"/>
                  </a:lnTo>
                  <a:lnTo>
                    <a:pt x="1451" y="1088"/>
                  </a:lnTo>
                  <a:lnTo>
                    <a:pt x="1448" y="1086"/>
                  </a:lnTo>
                  <a:lnTo>
                    <a:pt x="1446" y="1083"/>
                  </a:lnTo>
                  <a:lnTo>
                    <a:pt x="1443" y="1082"/>
                  </a:lnTo>
                  <a:lnTo>
                    <a:pt x="1439" y="1081"/>
                  </a:lnTo>
                  <a:lnTo>
                    <a:pt x="1438" y="1078"/>
                  </a:lnTo>
                  <a:lnTo>
                    <a:pt x="1438" y="1076"/>
                  </a:lnTo>
                  <a:lnTo>
                    <a:pt x="1437" y="1076"/>
                  </a:lnTo>
                  <a:lnTo>
                    <a:pt x="1436" y="1076"/>
                  </a:lnTo>
                  <a:lnTo>
                    <a:pt x="1435" y="1074"/>
                  </a:lnTo>
                  <a:lnTo>
                    <a:pt x="1434" y="1074"/>
                  </a:lnTo>
                  <a:lnTo>
                    <a:pt x="1433" y="1072"/>
                  </a:lnTo>
                  <a:lnTo>
                    <a:pt x="1433" y="1069"/>
                  </a:lnTo>
                  <a:lnTo>
                    <a:pt x="1426" y="1069"/>
                  </a:lnTo>
                  <a:lnTo>
                    <a:pt x="1420" y="1071"/>
                  </a:lnTo>
                  <a:lnTo>
                    <a:pt x="1414" y="1073"/>
                  </a:lnTo>
                  <a:lnTo>
                    <a:pt x="1409" y="1076"/>
                  </a:lnTo>
                  <a:lnTo>
                    <a:pt x="1399" y="1082"/>
                  </a:lnTo>
                  <a:lnTo>
                    <a:pt x="1389" y="1088"/>
                  </a:lnTo>
                  <a:lnTo>
                    <a:pt x="1388" y="1092"/>
                  </a:lnTo>
                  <a:lnTo>
                    <a:pt x="1386" y="1096"/>
                  </a:lnTo>
                  <a:lnTo>
                    <a:pt x="1381" y="1099"/>
                  </a:lnTo>
                  <a:lnTo>
                    <a:pt x="1377" y="1100"/>
                  </a:lnTo>
                  <a:lnTo>
                    <a:pt x="1376" y="1102"/>
                  </a:lnTo>
                  <a:lnTo>
                    <a:pt x="1374" y="1105"/>
                  </a:lnTo>
                  <a:lnTo>
                    <a:pt x="1371" y="1107"/>
                  </a:lnTo>
                  <a:lnTo>
                    <a:pt x="1367" y="1108"/>
                  </a:lnTo>
                  <a:lnTo>
                    <a:pt x="1359" y="1111"/>
                  </a:lnTo>
                  <a:lnTo>
                    <a:pt x="1352" y="1112"/>
                  </a:lnTo>
                  <a:lnTo>
                    <a:pt x="1352" y="1115"/>
                  </a:lnTo>
                  <a:lnTo>
                    <a:pt x="1351" y="1118"/>
                  </a:lnTo>
                  <a:lnTo>
                    <a:pt x="1349" y="1120"/>
                  </a:lnTo>
                  <a:lnTo>
                    <a:pt x="1347" y="1121"/>
                  </a:lnTo>
                  <a:lnTo>
                    <a:pt x="1340" y="1125"/>
                  </a:lnTo>
                  <a:lnTo>
                    <a:pt x="1331" y="1127"/>
                  </a:lnTo>
                  <a:lnTo>
                    <a:pt x="1321" y="1129"/>
                  </a:lnTo>
                  <a:lnTo>
                    <a:pt x="1310" y="1130"/>
                  </a:lnTo>
                  <a:lnTo>
                    <a:pt x="1298" y="1130"/>
                  </a:lnTo>
                  <a:lnTo>
                    <a:pt x="1285" y="1130"/>
                  </a:lnTo>
                  <a:lnTo>
                    <a:pt x="1237" y="1127"/>
                  </a:lnTo>
                  <a:lnTo>
                    <a:pt x="1209" y="1125"/>
                  </a:lnTo>
                  <a:lnTo>
                    <a:pt x="1203" y="1118"/>
                  </a:lnTo>
                  <a:lnTo>
                    <a:pt x="1201" y="1109"/>
                  </a:lnTo>
                  <a:lnTo>
                    <a:pt x="1197" y="1100"/>
                  </a:lnTo>
                  <a:lnTo>
                    <a:pt x="1185" y="1088"/>
                  </a:lnTo>
                  <a:lnTo>
                    <a:pt x="1173" y="1076"/>
                  </a:lnTo>
                  <a:lnTo>
                    <a:pt x="1173" y="1062"/>
                  </a:lnTo>
                  <a:lnTo>
                    <a:pt x="1160" y="1057"/>
                  </a:lnTo>
                  <a:lnTo>
                    <a:pt x="1154" y="1050"/>
                  </a:lnTo>
                  <a:lnTo>
                    <a:pt x="1154" y="1041"/>
                  </a:lnTo>
                  <a:lnTo>
                    <a:pt x="1154" y="1032"/>
                  </a:lnTo>
                  <a:lnTo>
                    <a:pt x="1151" y="1031"/>
                  </a:lnTo>
                  <a:lnTo>
                    <a:pt x="1150" y="1028"/>
                  </a:lnTo>
                  <a:lnTo>
                    <a:pt x="1148" y="1024"/>
                  </a:lnTo>
                  <a:lnTo>
                    <a:pt x="1147" y="1019"/>
                  </a:lnTo>
                  <a:lnTo>
                    <a:pt x="1145" y="1014"/>
                  </a:lnTo>
                  <a:lnTo>
                    <a:pt x="1142" y="1011"/>
                  </a:lnTo>
                  <a:lnTo>
                    <a:pt x="1139" y="1007"/>
                  </a:lnTo>
                  <a:lnTo>
                    <a:pt x="1135" y="1006"/>
                  </a:lnTo>
                  <a:lnTo>
                    <a:pt x="1135" y="994"/>
                  </a:lnTo>
                  <a:lnTo>
                    <a:pt x="1119" y="982"/>
                  </a:lnTo>
                  <a:lnTo>
                    <a:pt x="1103" y="969"/>
                  </a:lnTo>
                  <a:lnTo>
                    <a:pt x="1088" y="969"/>
                  </a:lnTo>
                  <a:lnTo>
                    <a:pt x="1060" y="971"/>
                  </a:lnTo>
                  <a:lnTo>
                    <a:pt x="1024" y="971"/>
                  </a:lnTo>
                  <a:lnTo>
                    <a:pt x="986" y="969"/>
                  </a:lnTo>
                  <a:lnTo>
                    <a:pt x="949" y="967"/>
                  </a:lnTo>
                  <a:lnTo>
                    <a:pt x="917" y="964"/>
                  </a:lnTo>
                  <a:lnTo>
                    <a:pt x="905" y="962"/>
                  </a:lnTo>
                  <a:lnTo>
                    <a:pt x="895" y="958"/>
                  </a:lnTo>
                  <a:lnTo>
                    <a:pt x="891" y="957"/>
                  </a:lnTo>
                  <a:lnTo>
                    <a:pt x="889" y="955"/>
                  </a:lnTo>
                  <a:lnTo>
                    <a:pt x="887" y="953"/>
                  </a:lnTo>
                  <a:lnTo>
                    <a:pt x="887" y="951"/>
                  </a:lnTo>
                  <a:lnTo>
                    <a:pt x="881" y="951"/>
                  </a:lnTo>
                  <a:lnTo>
                    <a:pt x="876" y="949"/>
                  </a:lnTo>
                  <a:lnTo>
                    <a:pt x="869" y="947"/>
                  </a:lnTo>
                  <a:lnTo>
                    <a:pt x="863" y="944"/>
                  </a:lnTo>
                  <a:lnTo>
                    <a:pt x="858" y="940"/>
                  </a:lnTo>
                  <a:lnTo>
                    <a:pt x="853" y="938"/>
                  </a:lnTo>
                  <a:lnTo>
                    <a:pt x="851" y="935"/>
                  </a:lnTo>
                  <a:lnTo>
                    <a:pt x="850" y="933"/>
                  </a:lnTo>
                  <a:lnTo>
                    <a:pt x="834" y="933"/>
                  </a:lnTo>
                  <a:lnTo>
                    <a:pt x="820" y="934"/>
                  </a:lnTo>
                  <a:lnTo>
                    <a:pt x="805" y="935"/>
                  </a:lnTo>
                  <a:lnTo>
                    <a:pt x="792" y="937"/>
                  </a:lnTo>
                  <a:lnTo>
                    <a:pt x="765" y="942"/>
                  </a:lnTo>
                  <a:lnTo>
                    <a:pt x="738" y="948"/>
                  </a:lnTo>
                  <a:lnTo>
                    <a:pt x="713" y="954"/>
                  </a:lnTo>
                  <a:lnTo>
                    <a:pt x="686" y="958"/>
                  </a:lnTo>
                  <a:lnTo>
                    <a:pt x="672" y="961"/>
                  </a:lnTo>
                  <a:lnTo>
                    <a:pt x="660" y="962"/>
                  </a:lnTo>
                  <a:lnTo>
                    <a:pt x="646" y="963"/>
                  </a:lnTo>
                  <a:lnTo>
                    <a:pt x="632" y="963"/>
                  </a:lnTo>
                  <a:lnTo>
                    <a:pt x="629" y="951"/>
                  </a:lnTo>
                  <a:lnTo>
                    <a:pt x="626" y="938"/>
                  </a:lnTo>
                  <a:lnTo>
                    <a:pt x="623" y="937"/>
                  </a:lnTo>
                  <a:lnTo>
                    <a:pt x="621" y="934"/>
                  </a:lnTo>
                  <a:lnTo>
                    <a:pt x="619" y="928"/>
                  </a:lnTo>
                  <a:lnTo>
                    <a:pt x="618" y="923"/>
                  </a:lnTo>
                  <a:lnTo>
                    <a:pt x="614" y="909"/>
                  </a:lnTo>
                  <a:lnTo>
                    <a:pt x="613" y="901"/>
                  </a:lnTo>
                  <a:lnTo>
                    <a:pt x="608" y="896"/>
                  </a:lnTo>
                  <a:lnTo>
                    <a:pt x="601" y="889"/>
                  </a:lnTo>
                  <a:lnTo>
                    <a:pt x="594" y="885"/>
                  </a:lnTo>
                  <a:lnTo>
                    <a:pt x="589" y="882"/>
                  </a:lnTo>
                  <a:lnTo>
                    <a:pt x="589" y="870"/>
                  </a:lnTo>
                  <a:lnTo>
                    <a:pt x="582" y="863"/>
                  </a:lnTo>
                  <a:lnTo>
                    <a:pt x="570" y="863"/>
                  </a:lnTo>
                  <a:lnTo>
                    <a:pt x="558" y="863"/>
                  </a:lnTo>
                  <a:lnTo>
                    <a:pt x="558" y="862"/>
                  </a:lnTo>
                  <a:lnTo>
                    <a:pt x="556" y="861"/>
                  </a:lnTo>
                  <a:lnTo>
                    <a:pt x="554" y="860"/>
                  </a:lnTo>
                  <a:lnTo>
                    <a:pt x="551" y="859"/>
                  </a:lnTo>
                  <a:lnTo>
                    <a:pt x="543" y="858"/>
                  </a:lnTo>
                  <a:lnTo>
                    <a:pt x="533" y="858"/>
                  </a:lnTo>
                  <a:lnTo>
                    <a:pt x="506" y="860"/>
                  </a:lnTo>
                  <a:lnTo>
                    <a:pt x="477" y="865"/>
                  </a:lnTo>
                  <a:lnTo>
                    <a:pt x="447" y="869"/>
                  </a:lnTo>
                  <a:lnTo>
                    <a:pt x="421" y="875"/>
                  </a:lnTo>
                  <a:lnTo>
                    <a:pt x="403" y="879"/>
                  </a:lnTo>
                  <a:lnTo>
                    <a:pt x="397" y="882"/>
                  </a:lnTo>
                  <a:lnTo>
                    <a:pt x="384" y="884"/>
                  </a:lnTo>
                  <a:lnTo>
                    <a:pt x="372" y="885"/>
                  </a:lnTo>
                  <a:lnTo>
                    <a:pt x="359" y="886"/>
                  </a:lnTo>
                  <a:lnTo>
                    <a:pt x="344" y="889"/>
                  </a:lnTo>
                  <a:lnTo>
                    <a:pt x="344" y="889"/>
                  </a:lnTo>
                  <a:lnTo>
                    <a:pt x="345" y="890"/>
                  </a:lnTo>
                  <a:lnTo>
                    <a:pt x="344" y="887"/>
                  </a:lnTo>
                  <a:lnTo>
                    <a:pt x="344" y="882"/>
                  </a:lnTo>
                  <a:lnTo>
                    <a:pt x="322" y="882"/>
                  </a:lnTo>
                  <a:lnTo>
                    <a:pt x="321" y="881"/>
                  </a:lnTo>
                  <a:lnTo>
                    <a:pt x="318" y="880"/>
                  </a:lnTo>
                  <a:lnTo>
                    <a:pt x="313" y="879"/>
                  </a:lnTo>
                  <a:lnTo>
                    <a:pt x="307" y="879"/>
                  </a:lnTo>
                  <a:lnTo>
                    <a:pt x="297" y="878"/>
                  </a:lnTo>
                  <a:lnTo>
                    <a:pt x="291" y="878"/>
                  </a:lnTo>
                  <a:lnTo>
                    <a:pt x="290" y="876"/>
                  </a:lnTo>
                  <a:lnTo>
                    <a:pt x="287" y="875"/>
                  </a:lnTo>
                  <a:lnTo>
                    <a:pt x="285" y="874"/>
                  </a:lnTo>
                  <a:lnTo>
                    <a:pt x="282" y="874"/>
                  </a:lnTo>
                  <a:lnTo>
                    <a:pt x="278" y="872"/>
                  </a:lnTo>
                  <a:lnTo>
                    <a:pt x="271" y="871"/>
                  </a:lnTo>
                  <a:lnTo>
                    <a:pt x="259" y="870"/>
                  </a:lnTo>
                  <a:lnTo>
                    <a:pt x="247" y="870"/>
                  </a:lnTo>
                  <a:lnTo>
                    <a:pt x="222" y="869"/>
                  </a:lnTo>
                  <a:lnTo>
                    <a:pt x="206" y="869"/>
                  </a:lnTo>
                  <a:lnTo>
                    <a:pt x="205" y="871"/>
                  </a:lnTo>
                  <a:lnTo>
                    <a:pt x="204" y="872"/>
                  </a:lnTo>
                  <a:lnTo>
                    <a:pt x="203" y="872"/>
                  </a:lnTo>
                  <a:lnTo>
                    <a:pt x="199" y="874"/>
                  </a:lnTo>
                  <a:lnTo>
                    <a:pt x="194" y="874"/>
                  </a:lnTo>
                  <a:lnTo>
                    <a:pt x="186" y="872"/>
                  </a:lnTo>
                  <a:lnTo>
                    <a:pt x="172" y="870"/>
                  </a:lnTo>
                  <a:lnTo>
                    <a:pt x="166" y="869"/>
                  </a:lnTo>
                  <a:lnTo>
                    <a:pt x="158" y="862"/>
                  </a:lnTo>
                  <a:lnTo>
                    <a:pt x="148" y="856"/>
                  </a:lnTo>
                  <a:lnTo>
                    <a:pt x="134" y="856"/>
                  </a:lnTo>
                  <a:lnTo>
                    <a:pt x="134" y="855"/>
                  </a:lnTo>
                  <a:lnTo>
                    <a:pt x="133" y="853"/>
                  </a:lnTo>
                  <a:lnTo>
                    <a:pt x="131" y="852"/>
                  </a:lnTo>
                  <a:lnTo>
                    <a:pt x="129" y="852"/>
                  </a:lnTo>
                  <a:lnTo>
                    <a:pt x="125" y="851"/>
                  </a:lnTo>
                  <a:lnTo>
                    <a:pt x="121" y="851"/>
                  </a:lnTo>
                  <a:lnTo>
                    <a:pt x="120" y="849"/>
                  </a:lnTo>
                  <a:lnTo>
                    <a:pt x="118" y="848"/>
                  </a:lnTo>
                  <a:lnTo>
                    <a:pt x="115" y="847"/>
                  </a:lnTo>
                  <a:lnTo>
                    <a:pt x="112" y="847"/>
                  </a:lnTo>
                  <a:lnTo>
                    <a:pt x="110" y="842"/>
                  </a:lnTo>
                  <a:lnTo>
                    <a:pt x="108" y="838"/>
                  </a:lnTo>
                  <a:lnTo>
                    <a:pt x="103" y="838"/>
                  </a:lnTo>
                  <a:lnTo>
                    <a:pt x="99" y="836"/>
                  </a:lnTo>
                  <a:lnTo>
                    <a:pt x="95" y="832"/>
                  </a:lnTo>
                  <a:lnTo>
                    <a:pt x="94" y="829"/>
                  </a:lnTo>
                  <a:lnTo>
                    <a:pt x="85" y="829"/>
                  </a:lnTo>
                  <a:lnTo>
                    <a:pt x="84" y="826"/>
                  </a:lnTo>
                  <a:lnTo>
                    <a:pt x="83" y="823"/>
                  </a:lnTo>
                  <a:lnTo>
                    <a:pt x="80" y="821"/>
                  </a:lnTo>
                  <a:lnTo>
                    <a:pt x="76" y="820"/>
                  </a:lnTo>
                  <a:lnTo>
                    <a:pt x="75" y="817"/>
                  </a:lnTo>
                  <a:lnTo>
                    <a:pt x="72" y="814"/>
                  </a:lnTo>
                  <a:lnTo>
                    <a:pt x="67" y="812"/>
                  </a:lnTo>
                  <a:lnTo>
                    <a:pt x="63" y="811"/>
                  </a:lnTo>
                  <a:lnTo>
                    <a:pt x="63" y="798"/>
                  </a:lnTo>
                  <a:lnTo>
                    <a:pt x="59" y="795"/>
                  </a:lnTo>
                  <a:lnTo>
                    <a:pt x="54" y="793"/>
                  </a:lnTo>
                  <a:lnTo>
                    <a:pt x="54" y="784"/>
                  </a:lnTo>
                  <a:lnTo>
                    <a:pt x="45" y="784"/>
                  </a:lnTo>
                  <a:lnTo>
                    <a:pt x="32" y="775"/>
                  </a:lnTo>
                  <a:lnTo>
                    <a:pt x="32" y="775"/>
                  </a:lnTo>
                  <a:lnTo>
                    <a:pt x="24" y="742"/>
                  </a:lnTo>
                  <a:lnTo>
                    <a:pt x="17" y="707"/>
                  </a:lnTo>
                  <a:lnTo>
                    <a:pt x="8" y="672"/>
                  </a:lnTo>
                  <a:lnTo>
                    <a:pt x="0" y="636"/>
                  </a:lnTo>
                  <a:lnTo>
                    <a:pt x="3" y="634"/>
                  </a:lnTo>
                  <a:lnTo>
                    <a:pt x="7" y="628"/>
                  </a:lnTo>
                  <a:lnTo>
                    <a:pt x="11" y="620"/>
                  </a:lnTo>
                  <a:lnTo>
                    <a:pt x="15" y="611"/>
                  </a:lnTo>
                  <a:lnTo>
                    <a:pt x="19" y="601"/>
                  </a:lnTo>
                  <a:lnTo>
                    <a:pt x="23" y="592"/>
                  </a:lnTo>
                  <a:lnTo>
                    <a:pt x="25" y="583"/>
                  </a:lnTo>
                  <a:lnTo>
                    <a:pt x="26" y="578"/>
                  </a:lnTo>
                  <a:lnTo>
                    <a:pt x="29" y="576"/>
                  </a:lnTo>
                  <a:lnTo>
                    <a:pt x="34" y="572"/>
                  </a:lnTo>
                  <a:lnTo>
                    <a:pt x="40" y="567"/>
                  </a:lnTo>
                  <a:lnTo>
                    <a:pt x="44" y="560"/>
                  </a:lnTo>
                  <a:lnTo>
                    <a:pt x="50" y="552"/>
                  </a:lnTo>
                  <a:lnTo>
                    <a:pt x="54" y="544"/>
                  </a:lnTo>
                  <a:lnTo>
                    <a:pt x="57" y="538"/>
                  </a:lnTo>
                  <a:lnTo>
                    <a:pt x="59" y="532"/>
                  </a:lnTo>
                  <a:lnTo>
                    <a:pt x="61" y="531"/>
                  </a:lnTo>
                  <a:lnTo>
                    <a:pt x="64" y="530"/>
                  </a:lnTo>
                  <a:lnTo>
                    <a:pt x="67" y="528"/>
                  </a:lnTo>
                  <a:lnTo>
                    <a:pt x="71" y="524"/>
                  </a:lnTo>
                  <a:lnTo>
                    <a:pt x="73" y="522"/>
                  </a:lnTo>
                  <a:lnTo>
                    <a:pt x="75" y="519"/>
                  </a:lnTo>
                  <a:lnTo>
                    <a:pt x="77" y="515"/>
                  </a:lnTo>
                  <a:lnTo>
                    <a:pt x="77" y="513"/>
                  </a:lnTo>
                  <a:lnTo>
                    <a:pt x="81" y="512"/>
                  </a:lnTo>
                  <a:lnTo>
                    <a:pt x="84" y="510"/>
                  </a:lnTo>
                  <a:lnTo>
                    <a:pt x="89" y="506"/>
                  </a:lnTo>
                  <a:lnTo>
                    <a:pt x="94" y="502"/>
                  </a:lnTo>
                  <a:lnTo>
                    <a:pt x="103" y="493"/>
                  </a:lnTo>
                  <a:lnTo>
                    <a:pt x="110" y="486"/>
                  </a:lnTo>
                  <a:lnTo>
                    <a:pt x="123" y="486"/>
                  </a:lnTo>
                  <a:lnTo>
                    <a:pt x="124" y="482"/>
                  </a:lnTo>
                  <a:lnTo>
                    <a:pt x="127" y="480"/>
                  </a:lnTo>
                  <a:lnTo>
                    <a:pt x="131" y="476"/>
                  </a:lnTo>
                  <a:lnTo>
                    <a:pt x="136" y="474"/>
                  </a:lnTo>
                  <a:lnTo>
                    <a:pt x="141" y="473"/>
                  </a:lnTo>
                  <a:lnTo>
                    <a:pt x="144" y="471"/>
                  </a:lnTo>
                  <a:lnTo>
                    <a:pt x="148" y="469"/>
                  </a:lnTo>
                  <a:lnTo>
                    <a:pt x="149" y="467"/>
                  </a:lnTo>
                  <a:lnTo>
                    <a:pt x="162" y="467"/>
                  </a:lnTo>
                  <a:lnTo>
                    <a:pt x="168" y="462"/>
                  </a:lnTo>
                  <a:lnTo>
                    <a:pt x="175" y="456"/>
                  </a:lnTo>
                  <a:lnTo>
                    <a:pt x="177" y="454"/>
                  </a:lnTo>
                  <a:lnTo>
                    <a:pt x="179" y="449"/>
                  </a:lnTo>
                  <a:lnTo>
                    <a:pt x="181" y="446"/>
                  </a:lnTo>
                  <a:lnTo>
                    <a:pt x="181" y="442"/>
                  </a:lnTo>
                  <a:lnTo>
                    <a:pt x="195" y="442"/>
                  </a:lnTo>
                  <a:lnTo>
                    <a:pt x="195" y="436"/>
                  </a:lnTo>
                  <a:lnTo>
                    <a:pt x="195" y="429"/>
                  </a:lnTo>
                  <a:lnTo>
                    <a:pt x="196" y="426"/>
                  </a:lnTo>
                  <a:lnTo>
                    <a:pt x="197" y="424"/>
                  </a:lnTo>
                  <a:lnTo>
                    <a:pt x="199" y="423"/>
                  </a:lnTo>
                  <a:lnTo>
                    <a:pt x="200" y="422"/>
                  </a:lnTo>
                  <a:lnTo>
                    <a:pt x="200" y="409"/>
                  </a:lnTo>
                  <a:lnTo>
                    <a:pt x="220" y="389"/>
                  </a:lnTo>
                  <a:lnTo>
                    <a:pt x="226" y="388"/>
                  </a:lnTo>
                  <a:lnTo>
                    <a:pt x="233" y="386"/>
                  </a:lnTo>
                  <a:lnTo>
                    <a:pt x="235" y="384"/>
                  </a:lnTo>
                  <a:lnTo>
                    <a:pt x="237" y="381"/>
                  </a:lnTo>
                  <a:lnTo>
                    <a:pt x="239" y="379"/>
                  </a:lnTo>
                  <a:lnTo>
                    <a:pt x="239" y="377"/>
                  </a:lnTo>
                  <a:lnTo>
                    <a:pt x="253" y="377"/>
                  </a:lnTo>
                  <a:lnTo>
                    <a:pt x="263" y="367"/>
                  </a:lnTo>
                  <a:lnTo>
                    <a:pt x="272" y="357"/>
                  </a:lnTo>
                  <a:lnTo>
                    <a:pt x="277" y="356"/>
                  </a:lnTo>
                  <a:lnTo>
                    <a:pt x="283" y="352"/>
                  </a:lnTo>
                  <a:lnTo>
                    <a:pt x="288" y="347"/>
                  </a:lnTo>
                  <a:lnTo>
                    <a:pt x="294" y="341"/>
                  </a:lnTo>
                  <a:lnTo>
                    <a:pt x="300" y="334"/>
                  </a:lnTo>
                  <a:lnTo>
                    <a:pt x="304" y="330"/>
                  </a:lnTo>
                  <a:lnTo>
                    <a:pt x="307" y="327"/>
                  </a:lnTo>
                  <a:lnTo>
                    <a:pt x="311" y="324"/>
                  </a:lnTo>
                  <a:lnTo>
                    <a:pt x="311" y="320"/>
                  </a:lnTo>
                  <a:lnTo>
                    <a:pt x="312" y="315"/>
                  </a:lnTo>
                  <a:lnTo>
                    <a:pt x="312" y="314"/>
                  </a:lnTo>
                  <a:lnTo>
                    <a:pt x="314" y="313"/>
                  </a:lnTo>
                  <a:lnTo>
                    <a:pt x="315" y="312"/>
                  </a:lnTo>
                  <a:lnTo>
                    <a:pt x="318" y="312"/>
                  </a:lnTo>
                  <a:lnTo>
                    <a:pt x="319" y="294"/>
                  </a:lnTo>
                  <a:lnTo>
                    <a:pt x="322" y="269"/>
                  </a:lnTo>
                  <a:lnTo>
                    <a:pt x="323" y="255"/>
                  </a:lnTo>
                  <a:lnTo>
                    <a:pt x="323" y="244"/>
                  </a:lnTo>
                  <a:lnTo>
                    <a:pt x="322" y="241"/>
                  </a:lnTo>
                  <a:lnTo>
                    <a:pt x="321" y="237"/>
                  </a:lnTo>
                  <a:lnTo>
                    <a:pt x="320" y="235"/>
                  </a:lnTo>
                  <a:lnTo>
                    <a:pt x="318" y="234"/>
                  </a:lnTo>
                  <a:lnTo>
                    <a:pt x="318" y="225"/>
                  </a:lnTo>
                  <a:lnTo>
                    <a:pt x="319" y="212"/>
                  </a:lnTo>
                  <a:lnTo>
                    <a:pt x="319" y="206"/>
                  </a:lnTo>
                  <a:lnTo>
                    <a:pt x="320" y="201"/>
                  </a:lnTo>
                  <a:lnTo>
                    <a:pt x="322" y="197"/>
                  </a:lnTo>
                  <a:lnTo>
                    <a:pt x="324" y="195"/>
                  </a:lnTo>
                  <a:lnTo>
                    <a:pt x="324" y="186"/>
                  </a:lnTo>
                  <a:lnTo>
                    <a:pt x="324" y="176"/>
                  </a:lnTo>
                  <a:lnTo>
                    <a:pt x="330" y="169"/>
                  </a:lnTo>
                  <a:lnTo>
                    <a:pt x="336" y="163"/>
                  </a:lnTo>
                  <a:lnTo>
                    <a:pt x="350" y="163"/>
                  </a:lnTo>
                  <a:lnTo>
                    <a:pt x="350" y="158"/>
                  </a:lnTo>
                  <a:lnTo>
                    <a:pt x="351" y="154"/>
                  </a:lnTo>
                  <a:lnTo>
                    <a:pt x="351" y="153"/>
                  </a:lnTo>
                  <a:lnTo>
                    <a:pt x="352" y="151"/>
                  </a:lnTo>
                  <a:lnTo>
                    <a:pt x="354" y="150"/>
                  </a:lnTo>
                  <a:lnTo>
                    <a:pt x="357" y="150"/>
                  </a:lnTo>
                  <a:lnTo>
                    <a:pt x="357" y="144"/>
                  </a:lnTo>
                  <a:lnTo>
                    <a:pt x="357" y="138"/>
                  </a:lnTo>
                  <a:lnTo>
                    <a:pt x="358" y="135"/>
                  </a:lnTo>
                  <a:lnTo>
                    <a:pt x="359" y="132"/>
                  </a:lnTo>
                  <a:lnTo>
                    <a:pt x="361" y="131"/>
                  </a:lnTo>
                  <a:lnTo>
                    <a:pt x="362" y="130"/>
                  </a:lnTo>
                  <a:lnTo>
                    <a:pt x="361" y="105"/>
                  </a:lnTo>
                  <a:lnTo>
                    <a:pt x="357" y="77"/>
                  </a:lnTo>
                  <a:lnTo>
                    <a:pt x="352" y="50"/>
                  </a:lnTo>
                  <a:lnTo>
                    <a:pt x="350" y="26"/>
                  </a:lnTo>
                  <a:lnTo>
                    <a:pt x="347" y="26"/>
                  </a:lnTo>
                  <a:lnTo>
                    <a:pt x="344" y="26"/>
                  </a:lnTo>
                  <a:lnTo>
                    <a:pt x="343" y="25"/>
                  </a:lnTo>
                  <a:lnTo>
                    <a:pt x="343" y="24"/>
                  </a:lnTo>
                  <a:lnTo>
                    <a:pt x="343" y="22"/>
                  </a:lnTo>
                  <a:lnTo>
                    <a:pt x="342" y="22"/>
                  </a:lnTo>
                  <a:lnTo>
                    <a:pt x="341" y="21"/>
                  </a:lnTo>
                  <a:lnTo>
                    <a:pt x="336" y="21"/>
                  </a:lnTo>
                  <a:lnTo>
                    <a:pt x="336" y="7"/>
                  </a:lnTo>
                  <a:lnTo>
                    <a:pt x="333" y="7"/>
                  </a:lnTo>
                  <a:lnTo>
                    <a:pt x="330" y="7"/>
                  </a:lnTo>
                  <a:lnTo>
                    <a:pt x="326" y="6"/>
                  </a:lnTo>
                  <a:lnTo>
                    <a:pt x="325" y="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55" name="Freeform 21"/>
            <p:cNvSpPr>
              <a:spLocks noChangeAspect="1"/>
            </p:cNvSpPr>
            <p:nvPr/>
          </p:nvSpPr>
          <p:spPr bwMode="gray">
            <a:xfrm rot="355651">
              <a:off x="6324356" y="3679825"/>
              <a:ext cx="424241" cy="297026"/>
            </a:xfrm>
            <a:custGeom>
              <a:avLst/>
              <a:gdLst/>
              <a:ahLst/>
              <a:cxnLst>
                <a:cxn ang="0">
                  <a:pos x="1559" y="152"/>
                </a:cxn>
                <a:cxn ang="0">
                  <a:pos x="1479" y="175"/>
                </a:cxn>
                <a:cxn ang="0">
                  <a:pos x="1464" y="231"/>
                </a:cxn>
                <a:cxn ang="0">
                  <a:pos x="1405" y="655"/>
                </a:cxn>
                <a:cxn ang="0">
                  <a:pos x="1287" y="654"/>
                </a:cxn>
                <a:cxn ang="0">
                  <a:pos x="1104" y="600"/>
                </a:cxn>
                <a:cxn ang="0">
                  <a:pos x="1072" y="526"/>
                </a:cxn>
                <a:cxn ang="0">
                  <a:pos x="1004" y="494"/>
                </a:cxn>
                <a:cxn ang="0">
                  <a:pos x="947" y="453"/>
                </a:cxn>
                <a:cxn ang="0">
                  <a:pos x="887" y="244"/>
                </a:cxn>
                <a:cxn ang="0">
                  <a:pos x="837" y="336"/>
                </a:cxn>
                <a:cxn ang="0">
                  <a:pos x="778" y="534"/>
                </a:cxn>
                <a:cxn ang="0">
                  <a:pos x="657" y="579"/>
                </a:cxn>
                <a:cxn ang="0">
                  <a:pos x="535" y="538"/>
                </a:cxn>
                <a:cxn ang="0">
                  <a:pos x="528" y="674"/>
                </a:cxn>
                <a:cxn ang="0">
                  <a:pos x="2" y="767"/>
                </a:cxn>
                <a:cxn ang="0">
                  <a:pos x="62" y="814"/>
                </a:cxn>
                <a:cxn ang="0">
                  <a:pos x="107" y="891"/>
                </a:cxn>
                <a:cxn ang="0">
                  <a:pos x="147" y="977"/>
                </a:cxn>
                <a:cxn ang="0">
                  <a:pos x="219" y="1022"/>
                </a:cxn>
                <a:cxn ang="0">
                  <a:pos x="264" y="1055"/>
                </a:cxn>
                <a:cxn ang="0">
                  <a:pos x="318" y="1093"/>
                </a:cxn>
                <a:cxn ang="0">
                  <a:pos x="381" y="1122"/>
                </a:cxn>
                <a:cxn ang="0">
                  <a:pos x="534" y="1100"/>
                </a:cxn>
                <a:cxn ang="0">
                  <a:pos x="569" y="1075"/>
                </a:cxn>
                <a:cxn ang="0">
                  <a:pos x="743" y="1040"/>
                </a:cxn>
                <a:cxn ang="0">
                  <a:pos x="832" y="988"/>
                </a:cxn>
                <a:cxn ang="0">
                  <a:pos x="1019" y="875"/>
                </a:cxn>
                <a:cxn ang="0">
                  <a:pos x="1183" y="757"/>
                </a:cxn>
                <a:cxn ang="0">
                  <a:pos x="1260" y="843"/>
                </a:cxn>
                <a:cxn ang="0">
                  <a:pos x="1310" y="899"/>
                </a:cxn>
                <a:cxn ang="0">
                  <a:pos x="1360" y="939"/>
                </a:cxn>
                <a:cxn ang="0">
                  <a:pos x="1462" y="1024"/>
                </a:cxn>
                <a:cxn ang="0">
                  <a:pos x="1500" y="1058"/>
                </a:cxn>
                <a:cxn ang="0">
                  <a:pos x="1578" y="1132"/>
                </a:cxn>
                <a:cxn ang="0">
                  <a:pos x="1599" y="1361"/>
                </a:cxn>
                <a:cxn ang="0">
                  <a:pos x="1801" y="1383"/>
                </a:cxn>
                <a:cxn ang="0">
                  <a:pos x="1897" y="1506"/>
                </a:cxn>
                <a:cxn ang="0">
                  <a:pos x="1941" y="1560"/>
                </a:cxn>
                <a:cxn ang="0">
                  <a:pos x="1987" y="1625"/>
                </a:cxn>
                <a:cxn ang="0">
                  <a:pos x="2025" y="1771"/>
                </a:cxn>
                <a:cxn ang="0">
                  <a:pos x="2099" y="1829"/>
                </a:cxn>
                <a:cxn ang="0">
                  <a:pos x="2163" y="1841"/>
                </a:cxn>
                <a:cxn ang="0">
                  <a:pos x="2198" y="1809"/>
                </a:cxn>
                <a:cxn ang="0">
                  <a:pos x="2223" y="1745"/>
                </a:cxn>
                <a:cxn ang="0">
                  <a:pos x="2275" y="1664"/>
                </a:cxn>
                <a:cxn ang="0">
                  <a:pos x="2309" y="1475"/>
                </a:cxn>
                <a:cxn ang="0">
                  <a:pos x="2262" y="1420"/>
                </a:cxn>
                <a:cxn ang="0">
                  <a:pos x="2231" y="1397"/>
                </a:cxn>
                <a:cxn ang="0">
                  <a:pos x="2208" y="1366"/>
                </a:cxn>
                <a:cxn ang="0">
                  <a:pos x="2118" y="1273"/>
                </a:cxn>
                <a:cxn ang="0">
                  <a:pos x="2148" y="744"/>
                </a:cxn>
                <a:cxn ang="0">
                  <a:pos x="2170" y="603"/>
                </a:cxn>
                <a:cxn ang="0">
                  <a:pos x="2268" y="471"/>
                </a:cxn>
                <a:cxn ang="0">
                  <a:pos x="2207" y="332"/>
                </a:cxn>
                <a:cxn ang="0">
                  <a:pos x="2170" y="277"/>
                </a:cxn>
                <a:cxn ang="0">
                  <a:pos x="2013" y="199"/>
                </a:cxn>
                <a:cxn ang="0">
                  <a:pos x="1893" y="107"/>
                </a:cxn>
                <a:cxn ang="0">
                  <a:pos x="1718" y="29"/>
                </a:cxn>
                <a:cxn ang="0">
                  <a:pos x="1465" y="13"/>
                </a:cxn>
              </a:cxnLst>
              <a:rect l="0" t="0" r="r" b="b"/>
              <a:pathLst>
                <a:path w="2316" h="1848">
                  <a:moveTo>
                    <a:pt x="1558" y="74"/>
                  </a:moveTo>
                  <a:lnTo>
                    <a:pt x="1574" y="74"/>
                  </a:lnTo>
                  <a:lnTo>
                    <a:pt x="1574" y="90"/>
                  </a:lnTo>
                  <a:lnTo>
                    <a:pt x="1577" y="92"/>
                  </a:lnTo>
                  <a:lnTo>
                    <a:pt x="1582" y="98"/>
                  </a:lnTo>
                  <a:lnTo>
                    <a:pt x="1587" y="107"/>
                  </a:lnTo>
                  <a:lnTo>
                    <a:pt x="1591" y="117"/>
                  </a:lnTo>
                  <a:lnTo>
                    <a:pt x="1593" y="122"/>
                  </a:lnTo>
                  <a:lnTo>
                    <a:pt x="1593" y="127"/>
                  </a:lnTo>
                  <a:lnTo>
                    <a:pt x="1593" y="132"/>
                  </a:lnTo>
                  <a:lnTo>
                    <a:pt x="1591" y="137"/>
                  </a:lnTo>
                  <a:lnTo>
                    <a:pt x="1588" y="141"/>
                  </a:lnTo>
                  <a:lnTo>
                    <a:pt x="1585" y="145"/>
                  </a:lnTo>
                  <a:lnTo>
                    <a:pt x="1579" y="147"/>
                  </a:lnTo>
                  <a:lnTo>
                    <a:pt x="1571" y="149"/>
                  </a:lnTo>
                  <a:lnTo>
                    <a:pt x="1559" y="152"/>
                  </a:lnTo>
                  <a:lnTo>
                    <a:pt x="1539" y="159"/>
                  </a:lnTo>
                  <a:lnTo>
                    <a:pt x="1529" y="163"/>
                  </a:lnTo>
                  <a:lnTo>
                    <a:pt x="1519" y="164"/>
                  </a:lnTo>
                  <a:lnTo>
                    <a:pt x="1510" y="165"/>
                  </a:lnTo>
                  <a:lnTo>
                    <a:pt x="1502" y="163"/>
                  </a:lnTo>
                  <a:lnTo>
                    <a:pt x="1494" y="148"/>
                  </a:lnTo>
                  <a:lnTo>
                    <a:pt x="1489" y="140"/>
                  </a:lnTo>
                  <a:lnTo>
                    <a:pt x="1486" y="138"/>
                  </a:lnTo>
                  <a:lnTo>
                    <a:pt x="1485" y="138"/>
                  </a:lnTo>
                  <a:lnTo>
                    <a:pt x="1483" y="139"/>
                  </a:lnTo>
                  <a:lnTo>
                    <a:pt x="1482" y="140"/>
                  </a:lnTo>
                  <a:lnTo>
                    <a:pt x="1480" y="146"/>
                  </a:lnTo>
                  <a:lnTo>
                    <a:pt x="1480" y="154"/>
                  </a:lnTo>
                  <a:lnTo>
                    <a:pt x="1479" y="163"/>
                  </a:lnTo>
                  <a:lnTo>
                    <a:pt x="1479" y="170"/>
                  </a:lnTo>
                  <a:lnTo>
                    <a:pt x="1479" y="175"/>
                  </a:lnTo>
                  <a:lnTo>
                    <a:pt x="1478" y="177"/>
                  </a:lnTo>
                  <a:lnTo>
                    <a:pt x="1476" y="178"/>
                  </a:lnTo>
                  <a:lnTo>
                    <a:pt x="1475" y="178"/>
                  </a:lnTo>
                  <a:lnTo>
                    <a:pt x="1474" y="178"/>
                  </a:lnTo>
                  <a:lnTo>
                    <a:pt x="1472" y="179"/>
                  </a:lnTo>
                  <a:lnTo>
                    <a:pt x="1472" y="181"/>
                  </a:lnTo>
                  <a:lnTo>
                    <a:pt x="1471" y="186"/>
                  </a:lnTo>
                  <a:lnTo>
                    <a:pt x="1455" y="186"/>
                  </a:lnTo>
                  <a:lnTo>
                    <a:pt x="1457" y="192"/>
                  </a:lnTo>
                  <a:lnTo>
                    <a:pt x="1463" y="205"/>
                  </a:lnTo>
                  <a:lnTo>
                    <a:pt x="1468" y="217"/>
                  </a:lnTo>
                  <a:lnTo>
                    <a:pt x="1470" y="223"/>
                  </a:lnTo>
                  <a:lnTo>
                    <a:pt x="1468" y="223"/>
                  </a:lnTo>
                  <a:lnTo>
                    <a:pt x="1466" y="225"/>
                  </a:lnTo>
                  <a:lnTo>
                    <a:pt x="1465" y="227"/>
                  </a:lnTo>
                  <a:lnTo>
                    <a:pt x="1464" y="231"/>
                  </a:lnTo>
                  <a:lnTo>
                    <a:pt x="1462" y="238"/>
                  </a:lnTo>
                  <a:lnTo>
                    <a:pt x="1461" y="250"/>
                  </a:lnTo>
                  <a:lnTo>
                    <a:pt x="1457" y="279"/>
                  </a:lnTo>
                  <a:lnTo>
                    <a:pt x="1455" y="311"/>
                  </a:lnTo>
                  <a:lnTo>
                    <a:pt x="1454" y="346"/>
                  </a:lnTo>
                  <a:lnTo>
                    <a:pt x="1454" y="377"/>
                  </a:lnTo>
                  <a:lnTo>
                    <a:pt x="1454" y="402"/>
                  </a:lnTo>
                  <a:lnTo>
                    <a:pt x="1454" y="417"/>
                  </a:lnTo>
                  <a:lnTo>
                    <a:pt x="1454" y="635"/>
                  </a:lnTo>
                  <a:lnTo>
                    <a:pt x="1446" y="642"/>
                  </a:lnTo>
                  <a:lnTo>
                    <a:pt x="1438" y="644"/>
                  </a:lnTo>
                  <a:lnTo>
                    <a:pt x="1430" y="647"/>
                  </a:lnTo>
                  <a:lnTo>
                    <a:pt x="1418" y="649"/>
                  </a:lnTo>
                  <a:lnTo>
                    <a:pt x="1407" y="650"/>
                  </a:lnTo>
                  <a:lnTo>
                    <a:pt x="1406" y="654"/>
                  </a:lnTo>
                  <a:lnTo>
                    <a:pt x="1405" y="655"/>
                  </a:lnTo>
                  <a:lnTo>
                    <a:pt x="1402" y="657"/>
                  </a:lnTo>
                  <a:lnTo>
                    <a:pt x="1398" y="657"/>
                  </a:lnTo>
                  <a:lnTo>
                    <a:pt x="1389" y="658"/>
                  </a:lnTo>
                  <a:lnTo>
                    <a:pt x="1379" y="658"/>
                  </a:lnTo>
                  <a:lnTo>
                    <a:pt x="1369" y="658"/>
                  </a:lnTo>
                  <a:lnTo>
                    <a:pt x="1361" y="659"/>
                  </a:lnTo>
                  <a:lnTo>
                    <a:pt x="1358" y="660"/>
                  </a:lnTo>
                  <a:lnTo>
                    <a:pt x="1355" y="661"/>
                  </a:lnTo>
                  <a:lnTo>
                    <a:pt x="1354" y="664"/>
                  </a:lnTo>
                  <a:lnTo>
                    <a:pt x="1353" y="666"/>
                  </a:lnTo>
                  <a:lnTo>
                    <a:pt x="1336" y="665"/>
                  </a:lnTo>
                  <a:lnTo>
                    <a:pt x="1319" y="663"/>
                  </a:lnTo>
                  <a:lnTo>
                    <a:pt x="1303" y="659"/>
                  </a:lnTo>
                  <a:lnTo>
                    <a:pt x="1290" y="658"/>
                  </a:lnTo>
                  <a:lnTo>
                    <a:pt x="1289" y="656"/>
                  </a:lnTo>
                  <a:lnTo>
                    <a:pt x="1287" y="654"/>
                  </a:lnTo>
                  <a:lnTo>
                    <a:pt x="1282" y="652"/>
                  </a:lnTo>
                  <a:lnTo>
                    <a:pt x="1278" y="651"/>
                  </a:lnTo>
                  <a:lnTo>
                    <a:pt x="1268" y="650"/>
                  </a:lnTo>
                  <a:lnTo>
                    <a:pt x="1259" y="650"/>
                  </a:lnTo>
                  <a:lnTo>
                    <a:pt x="1127" y="635"/>
                  </a:lnTo>
                  <a:lnTo>
                    <a:pt x="1127" y="630"/>
                  </a:lnTo>
                  <a:lnTo>
                    <a:pt x="1126" y="628"/>
                  </a:lnTo>
                  <a:lnTo>
                    <a:pt x="1125" y="627"/>
                  </a:lnTo>
                  <a:lnTo>
                    <a:pt x="1124" y="627"/>
                  </a:lnTo>
                  <a:lnTo>
                    <a:pt x="1121" y="627"/>
                  </a:lnTo>
                  <a:lnTo>
                    <a:pt x="1120" y="626"/>
                  </a:lnTo>
                  <a:lnTo>
                    <a:pt x="1119" y="623"/>
                  </a:lnTo>
                  <a:lnTo>
                    <a:pt x="1119" y="619"/>
                  </a:lnTo>
                  <a:lnTo>
                    <a:pt x="1104" y="619"/>
                  </a:lnTo>
                  <a:lnTo>
                    <a:pt x="1104" y="611"/>
                  </a:lnTo>
                  <a:lnTo>
                    <a:pt x="1104" y="600"/>
                  </a:lnTo>
                  <a:lnTo>
                    <a:pt x="1104" y="589"/>
                  </a:lnTo>
                  <a:lnTo>
                    <a:pt x="1104" y="581"/>
                  </a:lnTo>
                  <a:lnTo>
                    <a:pt x="1101" y="579"/>
                  </a:lnTo>
                  <a:lnTo>
                    <a:pt x="1098" y="575"/>
                  </a:lnTo>
                  <a:lnTo>
                    <a:pt x="1096" y="570"/>
                  </a:lnTo>
                  <a:lnTo>
                    <a:pt x="1094" y="564"/>
                  </a:lnTo>
                  <a:lnTo>
                    <a:pt x="1089" y="551"/>
                  </a:lnTo>
                  <a:lnTo>
                    <a:pt x="1088" y="542"/>
                  </a:lnTo>
                  <a:lnTo>
                    <a:pt x="1086" y="541"/>
                  </a:lnTo>
                  <a:lnTo>
                    <a:pt x="1082" y="541"/>
                  </a:lnTo>
                  <a:lnTo>
                    <a:pt x="1080" y="539"/>
                  </a:lnTo>
                  <a:lnTo>
                    <a:pt x="1078" y="536"/>
                  </a:lnTo>
                  <a:lnTo>
                    <a:pt x="1076" y="534"/>
                  </a:lnTo>
                  <a:lnTo>
                    <a:pt x="1073" y="532"/>
                  </a:lnTo>
                  <a:lnTo>
                    <a:pt x="1073" y="529"/>
                  </a:lnTo>
                  <a:lnTo>
                    <a:pt x="1072" y="526"/>
                  </a:lnTo>
                  <a:lnTo>
                    <a:pt x="1066" y="525"/>
                  </a:lnTo>
                  <a:lnTo>
                    <a:pt x="1056" y="522"/>
                  </a:lnTo>
                  <a:lnTo>
                    <a:pt x="1046" y="520"/>
                  </a:lnTo>
                  <a:lnTo>
                    <a:pt x="1033" y="519"/>
                  </a:lnTo>
                  <a:lnTo>
                    <a:pt x="1033" y="515"/>
                  </a:lnTo>
                  <a:lnTo>
                    <a:pt x="1031" y="513"/>
                  </a:lnTo>
                  <a:lnTo>
                    <a:pt x="1029" y="510"/>
                  </a:lnTo>
                  <a:lnTo>
                    <a:pt x="1025" y="507"/>
                  </a:lnTo>
                  <a:lnTo>
                    <a:pt x="1018" y="504"/>
                  </a:lnTo>
                  <a:lnTo>
                    <a:pt x="1011" y="503"/>
                  </a:lnTo>
                  <a:lnTo>
                    <a:pt x="1010" y="498"/>
                  </a:lnTo>
                  <a:lnTo>
                    <a:pt x="1009" y="496"/>
                  </a:lnTo>
                  <a:lnTo>
                    <a:pt x="1008" y="495"/>
                  </a:lnTo>
                  <a:lnTo>
                    <a:pt x="1006" y="495"/>
                  </a:lnTo>
                  <a:lnTo>
                    <a:pt x="1005" y="495"/>
                  </a:lnTo>
                  <a:lnTo>
                    <a:pt x="1004" y="494"/>
                  </a:lnTo>
                  <a:lnTo>
                    <a:pt x="1003" y="492"/>
                  </a:lnTo>
                  <a:lnTo>
                    <a:pt x="1003" y="487"/>
                  </a:lnTo>
                  <a:lnTo>
                    <a:pt x="991" y="483"/>
                  </a:lnTo>
                  <a:lnTo>
                    <a:pt x="980" y="479"/>
                  </a:lnTo>
                  <a:lnTo>
                    <a:pt x="979" y="474"/>
                  </a:lnTo>
                  <a:lnTo>
                    <a:pt x="976" y="471"/>
                  </a:lnTo>
                  <a:lnTo>
                    <a:pt x="974" y="467"/>
                  </a:lnTo>
                  <a:lnTo>
                    <a:pt x="972" y="465"/>
                  </a:lnTo>
                  <a:lnTo>
                    <a:pt x="969" y="463"/>
                  </a:lnTo>
                  <a:lnTo>
                    <a:pt x="966" y="461"/>
                  </a:lnTo>
                  <a:lnTo>
                    <a:pt x="964" y="458"/>
                  </a:lnTo>
                  <a:lnTo>
                    <a:pt x="964" y="456"/>
                  </a:lnTo>
                  <a:lnTo>
                    <a:pt x="958" y="456"/>
                  </a:lnTo>
                  <a:lnTo>
                    <a:pt x="954" y="455"/>
                  </a:lnTo>
                  <a:lnTo>
                    <a:pt x="950" y="454"/>
                  </a:lnTo>
                  <a:lnTo>
                    <a:pt x="947" y="453"/>
                  </a:lnTo>
                  <a:lnTo>
                    <a:pt x="943" y="448"/>
                  </a:lnTo>
                  <a:lnTo>
                    <a:pt x="939" y="444"/>
                  </a:lnTo>
                  <a:lnTo>
                    <a:pt x="936" y="431"/>
                  </a:lnTo>
                  <a:lnTo>
                    <a:pt x="932" y="418"/>
                  </a:lnTo>
                  <a:lnTo>
                    <a:pt x="927" y="410"/>
                  </a:lnTo>
                  <a:lnTo>
                    <a:pt x="924" y="402"/>
                  </a:lnTo>
                  <a:lnTo>
                    <a:pt x="921" y="394"/>
                  </a:lnTo>
                  <a:lnTo>
                    <a:pt x="918" y="385"/>
                  </a:lnTo>
                  <a:lnTo>
                    <a:pt x="914" y="366"/>
                  </a:lnTo>
                  <a:lnTo>
                    <a:pt x="912" y="347"/>
                  </a:lnTo>
                  <a:lnTo>
                    <a:pt x="907" y="309"/>
                  </a:lnTo>
                  <a:lnTo>
                    <a:pt x="903" y="276"/>
                  </a:lnTo>
                  <a:lnTo>
                    <a:pt x="898" y="263"/>
                  </a:lnTo>
                  <a:lnTo>
                    <a:pt x="894" y="253"/>
                  </a:lnTo>
                  <a:lnTo>
                    <a:pt x="890" y="248"/>
                  </a:lnTo>
                  <a:lnTo>
                    <a:pt x="887" y="244"/>
                  </a:lnTo>
                  <a:lnTo>
                    <a:pt x="884" y="242"/>
                  </a:lnTo>
                  <a:lnTo>
                    <a:pt x="880" y="240"/>
                  </a:lnTo>
                  <a:lnTo>
                    <a:pt x="877" y="240"/>
                  </a:lnTo>
                  <a:lnTo>
                    <a:pt x="873" y="240"/>
                  </a:lnTo>
                  <a:lnTo>
                    <a:pt x="868" y="241"/>
                  </a:lnTo>
                  <a:lnTo>
                    <a:pt x="865" y="243"/>
                  </a:lnTo>
                  <a:lnTo>
                    <a:pt x="860" y="247"/>
                  </a:lnTo>
                  <a:lnTo>
                    <a:pt x="856" y="252"/>
                  </a:lnTo>
                  <a:lnTo>
                    <a:pt x="851" y="258"/>
                  </a:lnTo>
                  <a:lnTo>
                    <a:pt x="847" y="266"/>
                  </a:lnTo>
                  <a:lnTo>
                    <a:pt x="843" y="275"/>
                  </a:lnTo>
                  <a:lnTo>
                    <a:pt x="841" y="283"/>
                  </a:lnTo>
                  <a:lnTo>
                    <a:pt x="839" y="291"/>
                  </a:lnTo>
                  <a:lnTo>
                    <a:pt x="839" y="299"/>
                  </a:lnTo>
                  <a:lnTo>
                    <a:pt x="838" y="317"/>
                  </a:lnTo>
                  <a:lnTo>
                    <a:pt x="837" y="336"/>
                  </a:lnTo>
                  <a:lnTo>
                    <a:pt x="836" y="357"/>
                  </a:lnTo>
                  <a:lnTo>
                    <a:pt x="832" y="381"/>
                  </a:lnTo>
                  <a:lnTo>
                    <a:pt x="829" y="396"/>
                  </a:lnTo>
                  <a:lnTo>
                    <a:pt x="825" y="411"/>
                  </a:lnTo>
                  <a:lnTo>
                    <a:pt x="820" y="427"/>
                  </a:lnTo>
                  <a:lnTo>
                    <a:pt x="812" y="446"/>
                  </a:lnTo>
                  <a:lnTo>
                    <a:pt x="812" y="454"/>
                  </a:lnTo>
                  <a:lnTo>
                    <a:pt x="809" y="466"/>
                  </a:lnTo>
                  <a:lnTo>
                    <a:pt x="806" y="481"/>
                  </a:lnTo>
                  <a:lnTo>
                    <a:pt x="801" y="495"/>
                  </a:lnTo>
                  <a:lnTo>
                    <a:pt x="795" y="510"/>
                  </a:lnTo>
                  <a:lnTo>
                    <a:pt x="789" y="522"/>
                  </a:lnTo>
                  <a:lnTo>
                    <a:pt x="787" y="527"/>
                  </a:lnTo>
                  <a:lnTo>
                    <a:pt x="783" y="531"/>
                  </a:lnTo>
                  <a:lnTo>
                    <a:pt x="780" y="533"/>
                  </a:lnTo>
                  <a:lnTo>
                    <a:pt x="778" y="534"/>
                  </a:lnTo>
                  <a:lnTo>
                    <a:pt x="778" y="558"/>
                  </a:lnTo>
                  <a:lnTo>
                    <a:pt x="770" y="565"/>
                  </a:lnTo>
                  <a:lnTo>
                    <a:pt x="754" y="565"/>
                  </a:lnTo>
                  <a:lnTo>
                    <a:pt x="753" y="567"/>
                  </a:lnTo>
                  <a:lnTo>
                    <a:pt x="751" y="568"/>
                  </a:lnTo>
                  <a:lnTo>
                    <a:pt x="749" y="569"/>
                  </a:lnTo>
                  <a:lnTo>
                    <a:pt x="745" y="570"/>
                  </a:lnTo>
                  <a:lnTo>
                    <a:pt x="735" y="571"/>
                  </a:lnTo>
                  <a:lnTo>
                    <a:pt x="724" y="572"/>
                  </a:lnTo>
                  <a:lnTo>
                    <a:pt x="702" y="572"/>
                  </a:lnTo>
                  <a:lnTo>
                    <a:pt x="684" y="573"/>
                  </a:lnTo>
                  <a:lnTo>
                    <a:pt x="683" y="575"/>
                  </a:lnTo>
                  <a:lnTo>
                    <a:pt x="681" y="578"/>
                  </a:lnTo>
                  <a:lnTo>
                    <a:pt x="676" y="579"/>
                  </a:lnTo>
                  <a:lnTo>
                    <a:pt x="670" y="579"/>
                  </a:lnTo>
                  <a:lnTo>
                    <a:pt x="657" y="579"/>
                  </a:lnTo>
                  <a:lnTo>
                    <a:pt x="641" y="577"/>
                  </a:lnTo>
                  <a:lnTo>
                    <a:pt x="626" y="573"/>
                  </a:lnTo>
                  <a:lnTo>
                    <a:pt x="611" y="569"/>
                  </a:lnTo>
                  <a:lnTo>
                    <a:pt x="606" y="565"/>
                  </a:lnTo>
                  <a:lnTo>
                    <a:pt x="602" y="563"/>
                  </a:lnTo>
                  <a:lnTo>
                    <a:pt x="599" y="560"/>
                  </a:lnTo>
                  <a:lnTo>
                    <a:pt x="598" y="558"/>
                  </a:lnTo>
                  <a:lnTo>
                    <a:pt x="582" y="558"/>
                  </a:lnTo>
                  <a:lnTo>
                    <a:pt x="581" y="554"/>
                  </a:lnTo>
                  <a:lnTo>
                    <a:pt x="577" y="552"/>
                  </a:lnTo>
                  <a:lnTo>
                    <a:pt x="570" y="549"/>
                  </a:lnTo>
                  <a:lnTo>
                    <a:pt x="562" y="546"/>
                  </a:lnTo>
                  <a:lnTo>
                    <a:pt x="547" y="543"/>
                  </a:lnTo>
                  <a:lnTo>
                    <a:pt x="537" y="542"/>
                  </a:lnTo>
                  <a:lnTo>
                    <a:pt x="535" y="539"/>
                  </a:lnTo>
                  <a:lnTo>
                    <a:pt x="535" y="538"/>
                  </a:lnTo>
                  <a:lnTo>
                    <a:pt x="534" y="536"/>
                  </a:lnTo>
                  <a:lnTo>
                    <a:pt x="532" y="535"/>
                  </a:lnTo>
                  <a:lnTo>
                    <a:pt x="529" y="535"/>
                  </a:lnTo>
                  <a:lnTo>
                    <a:pt x="523" y="535"/>
                  </a:lnTo>
                  <a:lnTo>
                    <a:pt x="513" y="540"/>
                  </a:lnTo>
                  <a:lnTo>
                    <a:pt x="505" y="542"/>
                  </a:lnTo>
                  <a:lnTo>
                    <a:pt x="505" y="627"/>
                  </a:lnTo>
                  <a:lnTo>
                    <a:pt x="507" y="629"/>
                  </a:lnTo>
                  <a:lnTo>
                    <a:pt x="511" y="632"/>
                  </a:lnTo>
                  <a:lnTo>
                    <a:pt x="513" y="638"/>
                  </a:lnTo>
                  <a:lnTo>
                    <a:pt x="515" y="644"/>
                  </a:lnTo>
                  <a:lnTo>
                    <a:pt x="519" y="657"/>
                  </a:lnTo>
                  <a:lnTo>
                    <a:pt x="521" y="666"/>
                  </a:lnTo>
                  <a:lnTo>
                    <a:pt x="524" y="667"/>
                  </a:lnTo>
                  <a:lnTo>
                    <a:pt x="526" y="669"/>
                  </a:lnTo>
                  <a:lnTo>
                    <a:pt x="528" y="674"/>
                  </a:lnTo>
                  <a:lnTo>
                    <a:pt x="528" y="678"/>
                  </a:lnTo>
                  <a:lnTo>
                    <a:pt x="525" y="690"/>
                  </a:lnTo>
                  <a:lnTo>
                    <a:pt x="521" y="705"/>
                  </a:lnTo>
                  <a:lnTo>
                    <a:pt x="511" y="732"/>
                  </a:lnTo>
                  <a:lnTo>
                    <a:pt x="505" y="744"/>
                  </a:lnTo>
                  <a:lnTo>
                    <a:pt x="497" y="752"/>
                  </a:lnTo>
                  <a:lnTo>
                    <a:pt x="434" y="751"/>
                  </a:lnTo>
                  <a:lnTo>
                    <a:pt x="371" y="750"/>
                  </a:lnTo>
                  <a:lnTo>
                    <a:pt x="310" y="746"/>
                  </a:lnTo>
                  <a:lnTo>
                    <a:pt x="248" y="744"/>
                  </a:lnTo>
                  <a:lnTo>
                    <a:pt x="187" y="741"/>
                  </a:lnTo>
                  <a:lnTo>
                    <a:pt x="126" y="738"/>
                  </a:lnTo>
                  <a:lnTo>
                    <a:pt x="63" y="736"/>
                  </a:lnTo>
                  <a:lnTo>
                    <a:pt x="0" y="736"/>
                  </a:lnTo>
                  <a:lnTo>
                    <a:pt x="0" y="767"/>
                  </a:lnTo>
                  <a:lnTo>
                    <a:pt x="2" y="767"/>
                  </a:lnTo>
                  <a:lnTo>
                    <a:pt x="5" y="770"/>
                  </a:lnTo>
                  <a:lnTo>
                    <a:pt x="7" y="773"/>
                  </a:lnTo>
                  <a:lnTo>
                    <a:pt x="10" y="776"/>
                  </a:lnTo>
                  <a:lnTo>
                    <a:pt x="14" y="783"/>
                  </a:lnTo>
                  <a:lnTo>
                    <a:pt x="15" y="791"/>
                  </a:lnTo>
                  <a:lnTo>
                    <a:pt x="26" y="794"/>
                  </a:lnTo>
                  <a:lnTo>
                    <a:pt x="39" y="799"/>
                  </a:lnTo>
                  <a:lnTo>
                    <a:pt x="39" y="803"/>
                  </a:lnTo>
                  <a:lnTo>
                    <a:pt x="40" y="805"/>
                  </a:lnTo>
                  <a:lnTo>
                    <a:pt x="41" y="805"/>
                  </a:lnTo>
                  <a:lnTo>
                    <a:pt x="42" y="806"/>
                  </a:lnTo>
                  <a:lnTo>
                    <a:pt x="43" y="806"/>
                  </a:lnTo>
                  <a:lnTo>
                    <a:pt x="44" y="806"/>
                  </a:lnTo>
                  <a:lnTo>
                    <a:pt x="45" y="810"/>
                  </a:lnTo>
                  <a:lnTo>
                    <a:pt x="46" y="814"/>
                  </a:lnTo>
                  <a:lnTo>
                    <a:pt x="62" y="814"/>
                  </a:lnTo>
                  <a:lnTo>
                    <a:pt x="70" y="822"/>
                  </a:lnTo>
                  <a:lnTo>
                    <a:pt x="77" y="829"/>
                  </a:lnTo>
                  <a:lnTo>
                    <a:pt x="77" y="844"/>
                  </a:lnTo>
                  <a:lnTo>
                    <a:pt x="84" y="852"/>
                  </a:lnTo>
                  <a:lnTo>
                    <a:pt x="89" y="853"/>
                  </a:lnTo>
                  <a:lnTo>
                    <a:pt x="92" y="853"/>
                  </a:lnTo>
                  <a:lnTo>
                    <a:pt x="92" y="856"/>
                  </a:lnTo>
                  <a:lnTo>
                    <a:pt x="92" y="857"/>
                  </a:lnTo>
                  <a:lnTo>
                    <a:pt x="93" y="858"/>
                  </a:lnTo>
                  <a:lnTo>
                    <a:pt x="93" y="859"/>
                  </a:lnTo>
                  <a:lnTo>
                    <a:pt x="96" y="860"/>
                  </a:lnTo>
                  <a:lnTo>
                    <a:pt x="100" y="860"/>
                  </a:lnTo>
                  <a:lnTo>
                    <a:pt x="100" y="883"/>
                  </a:lnTo>
                  <a:lnTo>
                    <a:pt x="103" y="885"/>
                  </a:lnTo>
                  <a:lnTo>
                    <a:pt x="104" y="888"/>
                  </a:lnTo>
                  <a:lnTo>
                    <a:pt x="107" y="891"/>
                  </a:lnTo>
                  <a:lnTo>
                    <a:pt x="107" y="897"/>
                  </a:lnTo>
                  <a:lnTo>
                    <a:pt x="108" y="907"/>
                  </a:lnTo>
                  <a:lnTo>
                    <a:pt x="108" y="915"/>
                  </a:lnTo>
                  <a:lnTo>
                    <a:pt x="111" y="916"/>
                  </a:lnTo>
                  <a:lnTo>
                    <a:pt x="113" y="919"/>
                  </a:lnTo>
                  <a:lnTo>
                    <a:pt x="117" y="923"/>
                  </a:lnTo>
                  <a:lnTo>
                    <a:pt x="119" y="927"/>
                  </a:lnTo>
                  <a:lnTo>
                    <a:pt x="122" y="938"/>
                  </a:lnTo>
                  <a:lnTo>
                    <a:pt x="123" y="946"/>
                  </a:lnTo>
                  <a:lnTo>
                    <a:pt x="127" y="947"/>
                  </a:lnTo>
                  <a:lnTo>
                    <a:pt x="129" y="948"/>
                  </a:lnTo>
                  <a:lnTo>
                    <a:pt x="132" y="952"/>
                  </a:lnTo>
                  <a:lnTo>
                    <a:pt x="135" y="955"/>
                  </a:lnTo>
                  <a:lnTo>
                    <a:pt x="138" y="963"/>
                  </a:lnTo>
                  <a:lnTo>
                    <a:pt x="139" y="969"/>
                  </a:lnTo>
                  <a:lnTo>
                    <a:pt x="147" y="977"/>
                  </a:lnTo>
                  <a:lnTo>
                    <a:pt x="163" y="977"/>
                  </a:lnTo>
                  <a:lnTo>
                    <a:pt x="164" y="979"/>
                  </a:lnTo>
                  <a:lnTo>
                    <a:pt x="165" y="982"/>
                  </a:lnTo>
                  <a:lnTo>
                    <a:pt x="168" y="983"/>
                  </a:lnTo>
                  <a:lnTo>
                    <a:pt x="171" y="984"/>
                  </a:lnTo>
                  <a:lnTo>
                    <a:pt x="179" y="985"/>
                  </a:lnTo>
                  <a:lnTo>
                    <a:pt x="186" y="985"/>
                  </a:lnTo>
                  <a:lnTo>
                    <a:pt x="194" y="993"/>
                  </a:lnTo>
                  <a:lnTo>
                    <a:pt x="202" y="1001"/>
                  </a:lnTo>
                  <a:lnTo>
                    <a:pt x="209" y="1008"/>
                  </a:lnTo>
                  <a:lnTo>
                    <a:pt x="209" y="1011"/>
                  </a:lnTo>
                  <a:lnTo>
                    <a:pt x="211" y="1014"/>
                  </a:lnTo>
                  <a:lnTo>
                    <a:pt x="212" y="1016"/>
                  </a:lnTo>
                  <a:lnTo>
                    <a:pt x="214" y="1019"/>
                  </a:lnTo>
                  <a:lnTo>
                    <a:pt x="216" y="1021"/>
                  </a:lnTo>
                  <a:lnTo>
                    <a:pt x="219" y="1022"/>
                  </a:lnTo>
                  <a:lnTo>
                    <a:pt x="222" y="1023"/>
                  </a:lnTo>
                  <a:lnTo>
                    <a:pt x="225" y="1024"/>
                  </a:lnTo>
                  <a:lnTo>
                    <a:pt x="225" y="1026"/>
                  </a:lnTo>
                  <a:lnTo>
                    <a:pt x="226" y="1030"/>
                  </a:lnTo>
                  <a:lnTo>
                    <a:pt x="227" y="1032"/>
                  </a:lnTo>
                  <a:lnTo>
                    <a:pt x="230" y="1034"/>
                  </a:lnTo>
                  <a:lnTo>
                    <a:pt x="232" y="1036"/>
                  </a:lnTo>
                  <a:lnTo>
                    <a:pt x="235" y="1038"/>
                  </a:lnTo>
                  <a:lnTo>
                    <a:pt x="237" y="1039"/>
                  </a:lnTo>
                  <a:lnTo>
                    <a:pt x="241" y="1040"/>
                  </a:lnTo>
                  <a:lnTo>
                    <a:pt x="241" y="1042"/>
                  </a:lnTo>
                  <a:lnTo>
                    <a:pt x="243" y="1045"/>
                  </a:lnTo>
                  <a:lnTo>
                    <a:pt x="246" y="1048"/>
                  </a:lnTo>
                  <a:lnTo>
                    <a:pt x="250" y="1050"/>
                  </a:lnTo>
                  <a:lnTo>
                    <a:pt x="256" y="1053"/>
                  </a:lnTo>
                  <a:lnTo>
                    <a:pt x="264" y="1055"/>
                  </a:lnTo>
                  <a:lnTo>
                    <a:pt x="264" y="1060"/>
                  </a:lnTo>
                  <a:lnTo>
                    <a:pt x="265" y="1062"/>
                  </a:lnTo>
                  <a:lnTo>
                    <a:pt x="266" y="1062"/>
                  </a:lnTo>
                  <a:lnTo>
                    <a:pt x="267" y="1063"/>
                  </a:lnTo>
                  <a:lnTo>
                    <a:pt x="269" y="1063"/>
                  </a:lnTo>
                  <a:lnTo>
                    <a:pt x="271" y="1063"/>
                  </a:lnTo>
                  <a:lnTo>
                    <a:pt x="271" y="1065"/>
                  </a:lnTo>
                  <a:lnTo>
                    <a:pt x="272" y="1070"/>
                  </a:lnTo>
                  <a:lnTo>
                    <a:pt x="288" y="1070"/>
                  </a:lnTo>
                  <a:lnTo>
                    <a:pt x="288" y="1073"/>
                  </a:lnTo>
                  <a:lnTo>
                    <a:pt x="290" y="1077"/>
                  </a:lnTo>
                  <a:lnTo>
                    <a:pt x="292" y="1079"/>
                  </a:lnTo>
                  <a:lnTo>
                    <a:pt x="295" y="1081"/>
                  </a:lnTo>
                  <a:lnTo>
                    <a:pt x="303" y="1084"/>
                  </a:lnTo>
                  <a:lnTo>
                    <a:pt x="310" y="1086"/>
                  </a:lnTo>
                  <a:lnTo>
                    <a:pt x="318" y="1093"/>
                  </a:lnTo>
                  <a:lnTo>
                    <a:pt x="319" y="1098"/>
                  </a:lnTo>
                  <a:lnTo>
                    <a:pt x="320" y="1100"/>
                  </a:lnTo>
                  <a:lnTo>
                    <a:pt x="321" y="1101"/>
                  </a:lnTo>
                  <a:lnTo>
                    <a:pt x="322" y="1101"/>
                  </a:lnTo>
                  <a:lnTo>
                    <a:pt x="323" y="1101"/>
                  </a:lnTo>
                  <a:lnTo>
                    <a:pt x="324" y="1102"/>
                  </a:lnTo>
                  <a:lnTo>
                    <a:pt x="326" y="1104"/>
                  </a:lnTo>
                  <a:lnTo>
                    <a:pt x="326" y="1109"/>
                  </a:lnTo>
                  <a:lnTo>
                    <a:pt x="341" y="1109"/>
                  </a:lnTo>
                  <a:lnTo>
                    <a:pt x="342" y="1111"/>
                  </a:lnTo>
                  <a:lnTo>
                    <a:pt x="343" y="1113"/>
                  </a:lnTo>
                  <a:lnTo>
                    <a:pt x="344" y="1115"/>
                  </a:lnTo>
                  <a:lnTo>
                    <a:pt x="347" y="1117"/>
                  </a:lnTo>
                  <a:lnTo>
                    <a:pt x="353" y="1119"/>
                  </a:lnTo>
                  <a:lnTo>
                    <a:pt x="361" y="1120"/>
                  </a:lnTo>
                  <a:lnTo>
                    <a:pt x="381" y="1122"/>
                  </a:lnTo>
                  <a:lnTo>
                    <a:pt x="406" y="1122"/>
                  </a:lnTo>
                  <a:lnTo>
                    <a:pt x="453" y="1119"/>
                  </a:lnTo>
                  <a:lnTo>
                    <a:pt x="482" y="1117"/>
                  </a:lnTo>
                  <a:lnTo>
                    <a:pt x="482" y="1115"/>
                  </a:lnTo>
                  <a:lnTo>
                    <a:pt x="483" y="1112"/>
                  </a:lnTo>
                  <a:lnTo>
                    <a:pt x="484" y="1111"/>
                  </a:lnTo>
                  <a:lnTo>
                    <a:pt x="486" y="1110"/>
                  </a:lnTo>
                  <a:lnTo>
                    <a:pt x="492" y="1109"/>
                  </a:lnTo>
                  <a:lnTo>
                    <a:pt x="497" y="1109"/>
                  </a:lnTo>
                  <a:lnTo>
                    <a:pt x="524" y="1115"/>
                  </a:lnTo>
                  <a:lnTo>
                    <a:pt x="525" y="1111"/>
                  </a:lnTo>
                  <a:lnTo>
                    <a:pt x="526" y="1108"/>
                  </a:lnTo>
                  <a:lnTo>
                    <a:pt x="528" y="1106"/>
                  </a:lnTo>
                  <a:lnTo>
                    <a:pt x="530" y="1103"/>
                  </a:lnTo>
                  <a:lnTo>
                    <a:pt x="532" y="1101"/>
                  </a:lnTo>
                  <a:lnTo>
                    <a:pt x="534" y="1100"/>
                  </a:lnTo>
                  <a:lnTo>
                    <a:pt x="538" y="1099"/>
                  </a:lnTo>
                  <a:lnTo>
                    <a:pt x="540" y="1099"/>
                  </a:lnTo>
                  <a:lnTo>
                    <a:pt x="541" y="1094"/>
                  </a:lnTo>
                  <a:lnTo>
                    <a:pt x="541" y="1092"/>
                  </a:lnTo>
                  <a:lnTo>
                    <a:pt x="542" y="1091"/>
                  </a:lnTo>
                  <a:lnTo>
                    <a:pt x="544" y="1091"/>
                  </a:lnTo>
                  <a:lnTo>
                    <a:pt x="545" y="1091"/>
                  </a:lnTo>
                  <a:lnTo>
                    <a:pt x="547" y="1090"/>
                  </a:lnTo>
                  <a:lnTo>
                    <a:pt x="548" y="1088"/>
                  </a:lnTo>
                  <a:lnTo>
                    <a:pt x="548" y="1083"/>
                  </a:lnTo>
                  <a:lnTo>
                    <a:pt x="563" y="1083"/>
                  </a:lnTo>
                  <a:lnTo>
                    <a:pt x="563" y="1079"/>
                  </a:lnTo>
                  <a:lnTo>
                    <a:pt x="564" y="1077"/>
                  </a:lnTo>
                  <a:lnTo>
                    <a:pt x="566" y="1075"/>
                  </a:lnTo>
                  <a:lnTo>
                    <a:pt x="568" y="1075"/>
                  </a:lnTo>
                  <a:lnTo>
                    <a:pt x="569" y="1075"/>
                  </a:lnTo>
                  <a:lnTo>
                    <a:pt x="570" y="1074"/>
                  </a:lnTo>
                  <a:lnTo>
                    <a:pt x="571" y="1072"/>
                  </a:lnTo>
                  <a:lnTo>
                    <a:pt x="571" y="1068"/>
                  </a:lnTo>
                  <a:lnTo>
                    <a:pt x="647" y="1053"/>
                  </a:lnTo>
                  <a:lnTo>
                    <a:pt x="648" y="1052"/>
                  </a:lnTo>
                  <a:lnTo>
                    <a:pt x="650" y="1051"/>
                  </a:lnTo>
                  <a:lnTo>
                    <a:pt x="655" y="1050"/>
                  </a:lnTo>
                  <a:lnTo>
                    <a:pt x="659" y="1049"/>
                  </a:lnTo>
                  <a:lnTo>
                    <a:pt x="672" y="1048"/>
                  </a:lnTo>
                  <a:lnTo>
                    <a:pt x="687" y="1048"/>
                  </a:lnTo>
                  <a:lnTo>
                    <a:pt x="717" y="1046"/>
                  </a:lnTo>
                  <a:lnTo>
                    <a:pt x="739" y="1048"/>
                  </a:lnTo>
                  <a:lnTo>
                    <a:pt x="739" y="1044"/>
                  </a:lnTo>
                  <a:lnTo>
                    <a:pt x="740" y="1043"/>
                  </a:lnTo>
                  <a:lnTo>
                    <a:pt x="741" y="1041"/>
                  </a:lnTo>
                  <a:lnTo>
                    <a:pt x="743" y="1040"/>
                  </a:lnTo>
                  <a:lnTo>
                    <a:pt x="747" y="1040"/>
                  </a:lnTo>
                  <a:lnTo>
                    <a:pt x="754" y="1040"/>
                  </a:lnTo>
                  <a:lnTo>
                    <a:pt x="778" y="1016"/>
                  </a:lnTo>
                  <a:lnTo>
                    <a:pt x="792" y="1016"/>
                  </a:lnTo>
                  <a:lnTo>
                    <a:pt x="793" y="1012"/>
                  </a:lnTo>
                  <a:lnTo>
                    <a:pt x="794" y="1010"/>
                  </a:lnTo>
                  <a:lnTo>
                    <a:pt x="795" y="1008"/>
                  </a:lnTo>
                  <a:lnTo>
                    <a:pt x="797" y="1008"/>
                  </a:lnTo>
                  <a:lnTo>
                    <a:pt x="798" y="1008"/>
                  </a:lnTo>
                  <a:lnTo>
                    <a:pt x="799" y="1007"/>
                  </a:lnTo>
                  <a:lnTo>
                    <a:pt x="800" y="1005"/>
                  </a:lnTo>
                  <a:lnTo>
                    <a:pt x="800" y="1001"/>
                  </a:lnTo>
                  <a:lnTo>
                    <a:pt x="816" y="996"/>
                  </a:lnTo>
                  <a:lnTo>
                    <a:pt x="831" y="993"/>
                  </a:lnTo>
                  <a:lnTo>
                    <a:pt x="832" y="991"/>
                  </a:lnTo>
                  <a:lnTo>
                    <a:pt x="832" y="988"/>
                  </a:lnTo>
                  <a:lnTo>
                    <a:pt x="835" y="987"/>
                  </a:lnTo>
                  <a:lnTo>
                    <a:pt x="837" y="986"/>
                  </a:lnTo>
                  <a:lnTo>
                    <a:pt x="841" y="985"/>
                  </a:lnTo>
                  <a:lnTo>
                    <a:pt x="847" y="985"/>
                  </a:lnTo>
                  <a:lnTo>
                    <a:pt x="848" y="983"/>
                  </a:lnTo>
                  <a:lnTo>
                    <a:pt x="848" y="981"/>
                  </a:lnTo>
                  <a:lnTo>
                    <a:pt x="850" y="979"/>
                  </a:lnTo>
                  <a:lnTo>
                    <a:pt x="852" y="978"/>
                  </a:lnTo>
                  <a:lnTo>
                    <a:pt x="857" y="977"/>
                  </a:lnTo>
                  <a:lnTo>
                    <a:pt x="862" y="977"/>
                  </a:lnTo>
                  <a:lnTo>
                    <a:pt x="869" y="972"/>
                  </a:lnTo>
                  <a:lnTo>
                    <a:pt x="886" y="961"/>
                  </a:lnTo>
                  <a:lnTo>
                    <a:pt x="913" y="944"/>
                  </a:lnTo>
                  <a:lnTo>
                    <a:pt x="945" y="924"/>
                  </a:lnTo>
                  <a:lnTo>
                    <a:pt x="981" y="900"/>
                  </a:lnTo>
                  <a:lnTo>
                    <a:pt x="1019" y="875"/>
                  </a:lnTo>
                  <a:lnTo>
                    <a:pt x="1056" y="849"/>
                  </a:lnTo>
                  <a:lnTo>
                    <a:pt x="1090" y="823"/>
                  </a:lnTo>
                  <a:lnTo>
                    <a:pt x="1097" y="817"/>
                  </a:lnTo>
                  <a:lnTo>
                    <a:pt x="1105" y="810"/>
                  </a:lnTo>
                  <a:lnTo>
                    <a:pt x="1110" y="803"/>
                  </a:lnTo>
                  <a:lnTo>
                    <a:pt x="1116" y="795"/>
                  </a:lnTo>
                  <a:lnTo>
                    <a:pt x="1125" y="782"/>
                  </a:lnTo>
                  <a:lnTo>
                    <a:pt x="1131" y="770"/>
                  </a:lnTo>
                  <a:lnTo>
                    <a:pt x="1140" y="751"/>
                  </a:lnTo>
                  <a:lnTo>
                    <a:pt x="1145" y="743"/>
                  </a:lnTo>
                  <a:lnTo>
                    <a:pt x="1146" y="741"/>
                  </a:lnTo>
                  <a:lnTo>
                    <a:pt x="1148" y="741"/>
                  </a:lnTo>
                  <a:lnTo>
                    <a:pt x="1152" y="741"/>
                  </a:lnTo>
                  <a:lnTo>
                    <a:pt x="1157" y="743"/>
                  </a:lnTo>
                  <a:lnTo>
                    <a:pt x="1168" y="748"/>
                  </a:lnTo>
                  <a:lnTo>
                    <a:pt x="1183" y="757"/>
                  </a:lnTo>
                  <a:lnTo>
                    <a:pt x="1209" y="774"/>
                  </a:lnTo>
                  <a:lnTo>
                    <a:pt x="1221" y="783"/>
                  </a:lnTo>
                  <a:lnTo>
                    <a:pt x="1222" y="790"/>
                  </a:lnTo>
                  <a:lnTo>
                    <a:pt x="1225" y="798"/>
                  </a:lnTo>
                  <a:lnTo>
                    <a:pt x="1227" y="801"/>
                  </a:lnTo>
                  <a:lnTo>
                    <a:pt x="1230" y="803"/>
                  </a:lnTo>
                  <a:lnTo>
                    <a:pt x="1233" y="805"/>
                  </a:lnTo>
                  <a:lnTo>
                    <a:pt x="1236" y="806"/>
                  </a:lnTo>
                  <a:lnTo>
                    <a:pt x="1244" y="822"/>
                  </a:lnTo>
                  <a:lnTo>
                    <a:pt x="1252" y="837"/>
                  </a:lnTo>
                  <a:lnTo>
                    <a:pt x="1257" y="838"/>
                  </a:lnTo>
                  <a:lnTo>
                    <a:pt x="1259" y="839"/>
                  </a:lnTo>
                  <a:lnTo>
                    <a:pt x="1259" y="840"/>
                  </a:lnTo>
                  <a:lnTo>
                    <a:pt x="1259" y="841"/>
                  </a:lnTo>
                  <a:lnTo>
                    <a:pt x="1260" y="842"/>
                  </a:lnTo>
                  <a:lnTo>
                    <a:pt x="1260" y="843"/>
                  </a:lnTo>
                  <a:lnTo>
                    <a:pt x="1262" y="844"/>
                  </a:lnTo>
                  <a:lnTo>
                    <a:pt x="1267" y="844"/>
                  </a:lnTo>
                  <a:lnTo>
                    <a:pt x="1268" y="848"/>
                  </a:lnTo>
                  <a:lnTo>
                    <a:pt x="1270" y="852"/>
                  </a:lnTo>
                  <a:lnTo>
                    <a:pt x="1272" y="856"/>
                  </a:lnTo>
                  <a:lnTo>
                    <a:pt x="1275" y="859"/>
                  </a:lnTo>
                  <a:lnTo>
                    <a:pt x="1280" y="863"/>
                  </a:lnTo>
                  <a:lnTo>
                    <a:pt x="1283" y="866"/>
                  </a:lnTo>
                  <a:lnTo>
                    <a:pt x="1287" y="868"/>
                  </a:lnTo>
                  <a:lnTo>
                    <a:pt x="1290" y="868"/>
                  </a:lnTo>
                  <a:lnTo>
                    <a:pt x="1291" y="872"/>
                  </a:lnTo>
                  <a:lnTo>
                    <a:pt x="1294" y="877"/>
                  </a:lnTo>
                  <a:lnTo>
                    <a:pt x="1298" y="882"/>
                  </a:lnTo>
                  <a:lnTo>
                    <a:pt x="1302" y="888"/>
                  </a:lnTo>
                  <a:lnTo>
                    <a:pt x="1307" y="894"/>
                  </a:lnTo>
                  <a:lnTo>
                    <a:pt x="1310" y="899"/>
                  </a:lnTo>
                  <a:lnTo>
                    <a:pt x="1312" y="904"/>
                  </a:lnTo>
                  <a:lnTo>
                    <a:pt x="1313" y="907"/>
                  </a:lnTo>
                  <a:lnTo>
                    <a:pt x="1326" y="911"/>
                  </a:lnTo>
                  <a:lnTo>
                    <a:pt x="1337" y="915"/>
                  </a:lnTo>
                  <a:lnTo>
                    <a:pt x="1337" y="918"/>
                  </a:lnTo>
                  <a:lnTo>
                    <a:pt x="1338" y="920"/>
                  </a:lnTo>
                  <a:lnTo>
                    <a:pt x="1340" y="924"/>
                  </a:lnTo>
                  <a:lnTo>
                    <a:pt x="1342" y="926"/>
                  </a:lnTo>
                  <a:lnTo>
                    <a:pt x="1345" y="928"/>
                  </a:lnTo>
                  <a:lnTo>
                    <a:pt x="1347" y="929"/>
                  </a:lnTo>
                  <a:lnTo>
                    <a:pt x="1349" y="930"/>
                  </a:lnTo>
                  <a:lnTo>
                    <a:pt x="1353" y="930"/>
                  </a:lnTo>
                  <a:lnTo>
                    <a:pt x="1354" y="933"/>
                  </a:lnTo>
                  <a:lnTo>
                    <a:pt x="1355" y="935"/>
                  </a:lnTo>
                  <a:lnTo>
                    <a:pt x="1357" y="937"/>
                  </a:lnTo>
                  <a:lnTo>
                    <a:pt x="1360" y="939"/>
                  </a:lnTo>
                  <a:lnTo>
                    <a:pt x="1364" y="942"/>
                  </a:lnTo>
                  <a:lnTo>
                    <a:pt x="1366" y="945"/>
                  </a:lnTo>
                  <a:lnTo>
                    <a:pt x="1367" y="948"/>
                  </a:lnTo>
                  <a:lnTo>
                    <a:pt x="1368" y="954"/>
                  </a:lnTo>
                  <a:lnTo>
                    <a:pt x="1384" y="954"/>
                  </a:lnTo>
                  <a:lnTo>
                    <a:pt x="1395" y="969"/>
                  </a:lnTo>
                  <a:lnTo>
                    <a:pt x="1407" y="985"/>
                  </a:lnTo>
                  <a:lnTo>
                    <a:pt x="1415" y="993"/>
                  </a:lnTo>
                  <a:lnTo>
                    <a:pt x="1421" y="994"/>
                  </a:lnTo>
                  <a:lnTo>
                    <a:pt x="1426" y="997"/>
                  </a:lnTo>
                  <a:lnTo>
                    <a:pt x="1432" y="1003"/>
                  </a:lnTo>
                  <a:lnTo>
                    <a:pt x="1438" y="1008"/>
                  </a:lnTo>
                  <a:lnTo>
                    <a:pt x="1444" y="1014"/>
                  </a:lnTo>
                  <a:lnTo>
                    <a:pt x="1450" y="1019"/>
                  </a:lnTo>
                  <a:lnTo>
                    <a:pt x="1455" y="1022"/>
                  </a:lnTo>
                  <a:lnTo>
                    <a:pt x="1462" y="1024"/>
                  </a:lnTo>
                  <a:lnTo>
                    <a:pt x="1462" y="1026"/>
                  </a:lnTo>
                  <a:lnTo>
                    <a:pt x="1464" y="1030"/>
                  </a:lnTo>
                  <a:lnTo>
                    <a:pt x="1466" y="1032"/>
                  </a:lnTo>
                  <a:lnTo>
                    <a:pt x="1470" y="1034"/>
                  </a:lnTo>
                  <a:lnTo>
                    <a:pt x="1478" y="1038"/>
                  </a:lnTo>
                  <a:lnTo>
                    <a:pt x="1485" y="1040"/>
                  </a:lnTo>
                  <a:lnTo>
                    <a:pt x="1485" y="1044"/>
                  </a:lnTo>
                  <a:lnTo>
                    <a:pt x="1486" y="1046"/>
                  </a:lnTo>
                  <a:lnTo>
                    <a:pt x="1488" y="1046"/>
                  </a:lnTo>
                  <a:lnTo>
                    <a:pt x="1489" y="1048"/>
                  </a:lnTo>
                  <a:lnTo>
                    <a:pt x="1490" y="1048"/>
                  </a:lnTo>
                  <a:lnTo>
                    <a:pt x="1491" y="1048"/>
                  </a:lnTo>
                  <a:lnTo>
                    <a:pt x="1492" y="1051"/>
                  </a:lnTo>
                  <a:lnTo>
                    <a:pt x="1493" y="1055"/>
                  </a:lnTo>
                  <a:lnTo>
                    <a:pt x="1495" y="1055"/>
                  </a:lnTo>
                  <a:lnTo>
                    <a:pt x="1500" y="1058"/>
                  </a:lnTo>
                  <a:lnTo>
                    <a:pt x="1504" y="1060"/>
                  </a:lnTo>
                  <a:lnTo>
                    <a:pt x="1508" y="1063"/>
                  </a:lnTo>
                  <a:lnTo>
                    <a:pt x="1517" y="1071"/>
                  </a:lnTo>
                  <a:lnTo>
                    <a:pt x="1523" y="1078"/>
                  </a:lnTo>
                  <a:lnTo>
                    <a:pt x="1523" y="1093"/>
                  </a:lnTo>
                  <a:lnTo>
                    <a:pt x="1527" y="1094"/>
                  </a:lnTo>
                  <a:lnTo>
                    <a:pt x="1529" y="1096"/>
                  </a:lnTo>
                  <a:lnTo>
                    <a:pt x="1532" y="1097"/>
                  </a:lnTo>
                  <a:lnTo>
                    <a:pt x="1534" y="1099"/>
                  </a:lnTo>
                  <a:lnTo>
                    <a:pt x="1537" y="1101"/>
                  </a:lnTo>
                  <a:lnTo>
                    <a:pt x="1538" y="1103"/>
                  </a:lnTo>
                  <a:lnTo>
                    <a:pt x="1539" y="1107"/>
                  </a:lnTo>
                  <a:lnTo>
                    <a:pt x="1539" y="1109"/>
                  </a:lnTo>
                  <a:lnTo>
                    <a:pt x="1547" y="1117"/>
                  </a:lnTo>
                  <a:lnTo>
                    <a:pt x="1562" y="1117"/>
                  </a:lnTo>
                  <a:lnTo>
                    <a:pt x="1578" y="1132"/>
                  </a:lnTo>
                  <a:lnTo>
                    <a:pt x="1590" y="1132"/>
                  </a:lnTo>
                  <a:lnTo>
                    <a:pt x="1601" y="1132"/>
                  </a:lnTo>
                  <a:lnTo>
                    <a:pt x="1601" y="1157"/>
                  </a:lnTo>
                  <a:lnTo>
                    <a:pt x="1601" y="1181"/>
                  </a:lnTo>
                  <a:lnTo>
                    <a:pt x="1603" y="1207"/>
                  </a:lnTo>
                  <a:lnTo>
                    <a:pt x="1603" y="1232"/>
                  </a:lnTo>
                  <a:lnTo>
                    <a:pt x="1604" y="1257"/>
                  </a:lnTo>
                  <a:lnTo>
                    <a:pt x="1604" y="1281"/>
                  </a:lnTo>
                  <a:lnTo>
                    <a:pt x="1605" y="1304"/>
                  </a:lnTo>
                  <a:lnTo>
                    <a:pt x="1605" y="1325"/>
                  </a:lnTo>
                  <a:lnTo>
                    <a:pt x="1603" y="1327"/>
                  </a:lnTo>
                  <a:lnTo>
                    <a:pt x="1600" y="1329"/>
                  </a:lnTo>
                  <a:lnTo>
                    <a:pt x="1599" y="1332"/>
                  </a:lnTo>
                  <a:lnTo>
                    <a:pt x="1598" y="1337"/>
                  </a:lnTo>
                  <a:lnTo>
                    <a:pt x="1598" y="1348"/>
                  </a:lnTo>
                  <a:lnTo>
                    <a:pt x="1599" y="1361"/>
                  </a:lnTo>
                  <a:lnTo>
                    <a:pt x="1603" y="1385"/>
                  </a:lnTo>
                  <a:lnTo>
                    <a:pt x="1605" y="1396"/>
                  </a:lnTo>
                  <a:lnTo>
                    <a:pt x="1623" y="1396"/>
                  </a:lnTo>
                  <a:lnTo>
                    <a:pt x="1642" y="1395"/>
                  </a:lnTo>
                  <a:lnTo>
                    <a:pt x="1662" y="1394"/>
                  </a:lnTo>
                  <a:lnTo>
                    <a:pt x="1683" y="1394"/>
                  </a:lnTo>
                  <a:lnTo>
                    <a:pt x="1704" y="1392"/>
                  </a:lnTo>
                  <a:lnTo>
                    <a:pt x="1726" y="1391"/>
                  </a:lnTo>
                  <a:lnTo>
                    <a:pt x="1750" y="1390"/>
                  </a:lnTo>
                  <a:lnTo>
                    <a:pt x="1772" y="1390"/>
                  </a:lnTo>
                  <a:lnTo>
                    <a:pt x="1773" y="1389"/>
                  </a:lnTo>
                  <a:lnTo>
                    <a:pt x="1774" y="1388"/>
                  </a:lnTo>
                  <a:lnTo>
                    <a:pt x="1778" y="1387"/>
                  </a:lnTo>
                  <a:lnTo>
                    <a:pt x="1781" y="1386"/>
                  </a:lnTo>
                  <a:lnTo>
                    <a:pt x="1790" y="1385"/>
                  </a:lnTo>
                  <a:lnTo>
                    <a:pt x="1801" y="1383"/>
                  </a:lnTo>
                  <a:lnTo>
                    <a:pt x="1821" y="1382"/>
                  </a:lnTo>
                  <a:lnTo>
                    <a:pt x="1835" y="1382"/>
                  </a:lnTo>
                  <a:lnTo>
                    <a:pt x="1843" y="1398"/>
                  </a:lnTo>
                  <a:lnTo>
                    <a:pt x="1848" y="1399"/>
                  </a:lnTo>
                  <a:lnTo>
                    <a:pt x="1854" y="1402"/>
                  </a:lnTo>
                  <a:lnTo>
                    <a:pt x="1859" y="1408"/>
                  </a:lnTo>
                  <a:lnTo>
                    <a:pt x="1865" y="1414"/>
                  </a:lnTo>
                  <a:lnTo>
                    <a:pt x="1869" y="1419"/>
                  </a:lnTo>
                  <a:lnTo>
                    <a:pt x="1874" y="1425"/>
                  </a:lnTo>
                  <a:lnTo>
                    <a:pt x="1878" y="1428"/>
                  </a:lnTo>
                  <a:lnTo>
                    <a:pt x="1882" y="1429"/>
                  </a:lnTo>
                  <a:lnTo>
                    <a:pt x="1882" y="1445"/>
                  </a:lnTo>
                  <a:lnTo>
                    <a:pt x="1884" y="1454"/>
                  </a:lnTo>
                  <a:lnTo>
                    <a:pt x="1889" y="1475"/>
                  </a:lnTo>
                  <a:lnTo>
                    <a:pt x="1895" y="1496"/>
                  </a:lnTo>
                  <a:lnTo>
                    <a:pt x="1897" y="1506"/>
                  </a:lnTo>
                  <a:lnTo>
                    <a:pt x="1902" y="1506"/>
                  </a:lnTo>
                  <a:lnTo>
                    <a:pt x="1904" y="1507"/>
                  </a:lnTo>
                  <a:lnTo>
                    <a:pt x="1905" y="1508"/>
                  </a:lnTo>
                  <a:lnTo>
                    <a:pt x="1905" y="1510"/>
                  </a:lnTo>
                  <a:lnTo>
                    <a:pt x="1905" y="1511"/>
                  </a:lnTo>
                  <a:lnTo>
                    <a:pt x="1906" y="1513"/>
                  </a:lnTo>
                  <a:lnTo>
                    <a:pt x="1908" y="1513"/>
                  </a:lnTo>
                  <a:lnTo>
                    <a:pt x="1913" y="1514"/>
                  </a:lnTo>
                  <a:lnTo>
                    <a:pt x="1916" y="1530"/>
                  </a:lnTo>
                  <a:lnTo>
                    <a:pt x="1921" y="1544"/>
                  </a:lnTo>
                  <a:lnTo>
                    <a:pt x="1929" y="1552"/>
                  </a:lnTo>
                  <a:lnTo>
                    <a:pt x="1931" y="1553"/>
                  </a:lnTo>
                  <a:lnTo>
                    <a:pt x="1934" y="1554"/>
                  </a:lnTo>
                  <a:lnTo>
                    <a:pt x="1936" y="1555"/>
                  </a:lnTo>
                  <a:lnTo>
                    <a:pt x="1939" y="1558"/>
                  </a:lnTo>
                  <a:lnTo>
                    <a:pt x="1941" y="1560"/>
                  </a:lnTo>
                  <a:lnTo>
                    <a:pt x="1942" y="1562"/>
                  </a:lnTo>
                  <a:lnTo>
                    <a:pt x="1943" y="1565"/>
                  </a:lnTo>
                  <a:lnTo>
                    <a:pt x="1944" y="1568"/>
                  </a:lnTo>
                  <a:lnTo>
                    <a:pt x="1952" y="1575"/>
                  </a:lnTo>
                  <a:lnTo>
                    <a:pt x="1960" y="1583"/>
                  </a:lnTo>
                  <a:lnTo>
                    <a:pt x="1974" y="1583"/>
                  </a:lnTo>
                  <a:lnTo>
                    <a:pt x="1974" y="1599"/>
                  </a:lnTo>
                  <a:lnTo>
                    <a:pt x="1978" y="1600"/>
                  </a:lnTo>
                  <a:lnTo>
                    <a:pt x="1979" y="1600"/>
                  </a:lnTo>
                  <a:lnTo>
                    <a:pt x="1981" y="1602"/>
                  </a:lnTo>
                  <a:lnTo>
                    <a:pt x="1982" y="1604"/>
                  </a:lnTo>
                  <a:lnTo>
                    <a:pt x="1982" y="1609"/>
                  </a:lnTo>
                  <a:lnTo>
                    <a:pt x="1982" y="1615"/>
                  </a:lnTo>
                  <a:lnTo>
                    <a:pt x="1984" y="1616"/>
                  </a:lnTo>
                  <a:lnTo>
                    <a:pt x="1985" y="1619"/>
                  </a:lnTo>
                  <a:lnTo>
                    <a:pt x="1987" y="1625"/>
                  </a:lnTo>
                  <a:lnTo>
                    <a:pt x="1987" y="1632"/>
                  </a:lnTo>
                  <a:lnTo>
                    <a:pt x="1989" y="1650"/>
                  </a:lnTo>
                  <a:lnTo>
                    <a:pt x="1990" y="1671"/>
                  </a:lnTo>
                  <a:lnTo>
                    <a:pt x="1990" y="1713"/>
                  </a:lnTo>
                  <a:lnTo>
                    <a:pt x="1990" y="1740"/>
                  </a:lnTo>
                  <a:lnTo>
                    <a:pt x="1993" y="1740"/>
                  </a:lnTo>
                  <a:lnTo>
                    <a:pt x="1997" y="1741"/>
                  </a:lnTo>
                  <a:lnTo>
                    <a:pt x="1999" y="1742"/>
                  </a:lnTo>
                  <a:lnTo>
                    <a:pt x="2001" y="1744"/>
                  </a:lnTo>
                  <a:lnTo>
                    <a:pt x="2003" y="1746"/>
                  </a:lnTo>
                  <a:lnTo>
                    <a:pt x="2004" y="1748"/>
                  </a:lnTo>
                  <a:lnTo>
                    <a:pt x="2006" y="1752"/>
                  </a:lnTo>
                  <a:lnTo>
                    <a:pt x="2006" y="1755"/>
                  </a:lnTo>
                  <a:lnTo>
                    <a:pt x="2013" y="1763"/>
                  </a:lnTo>
                  <a:lnTo>
                    <a:pt x="2021" y="1771"/>
                  </a:lnTo>
                  <a:lnTo>
                    <a:pt x="2025" y="1771"/>
                  </a:lnTo>
                  <a:lnTo>
                    <a:pt x="2028" y="1773"/>
                  </a:lnTo>
                  <a:lnTo>
                    <a:pt x="2032" y="1775"/>
                  </a:lnTo>
                  <a:lnTo>
                    <a:pt x="2036" y="1779"/>
                  </a:lnTo>
                  <a:lnTo>
                    <a:pt x="2039" y="1783"/>
                  </a:lnTo>
                  <a:lnTo>
                    <a:pt x="2042" y="1786"/>
                  </a:lnTo>
                  <a:lnTo>
                    <a:pt x="2045" y="1791"/>
                  </a:lnTo>
                  <a:lnTo>
                    <a:pt x="2045" y="1793"/>
                  </a:lnTo>
                  <a:lnTo>
                    <a:pt x="2051" y="1795"/>
                  </a:lnTo>
                  <a:lnTo>
                    <a:pt x="2058" y="1799"/>
                  </a:lnTo>
                  <a:lnTo>
                    <a:pt x="2065" y="1803"/>
                  </a:lnTo>
                  <a:lnTo>
                    <a:pt x="2073" y="1809"/>
                  </a:lnTo>
                  <a:lnTo>
                    <a:pt x="2079" y="1815"/>
                  </a:lnTo>
                  <a:lnTo>
                    <a:pt x="2086" y="1820"/>
                  </a:lnTo>
                  <a:lnTo>
                    <a:pt x="2093" y="1823"/>
                  </a:lnTo>
                  <a:lnTo>
                    <a:pt x="2099" y="1824"/>
                  </a:lnTo>
                  <a:lnTo>
                    <a:pt x="2099" y="1829"/>
                  </a:lnTo>
                  <a:lnTo>
                    <a:pt x="2100" y="1831"/>
                  </a:lnTo>
                  <a:lnTo>
                    <a:pt x="2102" y="1832"/>
                  </a:lnTo>
                  <a:lnTo>
                    <a:pt x="2103" y="1832"/>
                  </a:lnTo>
                  <a:lnTo>
                    <a:pt x="2105" y="1832"/>
                  </a:lnTo>
                  <a:lnTo>
                    <a:pt x="2106" y="1833"/>
                  </a:lnTo>
                  <a:lnTo>
                    <a:pt x="2107" y="1835"/>
                  </a:lnTo>
                  <a:lnTo>
                    <a:pt x="2107" y="1840"/>
                  </a:lnTo>
                  <a:lnTo>
                    <a:pt x="2123" y="1840"/>
                  </a:lnTo>
                  <a:lnTo>
                    <a:pt x="2124" y="1843"/>
                  </a:lnTo>
                  <a:lnTo>
                    <a:pt x="2127" y="1844"/>
                  </a:lnTo>
                  <a:lnTo>
                    <a:pt x="2133" y="1847"/>
                  </a:lnTo>
                  <a:lnTo>
                    <a:pt x="2140" y="1847"/>
                  </a:lnTo>
                  <a:lnTo>
                    <a:pt x="2152" y="1848"/>
                  </a:lnTo>
                  <a:lnTo>
                    <a:pt x="2162" y="1848"/>
                  </a:lnTo>
                  <a:lnTo>
                    <a:pt x="2162" y="1843"/>
                  </a:lnTo>
                  <a:lnTo>
                    <a:pt x="2163" y="1841"/>
                  </a:lnTo>
                  <a:lnTo>
                    <a:pt x="2164" y="1840"/>
                  </a:lnTo>
                  <a:lnTo>
                    <a:pt x="2165" y="1840"/>
                  </a:lnTo>
                  <a:lnTo>
                    <a:pt x="2166" y="1840"/>
                  </a:lnTo>
                  <a:lnTo>
                    <a:pt x="2169" y="1839"/>
                  </a:lnTo>
                  <a:lnTo>
                    <a:pt x="2169" y="1837"/>
                  </a:lnTo>
                  <a:lnTo>
                    <a:pt x="2170" y="1832"/>
                  </a:lnTo>
                  <a:lnTo>
                    <a:pt x="2172" y="1832"/>
                  </a:lnTo>
                  <a:lnTo>
                    <a:pt x="2175" y="1831"/>
                  </a:lnTo>
                  <a:lnTo>
                    <a:pt x="2177" y="1830"/>
                  </a:lnTo>
                  <a:lnTo>
                    <a:pt x="2180" y="1828"/>
                  </a:lnTo>
                  <a:lnTo>
                    <a:pt x="2182" y="1825"/>
                  </a:lnTo>
                  <a:lnTo>
                    <a:pt x="2183" y="1822"/>
                  </a:lnTo>
                  <a:lnTo>
                    <a:pt x="2184" y="1820"/>
                  </a:lnTo>
                  <a:lnTo>
                    <a:pt x="2185" y="1817"/>
                  </a:lnTo>
                  <a:lnTo>
                    <a:pt x="2193" y="1809"/>
                  </a:lnTo>
                  <a:lnTo>
                    <a:pt x="2198" y="1809"/>
                  </a:lnTo>
                  <a:lnTo>
                    <a:pt x="2200" y="1808"/>
                  </a:lnTo>
                  <a:lnTo>
                    <a:pt x="2200" y="1806"/>
                  </a:lnTo>
                  <a:lnTo>
                    <a:pt x="2201" y="1805"/>
                  </a:lnTo>
                  <a:lnTo>
                    <a:pt x="2201" y="1804"/>
                  </a:lnTo>
                  <a:lnTo>
                    <a:pt x="2201" y="1803"/>
                  </a:lnTo>
                  <a:lnTo>
                    <a:pt x="2203" y="1802"/>
                  </a:lnTo>
                  <a:lnTo>
                    <a:pt x="2208" y="1801"/>
                  </a:lnTo>
                  <a:lnTo>
                    <a:pt x="2210" y="1790"/>
                  </a:lnTo>
                  <a:lnTo>
                    <a:pt x="2212" y="1779"/>
                  </a:lnTo>
                  <a:lnTo>
                    <a:pt x="2214" y="1766"/>
                  </a:lnTo>
                  <a:lnTo>
                    <a:pt x="2215" y="1755"/>
                  </a:lnTo>
                  <a:lnTo>
                    <a:pt x="2219" y="1754"/>
                  </a:lnTo>
                  <a:lnTo>
                    <a:pt x="2220" y="1753"/>
                  </a:lnTo>
                  <a:lnTo>
                    <a:pt x="2222" y="1752"/>
                  </a:lnTo>
                  <a:lnTo>
                    <a:pt x="2223" y="1750"/>
                  </a:lnTo>
                  <a:lnTo>
                    <a:pt x="2223" y="1745"/>
                  </a:lnTo>
                  <a:lnTo>
                    <a:pt x="2223" y="1740"/>
                  </a:lnTo>
                  <a:lnTo>
                    <a:pt x="2227" y="1738"/>
                  </a:lnTo>
                  <a:lnTo>
                    <a:pt x="2228" y="1737"/>
                  </a:lnTo>
                  <a:lnTo>
                    <a:pt x="2230" y="1736"/>
                  </a:lnTo>
                  <a:lnTo>
                    <a:pt x="2231" y="1734"/>
                  </a:lnTo>
                  <a:lnTo>
                    <a:pt x="2231" y="1729"/>
                  </a:lnTo>
                  <a:lnTo>
                    <a:pt x="2231" y="1724"/>
                  </a:lnTo>
                  <a:lnTo>
                    <a:pt x="2234" y="1723"/>
                  </a:lnTo>
                  <a:lnTo>
                    <a:pt x="2236" y="1723"/>
                  </a:lnTo>
                  <a:lnTo>
                    <a:pt x="2238" y="1721"/>
                  </a:lnTo>
                  <a:lnTo>
                    <a:pt x="2238" y="1718"/>
                  </a:lnTo>
                  <a:lnTo>
                    <a:pt x="2239" y="1714"/>
                  </a:lnTo>
                  <a:lnTo>
                    <a:pt x="2239" y="1708"/>
                  </a:lnTo>
                  <a:lnTo>
                    <a:pt x="2250" y="1695"/>
                  </a:lnTo>
                  <a:lnTo>
                    <a:pt x="2267" y="1674"/>
                  </a:lnTo>
                  <a:lnTo>
                    <a:pt x="2275" y="1664"/>
                  </a:lnTo>
                  <a:lnTo>
                    <a:pt x="2284" y="1655"/>
                  </a:lnTo>
                  <a:lnTo>
                    <a:pt x="2289" y="1648"/>
                  </a:lnTo>
                  <a:lnTo>
                    <a:pt x="2294" y="1646"/>
                  </a:lnTo>
                  <a:lnTo>
                    <a:pt x="2294" y="1630"/>
                  </a:lnTo>
                  <a:lnTo>
                    <a:pt x="2297" y="1630"/>
                  </a:lnTo>
                  <a:lnTo>
                    <a:pt x="2300" y="1629"/>
                  </a:lnTo>
                  <a:lnTo>
                    <a:pt x="2303" y="1627"/>
                  </a:lnTo>
                  <a:lnTo>
                    <a:pt x="2306" y="1625"/>
                  </a:lnTo>
                  <a:lnTo>
                    <a:pt x="2309" y="1617"/>
                  </a:lnTo>
                  <a:lnTo>
                    <a:pt x="2313" y="1608"/>
                  </a:lnTo>
                  <a:lnTo>
                    <a:pt x="2315" y="1598"/>
                  </a:lnTo>
                  <a:lnTo>
                    <a:pt x="2316" y="1585"/>
                  </a:lnTo>
                  <a:lnTo>
                    <a:pt x="2316" y="1572"/>
                  </a:lnTo>
                  <a:lnTo>
                    <a:pt x="2316" y="1559"/>
                  </a:lnTo>
                  <a:lnTo>
                    <a:pt x="2313" y="1505"/>
                  </a:lnTo>
                  <a:lnTo>
                    <a:pt x="2309" y="1475"/>
                  </a:lnTo>
                  <a:lnTo>
                    <a:pt x="2305" y="1474"/>
                  </a:lnTo>
                  <a:lnTo>
                    <a:pt x="2303" y="1474"/>
                  </a:lnTo>
                  <a:lnTo>
                    <a:pt x="2301" y="1473"/>
                  </a:lnTo>
                  <a:lnTo>
                    <a:pt x="2301" y="1471"/>
                  </a:lnTo>
                  <a:lnTo>
                    <a:pt x="2301" y="1469"/>
                  </a:lnTo>
                  <a:lnTo>
                    <a:pt x="2300" y="1468"/>
                  </a:lnTo>
                  <a:lnTo>
                    <a:pt x="2298" y="1467"/>
                  </a:lnTo>
                  <a:lnTo>
                    <a:pt x="2294" y="1467"/>
                  </a:lnTo>
                  <a:lnTo>
                    <a:pt x="2292" y="1462"/>
                  </a:lnTo>
                  <a:lnTo>
                    <a:pt x="2289" y="1455"/>
                  </a:lnTo>
                  <a:lnTo>
                    <a:pt x="2284" y="1449"/>
                  </a:lnTo>
                  <a:lnTo>
                    <a:pt x="2278" y="1444"/>
                  </a:lnTo>
                  <a:lnTo>
                    <a:pt x="2272" y="1438"/>
                  </a:lnTo>
                  <a:lnTo>
                    <a:pt x="2268" y="1431"/>
                  </a:lnTo>
                  <a:lnTo>
                    <a:pt x="2263" y="1426"/>
                  </a:lnTo>
                  <a:lnTo>
                    <a:pt x="2262" y="1420"/>
                  </a:lnTo>
                  <a:lnTo>
                    <a:pt x="2260" y="1420"/>
                  </a:lnTo>
                  <a:lnTo>
                    <a:pt x="2257" y="1419"/>
                  </a:lnTo>
                  <a:lnTo>
                    <a:pt x="2255" y="1417"/>
                  </a:lnTo>
                  <a:lnTo>
                    <a:pt x="2252" y="1416"/>
                  </a:lnTo>
                  <a:lnTo>
                    <a:pt x="2250" y="1414"/>
                  </a:lnTo>
                  <a:lnTo>
                    <a:pt x="2249" y="1410"/>
                  </a:lnTo>
                  <a:lnTo>
                    <a:pt x="2248" y="1408"/>
                  </a:lnTo>
                  <a:lnTo>
                    <a:pt x="2247" y="1405"/>
                  </a:lnTo>
                  <a:lnTo>
                    <a:pt x="2242" y="1405"/>
                  </a:lnTo>
                  <a:lnTo>
                    <a:pt x="2240" y="1404"/>
                  </a:lnTo>
                  <a:lnTo>
                    <a:pt x="2239" y="1402"/>
                  </a:lnTo>
                  <a:lnTo>
                    <a:pt x="2239" y="1401"/>
                  </a:lnTo>
                  <a:lnTo>
                    <a:pt x="2239" y="1399"/>
                  </a:lnTo>
                  <a:lnTo>
                    <a:pt x="2238" y="1398"/>
                  </a:lnTo>
                  <a:lnTo>
                    <a:pt x="2236" y="1397"/>
                  </a:lnTo>
                  <a:lnTo>
                    <a:pt x="2231" y="1397"/>
                  </a:lnTo>
                  <a:lnTo>
                    <a:pt x="2231" y="1395"/>
                  </a:lnTo>
                  <a:lnTo>
                    <a:pt x="2230" y="1391"/>
                  </a:lnTo>
                  <a:lnTo>
                    <a:pt x="2229" y="1389"/>
                  </a:lnTo>
                  <a:lnTo>
                    <a:pt x="2227" y="1387"/>
                  </a:lnTo>
                  <a:lnTo>
                    <a:pt x="2224" y="1385"/>
                  </a:lnTo>
                  <a:lnTo>
                    <a:pt x="2222" y="1382"/>
                  </a:lnTo>
                  <a:lnTo>
                    <a:pt x="2219" y="1381"/>
                  </a:lnTo>
                  <a:lnTo>
                    <a:pt x="2215" y="1381"/>
                  </a:lnTo>
                  <a:lnTo>
                    <a:pt x="2215" y="1377"/>
                  </a:lnTo>
                  <a:lnTo>
                    <a:pt x="2214" y="1375"/>
                  </a:lnTo>
                  <a:lnTo>
                    <a:pt x="2213" y="1373"/>
                  </a:lnTo>
                  <a:lnTo>
                    <a:pt x="2212" y="1373"/>
                  </a:lnTo>
                  <a:lnTo>
                    <a:pt x="2211" y="1373"/>
                  </a:lnTo>
                  <a:lnTo>
                    <a:pt x="2210" y="1372"/>
                  </a:lnTo>
                  <a:lnTo>
                    <a:pt x="2209" y="1370"/>
                  </a:lnTo>
                  <a:lnTo>
                    <a:pt x="2208" y="1366"/>
                  </a:lnTo>
                  <a:lnTo>
                    <a:pt x="2203" y="1365"/>
                  </a:lnTo>
                  <a:lnTo>
                    <a:pt x="2195" y="1360"/>
                  </a:lnTo>
                  <a:lnTo>
                    <a:pt x="2185" y="1353"/>
                  </a:lnTo>
                  <a:lnTo>
                    <a:pt x="2174" y="1346"/>
                  </a:lnTo>
                  <a:lnTo>
                    <a:pt x="2164" y="1338"/>
                  </a:lnTo>
                  <a:lnTo>
                    <a:pt x="2154" y="1330"/>
                  </a:lnTo>
                  <a:lnTo>
                    <a:pt x="2148" y="1323"/>
                  </a:lnTo>
                  <a:lnTo>
                    <a:pt x="2146" y="1319"/>
                  </a:lnTo>
                  <a:lnTo>
                    <a:pt x="2138" y="1319"/>
                  </a:lnTo>
                  <a:lnTo>
                    <a:pt x="2133" y="1317"/>
                  </a:lnTo>
                  <a:lnTo>
                    <a:pt x="2128" y="1312"/>
                  </a:lnTo>
                  <a:lnTo>
                    <a:pt x="2125" y="1306"/>
                  </a:lnTo>
                  <a:lnTo>
                    <a:pt x="2122" y="1300"/>
                  </a:lnTo>
                  <a:lnTo>
                    <a:pt x="2121" y="1292"/>
                  </a:lnTo>
                  <a:lnTo>
                    <a:pt x="2119" y="1283"/>
                  </a:lnTo>
                  <a:lnTo>
                    <a:pt x="2118" y="1273"/>
                  </a:lnTo>
                  <a:lnTo>
                    <a:pt x="2121" y="1224"/>
                  </a:lnTo>
                  <a:lnTo>
                    <a:pt x="2122" y="1165"/>
                  </a:lnTo>
                  <a:lnTo>
                    <a:pt x="2121" y="1118"/>
                  </a:lnTo>
                  <a:lnTo>
                    <a:pt x="2118" y="1070"/>
                  </a:lnTo>
                  <a:lnTo>
                    <a:pt x="2117" y="1023"/>
                  </a:lnTo>
                  <a:lnTo>
                    <a:pt x="2115" y="978"/>
                  </a:lnTo>
                  <a:lnTo>
                    <a:pt x="2114" y="939"/>
                  </a:lnTo>
                  <a:lnTo>
                    <a:pt x="2113" y="906"/>
                  </a:lnTo>
                  <a:lnTo>
                    <a:pt x="2113" y="881"/>
                  </a:lnTo>
                  <a:lnTo>
                    <a:pt x="2114" y="867"/>
                  </a:lnTo>
                  <a:lnTo>
                    <a:pt x="2118" y="846"/>
                  </a:lnTo>
                  <a:lnTo>
                    <a:pt x="2124" y="825"/>
                  </a:lnTo>
                  <a:lnTo>
                    <a:pt x="2131" y="805"/>
                  </a:lnTo>
                  <a:lnTo>
                    <a:pt x="2137" y="784"/>
                  </a:lnTo>
                  <a:lnTo>
                    <a:pt x="2144" y="764"/>
                  </a:lnTo>
                  <a:lnTo>
                    <a:pt x="2148" y="744"/>
                  </a:lnTo>
                  <a:lnTo>
                    <a:pt x="2153" y="725"/>
                  </a:lnTo>
                  <a:lnTo>
                    <a:pt x="2154" y="705"/>
                  </a:lnTo>
                  <a:lnTo>
                    <a:pt x="2156" y="704"/>
                  </a:lnTo>
                  <a:lnTo>
                    <a:pt x="2158" y="698"/>
                  </a:lnTo>
                  <a:lnTo>
                    <a:pt x="2160" y="693"/>
                  </a:lnTo>
                  <a:lnTo>
                    <a:pt x="2161" y="685"/>
                  </a:lnTo>
                  <a:lnTo>
                    <a:pt x="2162" y="669"/>
                  </a:lnTo>
                  <a:lnTo>
                    <a:pt x="2162" y="658"/>
                  </a:lnTo>
                  <a:lnTo>
                    <a:pt x="2163" y="658"/>
                  </a:lnTo>
                  <a:lnTo>
                    <a:pt x="2164" y="656"/>
                  </a:lnTo>
                  <a:lnTo>
                    <a:pt x="2165" y="654"/>
                  </a:lnTo>
                  <a:lnTo>
                    <a:pt x="2166" y="651"/>
                  </a:lnTo>
                  <a:lnTo>
                    <a:pt x="2167" y="644"/>
                  </a:lnTo>
                  <a:lnTo>
                    <a:pt x="2169" y="633"/>
                  </a:lnTo>
                  <a:lnTo>
                    <a:pt x="2170" y="616"/>
                  </a:lnTo>
                  <a:lnTo>
                    <a:pt x="2170" y="603"/>
                  </a:lnTo>
                  <a:lnTo>
                    <a:pt x="2171" y="603"/>
                  </a:lnTo>
                  <a:lnTo>
                    <a:pt x="2173" y="602"/>
                  </a:lnTo>
                  <a:lnTo>
                    <a:pt x="2175" y="600"/>
                  </a:lnTo>
                  <a:lnTo>
                    <a:pt x="2176" y="597"/>
                  </a:lnTo>
                  <a:lnTo>
                    <a:pt x="2181" y="589"/>
                  </a:lnTo>
                  <a:lnTo>
                    <a:pt x="2184" y="579"/>
                  </a:lnTo>
                  <a:lnTo>
                    <a:pt x="2189" y="569"/>
                  </a:lnTo>
                  <a:lnTo>
                    <a:pt x="2193" y="558"/>
                  </a:lnTo>
                  <a:lnTo>
                    <a:pt x="2200" y="548"/>
                  </a:lnTo>
                  <a:lnTo>
                    <a:pt x="2207" y="539"/>
                  </a:lnTo>
                  <a:lnTo>
                    <a:pt x="2228" y="516"/>
                  </a:lnTo>
                  <a:lnTo>
                    <a:pt x="2244" y="500"/>
                  </a:lnTo>
                  <a:lnTo>
                    <a:pt x="2252" y="493"/>
                  </a:lnTo>
                  <a:lnTo>
                    <a:pt x="2258" y="485"/>
                  </a:lnTo>
                  <a:lnTo>
                    <a:pt x="2263" y="478"/>
                  </a:lnTo>
                  <a:lnTo>
                    <a:pt x="2268" y="471"/>
                  </a:lnTo>
                  <a:lnTo>
                    <a:pt x="2272" y="463"/>
                  </a:lnTo>
                  <a:lnTo>
                    <a:pt x="2275" y="453"/>
                  </a:lnTo>
                  <a:lnTo>
                    <a:pt x="2276" y="447"/>
                  </a:lnTo>
                  <a:lnTo>
                    <a:pt x="2276" y="442"/>
                  </a:lnTo>
                  <a:lnTo>
                    <a:pt x="2275" y="435"/>
                  </a:lnTo>
                  <a:lnTo>
                    <a:pt x="2273" y="427"/>
                  </a:lnTo>
                  <a:lnTo>
                    <a:pt x="2270" y="420"/>
                  </a:lnTo>
                  <a:lnTo>
                    <a:pt x="2267" y="411"/>
                  </a:lnTo>
                  <a:lnTo>
                    <a:pt x="2262" y="402"/>
                  </a:lnTo>
                  <a:lnTo>
                    <a:pt x="2256" y="394"/>
                  </a:lnTo>
                  <a:lnTo>
                    <a:pt x="2248" y="382"/>
                  </a:lnTo>
                  <a:lnTo>
                    <a:pt x="2239" y="371"/>
                  </a:lnTo>
                  <a:lnTo>
                    <a:pt x="2229" y="359"/>
                  </a:lnTo>
                  <a:lnTo>
                    <a:pt x="2217" y="347"/>
                  </a:lnTo>
                  <a:lnTo>
                    <a:pt x="2212" y="340"/>
                  </a:lnTo>
                  <a:lnTo>
                    <a:pt x="2207" y="332"/>
                  </a:lnTo>
                  <a:lnTo>
                    <a:pt x="2202" y="323"/>
                  </a:lnTo>
                  <a:lnTo>
                    <a:pt x="2198" y="314"/>
                  </a:lnTo>
                  <a:lnTo>
                    <a:pt x="2193" y="306"/>
                  </a:lnTo>
                  <a:lnTo>
                    <a:pt x="2189" y="299"/>
                  </a:lnTo>
                  <a:lnTo>
                    <a:pt x="2185" y="296"/>
                  </a:lnTo>
                  <a:lnTo>
                    <a:pt x="2183" y="294"/>
                  </a:lnTo>
                  <a:lnTo>
                    <a:pt x="2180" y="293"/>
                  </a:lnTo>
                  <a:lnTo>
                    <a:pt x="2177" y="293"/>
                  </a:lnTo>
                  <a:lnTo>
                    <a:pt x="2176" y="289"/>
                  </a:lnTo>
                  <a:lnTo>
                    <a:pt x="2176" y="286"/>
                  </a:lnTo>
                  <a:lnTo>
                    <a:pt x="2174" y="285"/>
                  </a:lnTo>
                  <a:lnTo>
                    <a:pt x="2173" y="285"/>
                  </a:lnTo>
                  <a:lnTo>
                    <a:pt x="2172" y="285"/>
                  </a:lnTo>
                  <a:lnTo>
                    <a:pt x="2171" y="284"/>
                  </a:lnTo>
                  <a:lnTo>
                    <a:pt x="2170" y="282"/>
                  </a:lnTo>
                  <a:lnTo>
                    <a:pt x="2170" y="277"/>
                  </a:lnTo>
                  <a:lnTo>
                    <a:pt x="2154" y="277"/>
                  </a:lnTo>
                  <a:lnTo>
                    <a:pt x="2152" y="274"/>
                  </a:lnTo>
                  <a:lnTo>
                    <a:pt x="2147" y="269"/>
                  </a:lnTo>
                  <a:lnTo>
                    <a:pt x="2142" y="264"/>
                  </a:lnTo>
                  <a:lnTo>
                    <a:pt x="2134" y="257"/>
                  </a:lnTo>
                  <a:lnTo>
                    <a:pt x="2127" y="252"/>
                  </a:lnTo>
                  <a:lnTo>
                    <a:pt x="2121" y="246"/>
                  </a:lnTo>
                  <a:lnTo>
                    <a:pt x="2116" y="242"/>
                  </a:lnTo>
                  <a:lnTo>
                    <a:pt x="2115" y="238"/>
                  </a:lnTo>
                  <a:lnTo>
                    <a:pt x="2099" y="238"/>
                  </a:lnTo>
                  <a:lnTo>
                    <a:pt x="2084" y="223"/>
                  </a:lnTo>
                  <a:lnTo>
                    <a:pt x="2068" y="207"/>
                  </a:lnTo>
                  <a:lnTo>
                    <a:pt x="2056" y="206"/>
                  </a:lnTo>
                  <a:lnTo>
                    <a:pt x="2041" y="204"/>
                  </a:lnTo>
                  <a:lnTo>
                    <a:pt x="2027" y="200"/>
                  </a:lnTo>
                  <a:lnTo>
                    <a:pt x="2013" y="199"/>
                  </a:lnTo>
                  <a:lnTo>
                    <a:pt x="1998" y="184"/>
                  </a:lnTo>
                  <a:lnTo>
                    <a:pt x="1982" y="184"/>
                  </a:lnTo>
                  <a:lnTo>
                    <a:pt x="1974" y="177"/>
                  </a:lnTo>
                  <a:lnTo>
                    <a:pt x="1954" y="160"/>
                  </a:lnTo>
                  <a:lnTo>
                    <a:pt x="1943" y="152"/>
                  </a:lnTo>
                  <a:lnTo>
                    <a:pt x="1933" y="145"/>
                  </a:lnTo>
                  <a:lnTo>
                    <a:pt x="1925" y="139"/>
                  </a:lnTo>
                  <a:lnTo>
                    <a:pt x="1921" y="137"/>
                  </a:lnTo>
                  <a:lnTo>
                    <a:pt x="1913" y="129"/>
                  </a:lnTo>
                  <a:lnTo>
                    <a:pt x="1912" y="127"/>
                  </a:lnTo>
                  <a:lnTo>
                    <a:pt x="1910" y="122"/>
                  </a:lnTo>
                  <a:lnTo>
                    <a:pt x="1907" y="119"/>
                  </a:lnTo>
                  <a:lnTo>
                    <a:pt x="1904" y="115"/>
                  </a:lnTo>
                  <a:lnTo>
                    <a:pt x="1900" y="111"/>
                  </a:lnTo>
                  <a:lnTo>
                    <a:pt x="1896" y="109"/>
                  </a:lnTo>
                  <a:lnTo>
                    <a:pt x="1893" y="107"/>
                  </a:lnTo>
                  <a:lnTo>
                    <a:pt x="1889" y="107"/>
                  </a:lnTo>
                  <a:lnTo>
                    <a:pt x="1885" y="94"/>
                  </a:lnTo>
                  <a:lnTo>
                    <a:pt x="1882" y="83"/>
                  </a:lnTo>
                  <a:lnTo>
                    <a:pt x="1875" y="82"/>
                  </a:lnTo>
                  <a:lnTo>
                    <a:pt x="1866" y="80"/>
                  </a:lnTo>
                  <a:lnTo>
                    <a:pt x="1856" y="78"/>
                  </a:lnTo>
                  <a:lnTo>
                    <a:pt x="1845" y="74"/>
                  </a:lnTo>
                  <a:lnTo>
                    <a:pt x="1825" y="67"/>
                  </a:lnTo>
                  <a:lnTo>
                    <a:pt x="1809" y="60"/>
                  </a:lnTo>
                  <a:lnTo>
                    <a:pt x="1798" y="56"/>
                  </a:lnTo>
                  <a:lnTo>
                    <a:pt x="1773" y="48"/>
                  </a:lnTo>
                  <a:lnTo>
                    <a:pt x="1761" y="42"/>
                  </a:lnTo>
                  <a:lnTo>
                    <a:pt x="1750" y="38"/>
                  </a:lnTo>
                  <a:lnTo>
                    <a:pt x="1742" y="33"/>
                  </a:lnTo>
                  <a:lnTo>
                    <a:pt x="1739" y="29"/>
                  </a:lnTo>
                  <a:lnTo>
                    <a:pt x="1718" y="29"/>
                  </a:lnTo>
                  <a:lnTo>
                    <a:pt x="1697" y="26"/>
                  </a:lnTo>
                  <a:lnTo>
                    <a:pt x="1678" y="24"/>
                  </a:lnTo>
                  <a:lnTo>
                    <a:pt x="1661" y="21"/>
                  </a:lnTo>
                  <a:lnTo>
                    <a:pt x="1627" y="14"/>
                  </a:lnTo>
                  <a:lnTo>
                    <a:pt x="1598" y="10"/>
                  </a:lnTo>
                  <a:lnTo>
                    <a:pt x="1532" y="6"/>
                  </a:lnTo>
                  <a:lnTo>
                    <a:pt x="1488" y="3"/>
                  </a:lnTo>
                  <a:lnTo>
                    <a:pt x="1461" y="1"/>
                  </a:lnTo>
                  <a:lnTo>
                    <a:pt x="1450" y="0"/>
                  </a:lnTo>
                  <a:lnTo>
                    <a:pt x="1449" y="1"/>
                  </a:lnTo>
                  <a:lnTo>
                    <a:pt x="1449" y="1"/>
                  </a:lnTo>
                  <a:lnTo>
                    <a:pt x="1449" y="2"/>
                  </a:lnTo>
                  <a:lnTo>
                    <a:pt x="1450" y="2"/>
                  </a:lnTo>
                  <a:lnTo>
                    <a:pt x="1453" y="5"/>
                  </a:lnTo>
                  <a:lnTo>
                    <a:pt x="1459" y="9"/>
                  </a:lnTo>
                  <a:lnTo>
                    <a:pt x="1465" y="13"/>
                  </a:lnTo>
                  <a:lnTo>
                    <a:pt x="1473" y="20"/>
                  </a:lnTo>
                  <a:lnTo>
                    <a:pt x="1481" y="26"/>
                  </a:lnTo>
                  <a:lnTo>
                    <a:pt x="1490" y="35"/>
                  </a:lnTo>
                  <a:lnTo>
                    <a:pt x="1492" y="38"/>
                  </a:lnTo>
                  <a:lnTo>
                    <a:pt x="1497" y="40"/>
                  </a:lnTo>
                  <a:lnTo>
                    <a:pt x="1501" y="42"/>
                  </a:lnTo>
                  <a:lnTo>
                    <a:pt x="1505" y="43"/>
                  </a:lnTo>
                  <a:lnTo>
                    <a:pt x="1517" y="46"/>
                  </a:lnTo>
                  <a:lnTo>
                    <a:pt x="1529" y="50"/>
                  </a:lnTo>
                  <a:lnTo>
                    <a:pt x="1540" y="53"/>
                  </a:lnTo>
                  <a:lnTo>
                    <a:pt x="1549" y="59"/>
                  </a:lnTo>
                  <a:lnTo>
                    <a:pt x="1553" y="61"/>
                  </a:lnTo>
                  <a:lnTo>
                    <a:pt x="1556" y="65"/>
                  </a:lnTo>
                  <a:lnTo>
                    <a:pt x="1558" y="70"/>
                  </a:lnTo>
                  <a:lnTo>
                    <a:pt x="1558" y="74"/>
                  </a:lnTo>
                  <a:close/>
                </a:path>
              </a:pathLst>
            </a:custGeom>
            <a:solidFill>
              <a:srgbClr val="D9D9D9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56" name="Freeform 22"/>
            <p:cNvSpPr>
              <a:spLocks noChangeAspect="1"/>
            </p:cNvSpPr>
            <p:nvPr/>
          </p:nvSpPr>
          <p:spPr bwMode="gray">
            <a:xfrm rot="355651">
              <a:off x="6199188" y="3581400"/>
              <a:ext cx="434820" cy="192695"/>
            </a:xfrm>
            <a:custGeom>
              <a:avLst/>
              <a:gdLst/>
              <a:ahLst/>
              <a:cxnLst>
                <a:cxn ang="0">
                  <a:pos x="615" y="23"/>
                </a:cxn>
                <a:cxn ang="0">
                  <a:pos x="573" y="67"/>
                </a:cxn>
                <a:cxn ang="0">
                  <a:pos x="413" y="99"/>
                </a:cxn>
                <a:cxn ang="0">
                  <a:pos x="322" y="94"/>
                </a:cxn>
                <a:cxn ang="0">
                  <a:pos x="41" y="95"/>
                </a:cxn>
                <a:cxn ang="0">
                  <a:pos x="22" y="139"/>
                </a:cxn>
                <a:cxn ang="0">
                  <a:pos x="83" y="199"/>
                </a:cxn>
                <a:cxn ang="0">
                  <a:pos x="125" y="301"/>
                </a:cxn>
                <a:cxn ang="0">
                  <a:pos x="149" y="334"/>
                </a:cxn>
                <a:cxn ang="0">
                  <a:pos x="205" y="399"/>
                </a:cxn>
                <a:cxn ang="0">
                  <a:pos x="260" y="493"/>
                </a:cxn>
                <a:cxn ang="0">
                  <a:pos x="325" y="489"/>
                </a:cxn>
                <a:cxn ang="0">
                  <a:pos x="404" y="576"/>
                </a:cxn>
                <a:cxn ang="0">
                  <a:pos x="462" y="665"/>
                </a:cxn>
                <a:cxn ang="0">
                  <a:pos x="502" y="733"/>
                </a:cxn>
                <a:cxn ang="0">
                  <a:pos x="568" y="794"/>
                </a:cxn>
                <a:cxn ang="0">
                  <a:pos x="639" y="798"/>
                </a:cxn>
                <a:cxn ang="0">
                  <a:pos x="720" y="875"/>
                </a:cxn>
                <a:cxn ang="0">
                  <a:pos x="778" y="911"/>
                </a:cxn>
                <a:cxn ang="0">
                  <a:pos x="853" y="964"/>
                </a:cxn>
                <a:cxn ang="0">
                  <a:pos x="913" y="901"/>
                </a:cxn>
                <a:cxn ang="0">
                  <a:pos x="1062" y="926"/>
                </a:cxn>
                <a:cxn ang="0">
                  <a:pos x="1169" y="973"/>
                </a:cxn>
                <a:cxn ang="0">
                  <a:pos x="1231" y="897"/>
                </a:cxn>
                <a:cxn ang="0">
                  <a:pos x="1290" y="918"/>
                </a:cxn>
                <a:cxn ang="0">
                  <a:pos x="1322" y="975"/>
                </a:cxn>
                <a:cxn ang="0">
                  <a:pos x="1384" y="1089"/>
                </a:cxn>
                <a:cxn ang="0">
                  <a:pos x="1486" y="1104"/>
                </a:cxn>
                <a:cxn ang="0">
                  <a:pos x="1585" y="1062"/>
                </a:cxn>
                <a:cxn ang="0">
                  <a:pos x="1638" y="888"/>
                </a:cxn>
                <a:cxn ang="0">
                  <a:pos x="1675" y="771"/>
                </a:cxn>
                <a:cxn ang="0">
                  <a:pos x="1723" y="925"/>
                </a:cxn>
                <a:cxn ang="0">
                  <a:pos x="1768" y="992"/>
                </a:cxn>
                <a:cxn ang="0">
                  <a:pos x="1810" y="1026"/>
                </a:cxn>
                <a:cxn ang="0">
                  <a:pos x="1874" y="1057"/>
                </a:cxn>
                <a:cxn ang="0">
                  <a:pos x="1903" y="1110"/>
                </a:cxn>
                <a:cxn ang="0">
                  <a:pos x="1929" y="1161"/>
                </a:cxn>
                <a:cxn ang="0">
                  <a:pos x="2156" y="1195"/>
                </a:cxn>
                <a:cxn ang="0">
                  <a:pos x="2232" y="1178"/>
                </a:cxn>
                <a:cxn ang="0">
                  <a:pos x="2267" y="758"/>
                </a:cxn>
                <a:cxn ang="0">
                  <a:pos x="2278" y="709"/>
                </a:cxn>
                <a:cxn ang="0">
                  <a:pos x="2304" y="694"/>
                </a:cxn>
                <a:cxn ang="0">
                  <a:pos x="2395" y="653"/>
                </a:cxn>
                <a:cxn ang="0">
                  <a:pos x="2331" y="581"/>
                </a:cxn>
                <a:cxn ang="0">
                  <a:pos x="2251" y="532"/>
                </a:cxn>
                <a:cxn ang="0">
                  <a:pos x="2227" y="515"/>
                </a:cxn>
                <a:cxn ang="0">
                  <a:pos x="2186" y="425"/>
                </a:cxn>
                <a:cxn ang="0">
                  <a:pos x="2166" y="294"/>
                </a:cxn>
                <a:cxn ang="0">
                  <a:pos x="2111" y="244"/>
                </a:cxn>
                <a:cxn ang="0">
                  <a:pos x="2022" y="226"/>
                </a:cxn>
                <a:cxn ang="0">
                  <a:pos x="1980" y="266"/>
                </a:cxn>
                <a:cxn ang="0">
                  <a:pos x="1928" y="233"/>
                </a:cxn>
                <a:cxn ang="0">
                  <a:pos x="1867" y="206"/>
                </a:cxn>
                <a:cxn ang="0">
                  <a:pos x="1784" y="189"/>
                </a:cxn>
                <a:cxn ang="0">
                  <a:pos x="1615" y="217"/>
                </a:cxn>
                <a:cxn ang="0">
                  <a:pos x="1573" y="255"/>
                </a:cxn>
                <a:cxn ang="0">
                  <a:pos x="1418" y="214"/>
                </a:cxn>
                <a:cxn ang="0">
                  <a:pos x="1170" y="141"/>
                </a:cxn>
                <a:cxn ang="0">
                  <a:pos x="869" y="122"/>
                </a:cxn>
                <a:cxn ang="0">
                  <a:pos x="831" y="94"/>
                </a:cxn>
                <a:cxn ang="0">
                  <a:pos x="783" y="37"/>
                </a:cxn>
                <a:cxn ang="0">
                  <a:pos x="709" y="6"/>
                </a:cxn>
              </a:cxnLst>
              <a:rect l="0" t="0" r="r" b="b"/>
              <a:pathLst>
                <a:path w="2395" h="1197">
                  <a:moveTo>
                    <a:pt x="681" y="0"/>
                  </a:moveTo>
                  <a:lnTo>
                    <a:pt x="677" y="2"/>
                  </a:lnTo>
                  <a:lnTo>
                    <a:pt x="670" y="4"/>
                  </a:lnTo>
                  <a:lnTo>
                    <a:pt x="664" y="7"/>
                  </a:lnTo>
                  <a:lnTo>
                    <a:pt x="659" y="12"/>
                  </a:lnTo>
                  <a:lnTo>
                    <a:pt x="653" y="12"/>
                  </a:lnTo>
                  <a:lnTo>
                    <a:pt x="648" y="13"/>
                  </a:lnTo>
                  <a:lnTo>
                    <a:pt x="642" y="15"/>
                  </a:lnTo>
                  <a:lnTo>
                    <a:pt x="637" y="17"/>
                  </a:lnTo>
                  <a:lnTo>
                    <a:pt x="632" y="19"/>
                  </a:lnTo>
                  <a:lnTo>
                    <a:pt x="626" y="21"/>
                  </a:lnTo>
                  <a:lnTo>
                    <a:pt x="621" y="22"/>
                  </a:lnTo>
                  <a:lnTo>
                    <a:pt x="615" y="23"/>
                  </a:lnTo>
                  <a:lnTo>
                    <a:pt x="610" y="28"/>
                  </a:lnTo>
                  <a:lnTo>
                    <a:pt x="610" y="40"/>
                  </a:lnTo>
                  <a:lnTo>
                    <a:pt x="606" y="40"/>
                  </a:lnTo>
                  <a:lnTo>
                    <a:pt x="604" y="43"/>
                  </a:lnTo>
                  <a:lnTo>
                    <a:pt x="604" y="46"/>
                  </a:lnTo>
                  <a:lnTo>
                    <a:pt x="604" y="50"/>
                  </a:lnTo>
                  <a:lnTo>
                    <a:pt x="600" y="51"/>
                  </a:lnTo>
                  <a:lnTo>
                    <a:pt x="596" y="54"/>
                  </a:lnTo>
                  <a:lnTo>
                    <a:pt x="594" y="57"/>
                  </a:lnTo>
                  <a:lnTo>
                    <a:pt x="593" y="61"/>
                  </a:lnTo>
                  <a:lnTo>
                    <a:pt x="586" y="62"/>
                  </a:lnTo>
                  <a:lnTo>
                    <a:pt x="577" y="65"/>
                  </a:lnTo>
                  <a:lnTo>
                    <a:pt x="573" y="67"/>
                  </a:lnTo>
                  <a:lnTo>
                    <a:pt x="568" y="71"/>
                  </a:lnTo>
                  <a:lnTo>
                    <a:pt x="566" y="74"/>
                  </a:lnTo>
                  <a:lnTo>
                    <a:pt x="565" y="77"/>
                  </a:lnTo>
                  <a:lnTo>
                    <a:pt x="557" y="80"/>
                  </a:lnTo>
                  <a:lnTo>
                    <a:pt x="546" y="84"/>
                  </a:lnTo>
                  <a:lnTo>
                    <a:pt x="540" y="86"/>
                  </a:lnTo>
                  <a:lnTo>
                    <a:pt x="536" y="90"/>
                  </a:lnTo>
                  <a:lnTo>
                    <a:pt x="533" y="92"/>
                  </a:lnTo>
                  <a:lnTo>
                    <a:pt x="531" y="94"/>
                  </a:lnTo>
                  <a:lnTo>
                    <a:pt x="504" y="96"/>
                  </a:lnTo>
                  <a:lnTo>
                    <a:pt x="457" y="100"/>
                  </a:lnTo>
                  <a:lnTo>
                    <a:pt x="433" y="101"/>
                  </a:lnTo>
                  <a:lnTo>
                    <a:pt x="413" y="99"/>
                  </a:lnTo>
                  <a:lnTo>
                    <a:pt x="404" y="98"/>
                  </a:lnTo>
                  <a:lnTo>
                    <a:pt x="399" y="95"/>
                  </a:lnTo>
                  <a:lnTo>
                    <a:pt x="396" y="94"/>
                  </a:lnTo>
                  <a:lnTo>
                    <a:pt x="394" y="93"/>
                  </a:lnTo>
                  <a:lnTo>
                    <a:pt x="394" y="91"/>
                  </a:lnTo>
                  <a:lnTo>
                    <a:pt x="393" y="89"/>
                  </a:lnTo>
                  <a:lnTo>
                    <a:pt x="376" y="87"/>
                  </a:lnTo>
                  <a:lnTo>
                    <a:pt x="359" y="86"/>
                  </a:lnTo>
                  <a:lnTo>
                    <a:pt x="344" y="84"/>
                  </a:lnTo>
                  <a:lnTo>
                    <a:pt x="327" y="83"/>
                  </a:lnTo>
                  <a:lnTo>
                    <a:pt x="326" y="89"/>
                  </a:lnTo>
                  <a:lnTo>
                    <a:pt x="325" y="92"/>
                  </a:lnTo>
                  <a:lnTo>
                    <a:pt x="322" y="94"/>
                  </a:lnTo>
                  <a:lnTo>
                    <a:pt x="319" y="96"/>
                  </a:lnTo>
                  <a:lnTo>
                    <a:pt x="315" y="99"/>
                  </a:lnTo>
                  <a:lnTo>
                    <a:pt x="310" y="99"/>
                  </a:lnTo>
                  <a:lnTo>
                    <a:pt x="306" y="100"/>
                  </a:lnTo>
                  <a:lnTo>
                    <a:pt x="300" y="100"/>
                  </a:lnTo>
                  <a:lnTo>
                    <a:pt x="280" y="96"/>
                  </a:lnTo>
                  <a:lnTo>
                    <a:pt x="266" y="94"/>
                  </a:lnTo>
                  <a:lnTo>
                    <a:pt x="258" y="86"/>
                  </a:lnTo>
                  <a:lnTo>
                    <a:pt x="249" y="77"/>
                  </a:lnTo>
                  <a:lnTo>
                    <a:pt x="45" y="77"/>
                  </a:lnTo>
                  <a:lnTo>
                    <a:pt x="45" y="86"/>
                  </a:lnTo>
                  <a:lnTo>
                    <a:pt x="45" y="94"/>
                  </a:lnTo>
                  <a:lnTo>
                    <a:pt x="41" y="95"/>
                  </a:lnTo>
                  <a:lnTo>
                    <a:pt x="39" y="98"/>
                  </a:lnTo>
                  <a:lnTo>
                    <a:pt x="39" y="101"/>
                  </a:lnTo>
                  <a:lnTo>
                    <a:pt x="39" y="105"/>
                  </a:lnTo>
                  <a:lnTo>
                    <a:pt x="37" y="106"/>
                  </a:lnTo>
                  <a:lnTo>
                    <a:pt x="34" y="109"/>
                  </a:lnTo>
                  <a:lnTo>
                    <a:pt x="29" y="112"/>
                  </a:lnTo>
                  <a:lnTo>
                    <a:pt x="28" y="117"/>
                  </a:lnTo>
                  <a:lnTo>
                    <a:pt x="19" y="119"/>
                  </a:lnTo>
                  <a:lnTo>
                    <a:pt x="10" y="122"/>
                  </a:lnTo>
                  <a:lnTo>
                    <a:pt x="2" y="125"/>
                  </a:lnTo>
                  <a:lnTo>
                    <a:pt x="0" y="128"/>
                  </a:lnTo>
                  <a:lnTo>
                    <a:pt x="9" y="133"/>
                  </a:lnTo>
                  <a:lnTo>
                    <a:pt x="22" y="139"/>
                  </a:lnTo>
                  <a:lnTo>
                    <a:pt x="25" y="144"/>
                  </a:lnTo>
                  <a:lnTo>
                    <a:pt x="28" y="150"/>
                  </a:lnTo>
                  <a:lnTo>
                    <a:pt x="31" y="151"/>
                  </a:lnTo>
                  <a:lnTo>
                    <a:pt x="36" y="153"/>
                  </a:lnTo>
                  <a:lnTo>
                    <a:pt x="38" y="157"/>
                  </a:lnTo>
                  <a:lnTo>
                    <a:pt x="39" y="161"/>
                  </a:lnTo>
                  <a:lnTo>
                    <a:pt x="50" y="161"/>
                  </a:lnTo>
                  <a:lnTo>
                    <a:pt x="56" y="167"/>
                  </a:lnTo>
                  <a:lnTo>
                    <a:pt x="61" y="178"/>
                  </a:lnTo>
                  <a:lnTo>
                    <a:pt x="71" y="178"/>
                  </a:lnTo>
                  <a:lnTo>
                    <a:pt x="77" y="183"/>
                  </a:lnTo>
                  <a:lnTo>
                    <a:pt x="83" y="189"/>
                  </a:lnTo>
                  <a:lnTo>
                    <a:pt x="83" y="199"/>
                  </a:lnTo>
                  <a:lnTo>
                    <a:pt x="88" y="205"/>
                  </a:lnTo>
                  <a:lnTo>
                    <a:pt x="94" y="210"/>
                  </a:lnTo>
                  <a:lnTo>
                    <a:pt x="99" y="214"/>
                  </a:lnTo>
                  <a:lnTo>
                    <a:pt x="105" y="216"/>
                  </a:lnTo>
                  <a:lnTo>
                    <a:pt x="106" y="227"/>
                  </a:lnTo>
                  <a:lnTo>
                    <a:pt x="108" y="237"/>
                  </a:lnTo>
                  <a:lnTo>
                    <a:pt x="111" y="247"/>
                  </a:lnTo>
                  <a:lnTo>
                    <a:pt x="114" y="258"/>
                  </a:lnTo>
                  <a:lnTo>
                    <a:pt x="116" y="268"/>
                  </a:lnTo>
                  <a:lnTo>
                    <a:pt x="119" y="278"/>
                  </a:lnTo>
                  <a:lnTo>
                    <a:pt x="121" y="290"/>
                  </a:lnTo>
                  <a:lnTo>
                    <a:pt x="122" y="300"/>
                  </a:lnTo>
                  <a:lnTo>
                    <a:pt x="125" y="301"/>
                  </a:lnTo>
                  <a:lnTo>
                    <a:pt x="126" y="303"/>
                  </a:lnTo>
                  <a:lnTo>
                    <a:pt x="127" y="306"/>
                  </a:lnTo>
                  <a:lnTo>
                    <a:pt x="127" y="311"/>
                  </a:lnTo>
                  <a:lnTo>
                    <a:pt x="138" y="316"/>
                  </a:lnTo>
                  <a:lnTo>
                    <a:pt x="138" y="319"/>
                  </a:lnTo>
                  <a:lnTo>
                    <a:pt x="140" y="320"/>
                  </a:lnTo>
                  <a:lnTo>
                    <a:pt x="141" y="321"/>
                  </a:lnTo>
                  <a:lnTo>
                    <a:pt x="141" y="320"/>
                  </a:lnTo>
                  <a:lnTo>
                    <a:pt x="142" y="321"/>
                  </a:lnTo>
                  <a:lnTo>
                    <a:pt x="143" y="322"/>
                  </a:lnTo>
                  <a:lnTo>
                    <a:pt x="144" y="326"/>
                  </a:lnTo>
                  <a:lnTo>
                    <a:pt x="144" y="333"/>
                  </a:lnTo>
                  <a:lnTo>
                    <a:pt x="149" y="334"/>
                  </a:lnTo>
                  <a:lnTo>
                    <a:pt x="154" y="339"/>
                  </a:lnTo>
                  <a:lnTo>
                    <a:pt x="159" y="344"/>
                  </a:lnTo>
                  <a:lnTo>
                    <a:pt x="161" y="349"/>
                  </a:lnTo>
                  <a:lnTo>
                    <a:pt x="165" y="353"/>
                  </a:lnTo>
                  <a:lnTo>
                    <a:pt x="172" y="363"/>
                  </a:lnTo>
                  <a:lnTo>
                    <a:pt x="176" y="368"/>
                  </a:lnTo>
                  <a:lnTo>
                    <a:pt x="180" y="372"/>
                  </a:lnTo>
                  <a:lnTo>
                    <a:pt x="184" y="375"/>
                  </a:lnTo>
                  <a:lnTo>
                    <a:pt x="189" y="377"/>
                  </a:lnTo>
                  <a:lnTo>
                    <a:pt x="194" y="382"/>
                  </a:lnTo>
                  <a:lnTo>
                    <a:pt x="194" y="393"/>
                  </a:lnTo>
                  <a:lnTo>
                    <a:pt x="200" y="397"/>
                  </a:lnTo>
                  <a:lnTo>
                    <a:pt x="205" y="399"/>
                  </a:lnTo>
                  <a:lnTo>
                    <a:pt x="205" y="410"/>
                  </a:lnTo>
                  <a:lnTo>
                    <a:pt x="207" y="411"/>
                  </a:lnTo>
                  <a:lnTo>
                    <a:pt x="210" y="413"/>
                  </a:lnTo>
                  <a:lnTo>
                    <a:pt x="212" y="418"/>
                  </a:lnTo>
                  <a:lnTo>
                    <a:pt x="215" y="423"/>
                  </a:lnTo>
                  <a:lnTo>
                    <a:pt x="221" y="437"/>
                  </a:lnTo>
                  <a:lnTo>
                    <a:pt x="229" y="451"/>
                  </a:lnTo>
                  <a:lnTo>
                    <a:pt x="236" y="467"/>
                  </a:lnTo>
                  <a:lnTo>
                    <a:pt x="243" y="480"/>
                  </a:lnTo>
                  <a:lnTo>
                    <a:pt x="248" y="486"/>
                  </a:lnTo>
                  <a:lnTo>
                    <a:pt x="252" y="489"/>
                  </a:lnTo>
                  <a:lnTo>
                    <a:pt x="256" y="493"/>
                  </a:lnTo>
                  <a:lnTo>
                    <a:pt x="260" y="493"/>
                  </a:lnTo>
                  <a:lnTo>
                    <a:pt x="266" y="504"/>
                  </a:lnTo>
                  <a:lnTo>
                    <a:pt x="275" y="504"/>
                  </a:lnTo>
                  <a:lnTo>
                    <a:pt x="285" y="504"/>
                  </a:lnTo>
                  <a:lnTo>
                    <a:pt x="296" y="504"/>
                  </a:lnTo>
                  <a:lnTo>
                    <a:pt x="305" y="504"/>
                  </a:lnTo>
                  <a:lnTo>
                    <a:pt x="306" y="502"/>
                  </a:lnTo>
                  <a:lnTo>
                    <a:pt x="308" y="499"/>
                  </a:lnTo>
                  <a:lnTo>
                    <a:pt x="311" y="499"/>
                  </a:lnTo>
                  <a:lnTo>
                    <a:pt x="316" y="498"/>
                  </a:lnTo>
                  <a:lnTo>
                    <a:pt x="316" y="495"/>
                  </a:lnTo>
                  <a:lnTo>
                    <a:pt x="318" y="493"/>
                  </a:lnTo>
                  <a:lnTo>
                    <a:pt x="322" y="490"/>
                  </a:lnTo>
                  <a:lnTo>
                    <a:pt x="325" y="489"/>
                  </a:lnTo>
                  <a:lnTo>
                    <a:pt x="335" y="489"/>
                  </a:lnTo>
                  <a:lnTo>
                    <a:pt x="346" y="490"/>
                  </a:lnTo>
                  <a:lnTo>
                    <a:pt x="367" y="496"/>
                  </a:lnTo>
                  <a:lnTo>
                    <a:pt x="376" y="498"/>
                  </a:lnTo>
                  <a:lnTo>
                    <a:pt x="382" y="504"/>
                  </a:lnTo>
                  <a:lnTo>
                    <a:pt x="385" y="518"/>
                  </a:lnTo>
                  <a:lnTo>
                    <a:pt x="387" y="532"/>
                  </a:lnTo>
                  <a:lnTo>
                    <a:pt x="390" y="534"/>
                  </a:lnTo>
                  <a:lnTo>
                    <a:pt x="393" y="538"/>
                  </a:lnTo>
                  <a:lnTo>
                    <a:pt x="395" y="545"/>
                  </a:lnTo>
                  <a:lnTo>
                    <a:pt x="399" y="552"/>
                  </a:lnTo>
                  <a:lnTo>
                    <a:pt x="403" y="567"/>
                  </a:lnTo>
                  <a:lnTo>
                    <a:pt x="404" y="576"/>
                  </a:lnTo>
                  <a:lnTo>
                    <a:pt x="406" y="576"/>
                  </a:lnTo>
                  <a:lnTo>
                    <a:pt x="409" y="579"/>
                  </a:lnTo>
                  <a:lnTo>
                    <a:pt x="412" y="581"/>
                  </a:lnTo>
                  <a:lnTo>
                    <a:pt x="414" y="584"/>
                  </a:lnTo>
                  <a:lnTo>
                    <a:pt x="420" y="593"/>
                  </a:lnTo>
                  <a:lnTo>
                    <a:pt x="425" y="603"/>
                  </a:lnTo>
                  <a:lnTo>
                    <a:pt x="430" y="614"/>
                  </a:lnTo>
                  <a:lnTo>
                    <a:pt x="434" y="625"/>
                  </a:lnTo>
                  <a:lnTo>
                    <a:pt x="437" y="635"/>
                  </a:lnTo>
                  <a:lnTo>
                    <a:pt x="438" y="642"/>
                  </a:lnTo>
                  <a:lnTo>
                    <a:pt x="449" y="648"/>
                  </a:lnTo>
                  <a:lnTo>
                    <a:pt x="449" y="659"/>
                  </a:lnTo>
                  <a:lnTo>
                    <a:pt x="462" y="665"/>
                  </a:lnTo>
                  <a:lnTo>
                    <a:pt x="477" y="670"/>
                  </a:lnTo>
                  <a:lnTo>
                    <a:pt x="482" y="676"/>
                  </a:lnTo>
                  <a:lnTo>
                    <a:pt x="488" y="687"/>
                  </a:lnTo>
                  <a:lnTo>
                    <a:pt x="488" y="692"/>
                  </a:lnTo>
                  <a:lnTo>
                    <a:pt x="491" y="700"/>
                  </a:lnTo>
                  <a:lnTo>
                    <a:pt x="492" y="704"/>
                  </a:lnTo>
                  <a:lnTo>
                    <a:pt x="495" y="707"/>
                  </a:lnTo>
                  <a:lnTo>
                    <a:pt x="497" y="708"/>
                  </a:lnTo>
                  <a:lnTo>
                    <a:pt x="499" y="709"/>
                  </a:lnTo>
                  <a:lnTo>
                    <a:pt x="499" y="726"/>
                  </a:lnTo>
                  <a:lnTo>
                    <a:pt x="500" y="727"/>
                  </a:lnTo>
                  <a:lnTo>
                    <a:pt x="501" y="729"/>
                  </a:lnTo>
                  <a:lnTo>
                    <a:pt x="502" y="733"/>
                  </a:lnTo>
                  <a:lnTo>
                    <a:pt x="504" y="737"/>
                  </a:lnTo>
                  <a:lnTo>
                    <a:pt x="504" y="747"/>
                  </a:lnTo>
                  <a:lnTo>
                    <a:pt x="504" y="754"/>
                  </a:lnTo>
                  <a:lnTo>
                    <a:pt x="512" y="765"/>
                  </a:lnTo>
                  <a:lnTo>
                    <a:pt x="520" y="782"/>
                  </a:lnTo>
                  <a:lnTo>
                    <a:pt x="526" y="783"/>
                  </a:lnTo>
                  <a:lnTo>
                    <a:pt x="531" y="787"/>
                  </a:lnTo>
                  <a:lnTo>
                    <a:pt x="536" y="793"/>
                  </a:lnTo>
                  <a:lnTo>
                    <a:pt x="537" y="797"/>
                  </a:lnTo>
                  <a:lnTo>
                    <a:pt x="565" y="797"/>
                  </a:lnTo>
                  <a:lnTo>
                    <a:pt x="565" y="796"/>
                  </a:lnTo>
                  <a:lnTo>
                    <a:pt x="567" y="795"/>
                  </a:lnTo>
                  <a:lnTo>
                    <a:pt x="568" y="794"/>
                  </a:lnTo>
                  <a:lnTo>
                    <a:pt x="572" y="793"/>
                  </a:lnTo>
                  <a:lnTo>
                    <a:pt x="577" y="793"/>
                  </a:lnTo>
                  <a:lnTo>
                    <a:pt x="582" y="792"/>
                  </a:lnTo>
                  <a:lnTo>
                    <a:pt x="583" y="791"/>
                  </a:lnTo>
                  <a:lnTo>
                    <a:pt x="587" y="789"/>
                  </a:lnTo>
                  <a:lnTo>
                    <a:pt x="593" y="788"/>
                  </a:lnTo>
                  <a:lnTo>
                    <a:pt x="598" y="787"/>
                  </a:lnTo>
                  <a:lnTo>
                    <a:pt x="612" y="787"/>
                  </a:lnTo>
                  <a:lnTo>
                    <a:pt x="621" y="787"/>
                  </a:lnTo>
                  <a:lnTo>
                    <a:pt x="624" y="788"/>
                  </a:lnTo>
                  <a:lnTo>
                    <a:pt x="632" y="793"/>
                  </a:lnTo>
                  <a:lnTo>
                    <a:pt x="635" y="796"/>
                  </a:lnTo>
                  <a:lnTo>
                    <a:pt x="639" y="798"/>
                  </a:lnTo>
                  <a:lnTo>
                    <a:pt x="642" y="801"/>
                  </a:lnTo>
                  <a:lnTo>
                    <a:pt x="643" y="803"/>
                  </a:lnTo>
                  <a:lnTo>
                    <a:pt x="653" y="803"/>
                  </a:lnTo>
                  <a:lnTo>
                    <a:pt x="659" y="814"/>
                  </a:lnTo>
                  <a:lnTo>
                    <a:pt x="675" y="823"/>
                  </a:lnTo>
                  <a:lnTo>
                    <a:pt x="692" y="831"/>
                  </a:lnTo>
                  <a:lnTo>
                    <a:pt x="698" y="836"/>
                  </a:lnTo>
                  <a:lnTo>
                    <a:pt x="703" y="842"/>
                  </a:lnTo>
                  <a:lnTo>
                    <a:pt x="703" y="853"/>
                  </a:lnTo>
                  <a:lnTo>
                    <a:pt x="706" y="855"/>
                  </a:lnTo>
                  <a:lnTo>
                    <a:pt x="712" y="862"/>
                  </a:lnTo>
                  <a:lnTo>
                    <a:pt x="718" y="870"/>
                  </a:lnTo>
                  <a:lnTo>
                    <a:pt x="720" y="875"/>
                  </a:lnTo>
                  <a:lnTo>
                    <a:pt x="726" y="881"/>
                  </a:lnTo>
                  <a:lnTo>
                    <a:pt x="731" y="883"/>
                  </a:lnTo>
                  <a:lnTo>
                    <a:pt x="737" y="887"/>
                  </a:lnTo>
                  <a:lnTo>
                    <a:pt x="737" y="898"/>
                  </a:lnTo>
                  <a:lnTo>
                    <a:pt x="742" y="903"/>
                  </a:lnTo>
                  <a:lnTo>
                    <a:pt x="747" y="904"/>
                  </a:lnTo>
                  <a:lnTo>
                    <a:pt x="752" y="907"/>
                  </a:lnTo>
                  <a:lnTo>
                    <a:pt x="755" y="908"/>
                  </a:lnTo>
                  <a:lnTo>
                    <a:pt x="757" y="910"/>
                  </a:lnTo>
                  <a:lnTo>
                    <a:pt x="758" y="912"/>
                  </a:lnTo>
                  <a:lnTo>
                    <a:pt x="759" y="914"/>
                  </a:lnTo>
                  <a:lnTo>
                    <a:pt x="768" y="913"/>
                  </a:lnTo>
                  <a:lnTo>
                    <a:pt x="778" y="911"/>
                  </a:lnTo>
                  <a:lnTo>
                    <a:pt x="788" y="909"/>
                  </a:lnTo>
                  <a:lnTo>
                    <a:pt x="797" y="909"/>
                  </a:lnTo>
                  <a:lnTo>
                    <a:pt x="799" y="913"/>
                  </a:lnTo>
                  <a:lnTo>
                    <a:pt x="802" y="918"/>
                  </a:lnTo>
                  <a:lnTo>
                    <a:pt x="806" y="923"/>
                  </a:lnTo>
                  <a:lnTo>
                    <a:pt x="812" y="929"/>
                  </a:lnTo>
                  <a:lnTo>
                    <a:pt x="816" y="935"/>
                  </a:lnTo>
                  <a:lnTo>
                    <a:pt x="821" y="940"/>
                  </a:lnTo>
                  <a:lnTo>
                    <a:pt x="824" y="947"/>
                  </a:lnTo>
                  <a:lnTo>
                    <a:pt x="825" y="952"/>
                  </a:lnTo>
                  <a:lnTo>
                    <a:pt x="831" y="958"/>
                  </a:lnTo>
                  <a:lnTo>
                    <a:pt x="842" y="961"/>
                  </a:lnTo>
                  <a:lnTo>
                    <a:pt x="853" y="964"/>
                  </a:lnTo>
                  <a:lnTo>
                    <a:pt x="853" y="952"/>
                  </a:lnTo>
                  <a:lnTo>
                    <a:pt x="858" y="947"/>
                  </a:lnTo>
                  <a:lnTo>
                    <a:pt x="864" y="945"/>
                  </a:lnTo>
                  <a:lnTo>
                    <a:pt x="870" y="941"/>
                  </a:lnTo>
                  <a:lnTo>
                    <a:pt x="870" y="931"/>
                  </a:lnTo>
                  <a:lnTo>
                    <a:pt x="875" y="926"/>
                  </a:lnTo>
                  <a:lnTo>
                    <a:pt x="881" y="920"/>
                  </a:lnTo>
                  <a:lnTo>
                    <a:pt x="886" y="914"/>
                  </a:lnTo>
                  <a:lnTo>
                    <a:pt x="898" y="914"/>
                  </a:lnTo>
                  <a:lnTo>
                    <a:pt x="903" y="903"/>
                  </a:lnTo>
                  <a:lnTo>
                    <a:pt x="906" y="903"/>
                  </a:lnTo>
                  <a:lnTo>
                    <a:pt x="911" y="902"/>
                  </a:lnTo>
                  <a:lnTo>
                    <a:pt x="913" y="901"/>
                  </a:lnTo>
                  <a:lnTo>
                    <a:pt x="914" y="898"/>
                  </a:lnTo>
                  <a:lnTo>
                    <a:pt x="1030" y="898"/>
                  </a:lnTo>
                  <a:lnTo>
                    <a:pt x="1032" y="901"/>
                  </a:lnTo>
                  <a:lnTo>
                    <a:pt x="1036" y="903"/>
                  </a:lnTo>
                  <a:lnTo>
                    <a:pt x="1038" y="906"/>
                  </a:lnTo>
                  <a:lnTo>
                    <a:pt x="1039" y="908"/>
                  </a:lnTo>
                  <a:lnTo>
                    <a:pt x="1040" y="910"/>
                  </a:lnTo>
                  <a:lnTo>
                    <a:pt x="1042" y="914"/>
                  </a:lnTo>
                  <a:lnTo>
                    <a:pt x="1053" y="914"/>
                  </a:lnTo>
                  <a:lnTo>
                    <a:pt x="1058" y="920"/>
                  </a:lnTo>
                  <a:lnTo>
                    <a:pt x="1058" y="921"/>
                  </a:lnTo>
                  <a:lnTo>
                    <a:pt x="1059" y="923"/>
                  </a:lnTo>
                  <a:lnTo>
                    <a:pt x="1062" y="926"/>
                  </a:lnTo>
                  <a:lnTo>
                    <a:pt x="1064" y="927"/>
                  </a:lnTo>
                  <a:lnTo>
                    <a:pt x="1069" y="930"/>
                  </a:lnTo>
                  <a:lnTo>
                    <a:pt x="1075" y="931"/>
                  </a:lnTo>
                  <a:lnTo>
                    <a:pt x="1081" y="936"/>
                  </a:lnTo>
                  <a:lnTo>
                    <a:pt x="1086" y="941"/>
                  </a:lnTo>
                  <a:lnTo>
                    <a:pt x="1091" y="952"/>
                  </a:lnTo>
                  <a:lnTo>
                    <a:pt x="1096" y="964"/>
                  </a:lnTo>
                  <a:lnTo>
                    <a:pt x="1107" y="964"/>
                  </a:lnTo>
                  <a:lnTo>
                    <a:pt x="1111" y="969"/>
                  </a:lnTo>
                  <a:lnTo>
                    <a:pt x="1113" y="975"/>
                  </a:lnTo>
                  <a:lnTo>
                    <a:pt x="1135" y="975"/>
                  </a:lnTo>
                  <a:lnTo>
                    <a:pt x="1158" y="974"/>
                  </a:lnTo>
                  <a:lnTo>
                    <a:pt x="1169" y="973"/>
                  </a:lnTo>
                  <a:lnTo>
                    <a:pt x="1180" y="970"/>
                  </a:lnTo>
                  <a:lnTo>
                    <a:pt x="1191" y="968"/>
                  </a:lnTo>
                  <a:lnTo>
                    <a:pt x="1202" y="964"/>
                  </a:lnTo>
                  <a:lnTo>
                    <a:pt x="1202" y="952"/>
                  </a:lnTo>
                  <a:lnTo>
                    <a:pt x="1206" y="947"/>
                  </a:lnTo>
                  <a:lnTo>
                    <a:pt x="1213" y="932"/>
                  </a:lnTo>
                  <a:lnTo>
                    <a:pt x="1220" y="918"/>
                  </a:lnTo>
                  <a:lnTo>
                    <a:pt x="1225" y="909"/>
                  </a:lnTo>
                  <a:lnTo>
                    <a:pt x="1227" y="908"/>
                  </a:lnTo>
                  <a:lnTo>
                    <a:pt x="1229" y="906"/>
                  </a:lnTo>
                  <a:lnTo>
                    <a:pt x="1229" y="901"/>
                  </a:lnTo>
                  <a:lnTo>
                    <a:pt x="1230" y="898"/>
                  </a:lnTo>
                  <a:lnTo>
                    <a:pt x="1231" y="897"/>
                  </a:lnTo>
                  <a:lnTo>
                    <a:pt x="1232" y="896"/>
                  </a:lnTo>
                  <a:lnTo>
                    <a:pt x="1234" y="893"/>
                  </a:lnTo>
                  <a:lnTo>
                    <a:pt x="1235" y="891"/>
                  </a:lnTo>
                  <a:lnTo>
                    <a:pt x="1235" y="885"/>
                  </a:lnTo>
                  <a:lnTo>
                    <a:pt x="1236" y="881"/>
                  </a:lnTo>
                  <a:lnTo>
                    <a:pt x="1247" y="878"/>
                  </a:lnTo>
                  <a:lnTo>
                    <a:pt x="1263" y="875"/>
                  </a:lnTo>
                  <a:lnTo>
                    <a:pt x="1265" y="882"/>
                  </a:lnTo>
                  <a:lnTo>
                    <a:pt x="1268" y="889"/>
                  </a:lnTo>
                  <a:lnTo>
                    <a:pt x="1274" y="896"/>
                  </a:lnTo>
                  <a:lnTo>
                    <a:pt x="1279" y="903"/>
                  </a:lnTo>
                  <a:lnTo>
                    <a:pt x="1286" y="910"/>
                  </a:lnTo>
                  <a:lnTo>
                    <a:pt x="1290" y="918"/>
                  </a:lnTo>
                  <a:lnTo>
                    <a:pt x="1295" y="925"/>
                  </a:lnTo>
                  <a:lnTo>
                    <a:pt x="1296" y="931"/>
                  </a:lnTo>
                  <a:lnTo>
                    <a:pt x="1298" y="931"/>
                  </a:lnTo>
                  <a:lnTo>
                    <a:pt x="1301" y="932"/>
                  </a:lnTo>
                  <a:lnTo>
                    <a:pt x="1302" y="935"/>
                  </a:lnTo>
                  <a:lnTo>
                    <a:pt x="1304" y="938"/>
                  </a:lnTo>
                  <a:lnTo>
                    <a:pt x="1307" y="945"/>
                  </a:lnTo>
                  <a:lnTo>
                    <a:pt x="1311" y="952"/>
                  </a:lnTo>
                  <a:lnTo>
                    <a:pt x="1313" y="961"/>
                  </a:lnTo>
                  <a:lnTo>
                    <a:pt x="1316" y="968"/>
                  </a:lnTo>
                  <a:lnTo>
                    <a:pt x="1318" y="971"/>
                  </a:lnTo>
                  <a:lnTo>
                    <a:pt x="1320" y="974"/>
                  </a:lnTo>
                  <a:lnTo>
                    <a:pt x="1322" y="975"/>
                  </a:lnTo>
                  <a:lnTo>
                    <a:pt x="1324" y="975"/>
                  </a:lnTo>
                  <a:lnTo>
                    <a:pt x="1324" y="986"/>
                  </a:lnTo>
                  <a:lnTo>
                    <a:pt x="1325" y="997"/>
                  </a:lnTo>
                  <a:lnTo>
                    <a:pt x="1327" y="1009"/>
                  </a:lnTo>
                  <a:lnTo>
                    <a:pt x="1331" y="1022"/>
                  </a:lnTo>
                  <a:lnTo>
                    <a:pt x="1339" y="1047"/>
                  </a:lnTo>
                  <a:lnTo>
                    <a:pt x="1349" y="1074"/>
                  </a:lnTo>
                  <a:lnTo>
                    <a:pt x="1360" y="1076"/>
                  </a:lnTo>
                  <a:lnTo>
                    <a:pt x="1372" y="1080"/>
                  </a:lnTo>
                  <a:lnTo>
                    <a:pt x="1376" y="1082"/>
                  </a:lnTo>
                  <a:lnTo>
                    <a:pt x="1381" y="1084"/>
                  </a:lnTo>
                  <a:lnTo>
                    <a:pt x="1383" y="1086"/>
                  </a:lnTo>
                  <a:lnTo>
                    <a:pt x="1384" y="1089"/>
                  </a:lnTo>
                  <a:lnTo>
                    <a:pt x="1400" y="1089"/>
                  </a:lnTo>
                  <a:lnTo>
                    <a:pt x="1401" y="1091"/>
                  </a:lnTo>
                  <a:lnTo>
                    <a:pt x="1404" y="1094"/>
                  </a:lnTo>
                  <a:lnTo>
                    <a:pt x="1408" y="1096"/>
                  </a:lnTo>
                  <a:lnTo>
                    <a:pt x="1413" y="1100"/>
                  </a:lnTo>
                  <a:lnTo>
                    <a:pt x="1428" y="1104"/>
                  </a:lnTo>
                  <a:lnTo>
                    <a:pt x="1443" y="1108"/>
                  </a:lnTo>
                  <a:lnTo>
                    <a:pt x="1459" y="1110"/>
                  </a:lnTo>
                  <a:lnTo>
                    <a:pt x="1472" y="1110"/>
                  </a:lnTo>
                  <a:lnTo>
                    <a:pt x="1478" y="1110"/>
                  </a:lnTo>
                  <a:lnTo>
                    <a:pt x="1483" y="1109"/>
                  </a:lnTo>
                  <a:lnTo>
                    <a:pt x="1485" y="1106"/>
                  </a:lnTo>
                  <a:lnTo>
                    <a:pt x="1486" y="1104"/>
                  </a:lnTo>
                  <a:lnTo>
                    <a:pt x="1504" y="1103"/>
                  </a:lnTo>
                  <a:lnTo>
                    <a:pt x="1526" y="1103"/>
                  </a:lnTo>
                  <a:lnTo>
                    <a:pt x="1537" y="1102"/>
                  </a:lnTo>
                  <a:lnTo>
                    <a:pt x="1547" y="1101"/>
                  </a:lnTo>
                  <a:lnTo>
                    <a:pt x="1551" y="1100"/>
                  </a:lnTo>
                  <a:lnTo>
                    <a:pt x="1553" y="1099"/>
                  </a:lnTo>
                  <a:lnTo>
                    <a:pt x="1555" y="1098"/>
                  </a:lnTo>
                  <a:lnTo>
                    <a:pt x="1556" y="1096"/>
                  </a:lnTo>
                  <a:lnTo>
                    <a:pt x="1572" y="1096"/>
                  </a:lnTo>
                  <a:lnTo>
                    <a:pt x="1580" y="1089"/>
                  </a:lnTo>
                  <a:lnTo>
                    <a:pt x="1580" y="1065"/>
                  </a:lnTo>
                  <a:lnTo>
                    <a:pt x="1582" y="1064"/>
                  </a:lnTo>
                  <a:lnTo>
                    <a:pt x="1585" y="1062"/>
                  </a:lnTo>
                  <a:lnTo>
                    <a:pt x="1589" y="1058"/>
                  </a:lnTo>
                  <a:lnTo>
                    <a:pt x="1591" y="1053"/>
                  </a:lnTo>
                  <a:lnTo>
                    <a:pt x="1597" y="1041"/>
                  </a:lnTo>
                  <a:lnTo>
                    <a:pt x="1603" y="1026"/>
                  </a:lnTo>
                  <a:lnTo>
                    <a:pt x="1608" y="1012"/>
                  </a:lnTo>
                  <a:lnTo>
                    <a:pt x="1611" y="997"/>
                  </a:lnTo>
                  <a:lnTo>
                    <a:pt x="1614" y="985"/>
                  </a:lnTo>
                  <a:lnTo>
                    <a:pt x="1614" y="977"/>
                  </a:lnTo>
                  <a:lnTo>
                    <a:pt x="1622" y="958"/>
                  </a:lnTo>
                  <a:lnTo>
                    <a:pt x="1627" y="942"/>
                  </a:lnTo>
                  <a:lnTo>
                    <a:pt x="1631" y="927"/>
                  </a:lnTo>
                  <a:lnTo>
                    <a:pt x="1634" y="912"/>
                  </a:lnTo>
                  <a:lnTo>
                    <a:pt x="1638" y="888"/>
                  </a:lnTo>
                  <a:lnTo>
                    <a:pt x="1639" y="867"/>
                  </a:lnTo>
                  <a:lnTo>
                    <a:pt x="1640" y="848"/>
                  </a:lnTo>
                  <a:lnTo>
                    <a:pt x="1641" y="830"/>
                  </a:lnTo>
                  <a:lnTo>
                    <a:pt x="1641" y="822"/>
                  </a:lnTo>
                  <a:lnTo>
                    <a:pt x="1643" y="814"/>
                  </a:lnTo>
                  <a:lnTo>
                    <a:pt x="1645" y="806"/>
                  </a:lnTo>
                  <a:lnTo>
                    <a:pt x="1649" y="797"/>
                  </a:lnTo>
                  <a:lnTo>
                    <a:pt x="1653" y="789"/>
                  </a:lnTo>
                  <a:lnTo>
                    <a:pt x="1658" y="783"/>
                  </a:lnTo>
                  <a:lnTo>
                    <a:pt x="1662" y="778"/>
                  </a:lnTo>
                  <a:lnTo>
                    <a:pt x="1667" y="774"/>
                  </a:lnTo>
                  <a:lnTo>
                    <a:pt x="1670" y="772"/>
                  </a:lnTo>
                  <a:lnTo>
                    <a:pt x="1675" y="771"/>
                  </a:lnTo>
                  <a:lnTo>
                    <a:pt x="1679" y="771"/>
                  </a:lnTo>
                  <a:lnTo>
                    <a:pt x="1682" y="771"/>
                  </a:lnTo>
                  <a:lnTo>
                    <a:pt x="1686" y="773"/>
                  </a:lnTo>
                  <a:lnTo>
                    <a:pt x="1689" y="775"/>
                  </a:lnTo>
                  <a:lnTo>
                    <a:pt x="1692" y="779"/>
                  </a:lnTo>
                  <a:lnTo>
                    <a:pt x="1696" y="784"/>
                  </a:lnTo>
                  <a:lnTo>
                    <a:pt x="1700" y="794"/>
                  </a:lnTo>
                  <a:lnTo>
                    <a:pt x="1705" y="807"/>
                  </a:lnTo>
                  <a:lnTo>
                    <a:pt x="1709" y="840"/>
                  </a:lnTo>
                  <a:lnTo>
                    <a:pt x="1714" y="878"/>
                  </a:lnTo>
                  <a:lnTo>
                    <a:pt x="1716" y="897"/>
                  </a:lnTo>
                  <a:lnTo>
                    <a:pt x="1720" y="916"/>
                  </a:lnTo>
                  <a:lnTo>
                    <a:pt x="1723" y="925"/>
                  </a:lnTo>
                  <a:lnTo>
                    <a:pt x="1726" y="933"/>
                  </a:lnTo>
                  <a:lnTo>
                    <a:pt x="1729" y="941"/>
                  </a:lnTo>
                  <a:lnTo>
                    <a:pt x="1734" y="949"/>
                  </a:lnTo>
                  <a:lnTo>
                    <a:pt x="1738" y="962"/>
                  </a:lnTo>
                  <a:lnTo>
                    <a:pt x="1741" y="975"/>
                  </a:lnTo>
                  <a:lnTo>
                    <a:pt x="1745" y="979"/>
                  </a:lnTo>
                  <a:lnTo>
                    <a:pt x="1749" y="984"/>
                  </a:lnTo>
                  <a:lnTo>
                    <a:pt x="1752" y="985"/>
                  </a:lnTo>
                  <a:lnTo>
                    <a:pt x="1756" y="986"/>
                  </a:lnTo>
                  <a:lnTo>
                    <a:pt x="1760" y="987"/>
                  </a:lnTo>
                  <a:lnTo>
                    <a:pt x="1766" y="987"/>
                  </a:lnTo>
                  <a:lnTo>
                    <a:pt x="1766" y="989"/>
                  </a:lnTo>
                  <a:lnTo>
                    <a:pt x="1768" y="992"/>
                  </a:lnTo>
                  <a:lnTo>
                    <a:pt x="1771" y="994"/>
                  </a:lnTo>
                  <a:lnTo>
                    <a:pt x="1774" y="996"/>
                  </a:lnTo>
                  <a:lnTo>
                    <a:pt x="1776" y="998"/>
                  </a:lnTo>
                  <a:lnTo>
                    <a:pt x="1778" y="1002"/>
                  </a:lnTo>
                  <a:lnTo>
                    <a:pt x="1781" y="1005"/>
                  </a:lnTo>
                  <a:lnTo>
                    <a:pt x="1782" y="1010"/>
                  </a:lnTo>
                  <a:lnTo>
                    <a:pt x="1793" y="1014"/>
                  </a:lnTo>
                  <a:lnTo>
                    <a:pt x="1805" y="1018"/>
                  </a:lnTo>
                  <a:lnTo>
                    <a:pt x="1805" y="1023"/>
                  </a:lnTo>
                  <a:lnTo>
                    <a:pt x="1806" y="1025"/>
                  </a:lnTo>
                  <a:lnTo>
                    <a:pt x="1807" y="1026"/>
                  </a:lnTo>
                  <a:lnTo>
                    <a:pt x="1808" y="1026"/>
                  </a:lnTo>
                  <a:lnTo>
                    <a:pt x="1810" y="1026"/>
                  </a:lnTo>
                  <a:lnTo>
                    <a:pt x="1811" y="1027"/>
                  </a:lnTo>
                  <a:lnTo>
                    <a:pt x="1812" y="1029"/>
                  </a:lnTo>
                  <a:lnTo>
                    <a:pt x="1813" y="1034"/>
                  </a:lnTo>
                  <a:lnTo>
                    <a:pt x="1820" y="1035"/>
                  </a:lnTo>
                  <a:lnTo>
                    <a:pt x="1827" y="1038"/>
                  </a:lnTo>
                  <a:lnTo>
                    <a:pt x="1831" y="1041"/>
                  </a:lnTo>
                  <a:lnTo>
                    <a:pt x="1833" y="1044"/>
                  </a:lnTo>
                  <a:lnTo>
                    <a:pt x="1835" y="1046"/>
                  </a:lnTo>
                  <a:lnTo>
                    <a:pt x="1835" y="1050"/>
                  </a:lnTo>
                  <a:lnTo>
                    <a:pt x="1848" y="1051"/>
                  </a:lnTo>
                  <a:lnTo>
                    <a:pt x="1858" y="1053"/>
                  </a:lnTo>
                  <a:lnTo>
                    <a:pt x="1868" y="1056"/>
                  </a:lnTo>
                  <a:lnTo>
                    <a:pt x="1874" y="1057"/>
                  </a:lnTo>
                  <a:lnTo>
                    <a:pt x="1875" y="1060"/>
                  </a:lnTo>
                  <a:lnTo>
                    <a:pt x="1875" y="1063"/>
                  </a:lnTo>
                  <a:lnTo>
                    <a:pt x="1878" y="1065"/>
                  </a:lnTo>
                  <a:lnTo>
                    <a:pt x="1880" y="1067"/>
                  </a:lnTo>
                  <a:lnTo>
                    <a:pt x="1882" y="1070"/>
                  </a:lnTo>
                  <a:lnTo>
                    <a:pt x="1884" y="1072"/>
                  </a:lnTo>
                  <a:lnTo>
                    <a:pt x="1888" y="1072"/>
                  </a:lnTo>
                  <a:lnTo>
                    <a:pt x="1890" y="1073"/>
                  </a:lnTo>
                  <a:lnTo>
                    <a:pt x="1891" y="1082"/>
                  </a:lnTo>
                  <a:lnTo>
                    <a:pt x="1896" y="1095"/>
                  </a:lnTo>
                  <a:lnTo>
                    <a:pt x="1898" y="1101"/>
                  </a:lnTo>
                  <a:lnTo>
                    <a:pt x="1900" y="1106"/>
                  </a:lnTo>
                  <a:lnTo>
                    <a:pt x="1903" y="1110"/>
                  </a:lnTo>
                  <a:lnTo>
                    <a:pt x="1906" y="1112"/>
                  </a:lnTo>
                  <a:lnTo>
                    <a:pt x="1906" y="1120"/>
                  </a:lnTo>
                  <a:lnTo>
                    <a:pt x="1906" y="1131"/>
                  </a:lnTo>
                  <a:lnTo>
                    <a:pt x="1906" y="1142"/>
                  </a:lnTo>
                  <a:lnTo>
                    <a:pt x="1906" y="1150"/>
                  </a:lnTo>
                  <a:lnTo>
                    <a:pt x="1921" y="1150"/>
                  </a:lnTo>
                  <a:lnTo>
                    <a:pt x="1921" y="1154"/>
                  </a:lnTo>
                  <a:lnTo>
                    <a:pt x="1922" y="1157"/>
                  </a:lnTo>
                  <a:lnTo>
                    <a:pt x="1923" y="1158"/>
                  </a:lnTo>
                  <a:lnTo>
                    <a:pt x="1926" y="1158"/>
                  </a:lnTo>
                  <a:lnTo>
                    <a:pt x="1927" y="1158"/>
                  </a:lnTo>
                  <a:lnTo>
                    <a:pt x="1928" y="1159"/>
                  </a:lnTo>
                  <a:lnTo>
                    <a:pt x="1929" y="1161"/>
                  </a:lnTo>
                  <a:lnTo>
                    <a:pt x="1929" y="1166"/>
                  </a:lnTo>
                  <a:lnTo>
                    <a:pt x="2061" y="1181"/>
                  </a:lnTo>
                  <a:lnTo>
                    <a:pt x="2070" y="1181"/>
                  </a:lnTo>
                  <a:lnTo>
                    <a:pt x="2080" y="1182"/>
                  </a:lnTo>
                  <a:lnTo>
                    <a:pt x="2084" y="1183"/>
                  </a:lnTo>
                  <a:lnTo>
                    <a:pt x="2089" y="1185"/>
                  </a:lnTo>
                  <a:lnTo>
                    <a:pt x="2091" y="1187"/>
                  </a:lnTo>
                  <a:lnTo>
                    <a:pt x="2092" y="1189"/>
                  </a:lnTo>
                  <a:lnTo>
                    <a:pt x="2105" y="1190"/>
                  </a:lnTo>
                  <a:lnTo>
                    <a:pt x="2121" y="1194"/>
                  </a:lnTo>
                  <a:lnTo>
                    <a:pt x="2138" y="1196"/>
                  </a:lnTo>
                  <a:lnTo>
                    <a:pt x="2155" y="1197"/>
                  </a:lnTo>
                  <a:lnTo>
                    <a:pt x="2156" y="1195"/>
                  </a:lnTo>
                  <a:lnTo>
                    <a:pt x="2157" y="1192"/>
                  </a:lnTo>
                  <a:lnTo>
                    <a:pt x="2160" y="1191"/>
                  </a:lnTo>
                  <a:lnTo>
                    <a:pt x="2163" y="1190"/>
                  </a:lnTo>
                  <a:lnTo>
                    <a:pt x="2171" y="1189"/>
                  </a:lnTo>
                  <a:lnTo>
                    <a:pt x="2181" y="1189"/>
                  </a:lnTo>
                  <a:lnTo>
                    <a:pt x="2191" y="1189"/>
                  </a:lnTo>
                  <a:lnTo>
                    <a:pt x="2200" y="1188"/>
                  </a:lnTo>
                  <a:lnTo>
                    <a:pt x="2204" y="1188"/>
                  </a:lnTo>
                  <a:lnTo>
                    <a:pt x="2207" y="1186"/>
                  </a:lnTo>
                  <a:lnTo>
                    <a:pt x="2208" y="1185"/>
                  </a:lnTo>
                  <a:lnTo>
                    <a:pt x="2209" y="1181"/>
                  </a:lnTo>
                  <a:lnTo>
                    <a:pt x="2220" y="1180"/>
                  </a:lnTo>
                  <a:lnTo>
                    <a:pt x="2232" y="1178"/>
                  </a:lnTo>
                  <a:lnTo>
                    <a:pt x="2240" y="1175"/>
                  </a:lnTo>
                  <a:lnTo>
                    <a:pt x="2248" y="1173"/>
                  </a:lnTo>
                  <a:lnTo>
                    <a:pt x="2256" y="1166"/>
                  </a:lnTo>
                  <a:lnTo>
                    <a:pt x="2256" y="948"/>
                  </a:lnTo>
                  <a:lnTo>
                    <a:pt x="2256" y="933"/>
                  </a:lnTo>
                  <a:lnTo>
                    <a:pt x="2256" y="908"/>
                  </a:lnTo>
                  <a:lnTo>
                    <a:pt x="2256" y="877"/>
                  </a:lnTo>
                  <a:lnTo>
                    <a:pt x="2257" y="842"/>
                  </a:lnTo>
                  <a:lnTo>
                    <a:pt x="2259" y="810"/>
                  </a:lnTo>
                  <a:lnTo>
                    <a:pt x="2263" y="781"/>
                  </a:lnTo>
                  <a:lnTo>
                    <a:pt x="2264" y="769"/>
                  </a:lnTo>
                  <a:lnTo>
                    <a:pt x="2266" y="762"/>
                  </a:lnTo>
                  <a:lnTo>
                    <a:pt x="2267" y="758"/>
                  </a:lnTo>
                  <a:lnTo>
                    <a:pt x="2268" y="756"/>
                  </a:lnTo>
                  <a:lnTo>
                    <a:pt x="2270" y="754"/>
                  </a:lnTo>
                  <a:lnTo>
                    <a:pt x="2272" y="754"/>
                  </a:lnTo>
                  <a:lnTo>
                    <a:pt x="2270" y="748"/>
                  </a:lnTo>
                  <a:lnTo>
                    <a:pt x="2265" y="736"/>
                  </a:lnTo>
                  <a:lnTo>
                    <a:pt x="2259" y="723"/>
                  </a:lnTo>
                  <a:lnTo>
                    <a:pt x="2257" y="717"/>
                  </a:lnTo>
                  <a:lnTo>
                    <a:pt x="2273" y="717"/>
                  </a:lnTo>
                  <a:lnTo>
                    <a:pt x="2274" y="712"/>
                  </a:lnTo>
                  <a:lnTo>
                    <a:pt x="2274" y="710"/>
                  </a:lnTo>
                  <a:lnTo>
                    <a:pt x="2276" y="709"/>
                  </a:lnTo>
                  <a:lnTo>
                    <a:pt x="2277" y="709"/>
                  </a:lnTo>
                  <a:lnTo>
                    <a:pt x="2278" y="709"/>
                  </a:lnTo>
                  <a:lnTo>
                    <a:pt x="2280" y="708"/>
                  </a:lnTo>
                  <a:lnTo>
                    <a:pt x="2281" y="706"/>
                  </a:lnTo>
                  <a:lnTo>
                    <a:pt x="2281" y="701"/>
                  </a:lnTo>
                  <a:lnTo>
                    <a:pt x="2281" y="694"/>
                  </a:lnTo>
                  <a:lnTo>
                    <a:pt x="2282" y="685"/>
                  </a:lnTo>
                  <a:lnTo>
                    <a:pt x="2282" y="677"/>
                  </a:lnTo>
                  <a:lnTo>
                    <a:pt x="2284" y="671"/>
                  </a:lnTo>
                  <a:lnTo>
                    <a:pt x="2285" y="670"/>
                  </a:lnTo>
                  <a:lnTo>
                    <a:pt x="2287" y="669"/>
                  </a:lnTo>
                  <a:lnTo>
                    <a:pt x="2288" y="669"/>
                  </a:lnTo>
                  <a:lnTo>
                    <a:pt x="2291" y="671"/>
                  </a:lnTo>
                  <a:lnTo>
                    <a:pt x="2296" y="679"/>
                  </a:lnTo>
                  <a:lnTo>
                    <a:pt x="2304" y="694"/>
                  </a:lnTo>
                  <a:lnTo>
                    <a:pt x="2312" y="696"/>
                  </a:lnTo>
                  <a:lnTo>
                    <a:pt x="2321" y="695"/>
                  </a:lnTo>
                  <a:lnTo>
                    <a:pt x="2331" y="694"/>
                  </a:lnTo>
                  <a:lnTo>
                    <a:pt x="2341" y="690"/>
                  </a:lnTo>
                  <a:lnTo>
                    <a:pt x="2361" y="683"/>
                  </a:lnTo>
                  <a:lnTo>
                    <a:pt x="2373" y="680"/>
                  </a:lnTo>
                  <a:lnTo>
                    <a:pt x="2381" y="678"/>
                  </a:lnTo>
                  <a:lnTo>
                    <a:pt x="2387" y="676"/>
                  </a:lnTo>
                  <a:lnTo>
                    <a:pt x="2390" y="672"/>
                  </a:lnTo>
                  <a:lnTo>
                    <a:pt x="2393" y="668"/>
                  </a:lnTo>
                  <a:lnTo>
                    <a:pt x="2395" y="663"/>
                  </a:lnTo>
                  <a:lnTo>
                    <a:pt x="2395" y="658"/>
                  </a:lnTo>
                  <a:lnTo>
                    <a:pt x="2395" y="653"/>
                  </a:lnTo>
                  <a:lnTo>
                    <a:pt x="2393" y="648"/>
                  </a:lnTo>
                  <a:lnTo>
                    <a:pt x="2389" y="638"/>
                  </a:lnTo>
                  <a:lnTo>
                    <a:pt x="2384" y="629"/>
                  </a:lnTo>
                  <a:lnTo>
                    <a:pt x="2379" y="623"/>
                  </a:lnTo>
                  <a:lnTo>
                    <a:pt x="2376" y="621"/>
                  </a:lnTo>
                  <a:lnTo>
                    <a:pt x="2376" y="605"/>
                  </a:lnTo>
                  <a:lnTo>
                    <a:pt x="2360" y="605"/>
                  </a:lnTo>
                  <a:lnTo>
                    <a:pt x="2360" y="601"/>
                  </a:lnTo>
                  <a:lnTo>
                    <a:pt x="2358" y="596"/>
                  </a:lnTo>
                  <a:lnTo>
                    <a:pt x="2355" y="592"/>
                  </a:lnTo>
                  <a:lnTo>
                    <a:pt x="2351" y="590"/>
                  </a:lnTo>
                  <a:lnTo>
                    <a:pt x="2342" y="584"/>
                  </a:lnTo>
                  <a:lnTo>
                    <a:pt x="2331" y="581"/>
                  </a:lnTo>
                  <a:lnTo>
                    <a:pt x="2319" y="577"/>
                  </a:lnTo>
                  <a:lnTo>
                    <a:pt x="2307" y="574"/>
                  </a:lnTo>
                  <a:lnTo>
                    <a:pt x="2303" y="573"/>
                  </a:lnTo>
                  <a:lnTo>
                    <a:pt x="2299" y="571"/>
                  </a:lnTo>
                  <a:lnTo>
                    <a:pt x="2294" y="569"/>
                  </a:lnTo>
                  <a:lnTo>
                    <a:pt x="2292" y="566"/>
                  </a:lnTo>
                  <a:lnTo>
                    <a:pt x="2280" y="554"/>
                  </a:lnTo>
                  <a:lnTo>
                    <a:pt x="2270" y="545"/>
                  </a:lnTo>
                  <a:lnTo>
                    <a:pt x="2259" y="538"/>
                  </a:lnTo>
                  <a:lnTo>
                    <a:pt x="2253" y="534"/>
                  </a:lnTo>
                  <a:lnTo>
                    <a:pt x="2252" y="533"/>
                  </a:lnTo>
                  <a:lnTo>
                    <a:pt x="2251" y="532"/>
                  </a:lnTo>
                  <a:lnTo>
                    <a:pt x="2251" y="532"/>
                  </a:lnTo>
                  <a:lnTo>
                    <a:pt x="2253" y="531"/>
                  </a:lnTo>
                  <a:lnTo>
                    <a:pt x="2261" y="532"/>
                  </a:lnTo>
                  <a:lnTo>
                    <a:pt x="2276" y="533"/>
                  </a:lnTo>
                  <a:lnTo>
                    <a:pt x="2274" y="532"/>
                  </a:lnTo>
                  <a:lnTo>
                    <a:pt x="2273" y="532"/>
                  </a:lnTo>
                  <a:lnTo>
                    <a:pt x="2272" y="531"/>
                  </a:lnTo>
                  <a:lnTo>
                    <a:pt x="2271" y="526"/>
                  </a:lnTo>
                  <a:lnTo>
                    <a:pt x="2255" y="524"/>
                  </a:lnTo>
                  <a:lnTo>
                    <a:pt x="2238" y="521"/>
                  </a:lnTo>
                  <a:lnTo>
                    <a:pt x="2237" y="517"/>
                  </a:lnTo>
                  <a:lnTo>
                    <a:pt x="2235" y="516"/>
                  </a:lnTo>
                  <a:lnTo>
                    <a:pt x="2230" y="515"/>
                  </a:lnTo>
                  <a:lnTo>
                    <a:pt x="2227" y="515"/>
                  </a:lnTo>
                  <a:lnTo>
                    <a:pt x="2227" y="504"/>
                  </a:lnTo>
                  <a:lnTo>
                    <a:pt x="2224" y="504"/>
                  </a:lnTo>
                  <a:lnTo>
                    <a:pt x="2222" y="500"/>
                  </a:lnTo>
                  <a:lnTo>
                    <a:pt x="2222" y="497"/>
                  </a:lnTo>
                  <a:lnTo>
                    <a:pt x="2222" y="493"/>
                  </a:lnTo>
                  <a:lnTo>
                    <a:pt x="2210" y="493"/>
                  </a:lnTo>
                  <a:lnTo>
                    <a:pt x="2210" y="479"/>
                  </a:lnTo>
                  <a:lnTo>
                    <a:pt x="2210" y="466"/>
                  </a:lnTo>
                  <a:lnTo>
                    <a:pt x="2207" y="464"/>
                  </a:lnTo>
                  <a:lnTo>
                    <a:pt x="2203" y="457"/>
                  </a:lnTo>
                  <a:lnTo>
                    <a:pt x="2197" y="447"/>
                  </a:lnTo>
                  <a:lnTo>
                    <a:pt x="2191" y="437"/>
                  </a:lnTo>
                  <a:lnTo>
                    <a:pt x="2186" y="425"/>
                  </a:lnTo>
                  <a:lnTo>
                    <a:pt x="2181" y="415"/>
                  </a:lnTo>
                  <a:lnTo>
                    <a:pt x="2178" y="406"/>
                  </a:lnTo>
                  <a:lnTo>
                    <a:pt x="2177" y="399"/>
                  </a:lnTo>
                  <a:lnTo>
                    <a:pt x="2174" y="399"/>
                  </a:lnTo>
                  <a:lnTo>
                    <a:pt x="2170" y="398"/>
                  </a:lnTo>
                  <a:lnTo>
                    <a:pt x="2168" y="396"/>
                  </a:lnTo>
                  <a:lnTo>
                    <a:pt x="2167" y="393"/>
                  </a:lnTo>
                  <a:lnTo>
                    <a:pt x="2163" y="390"/>
                  </a:lnTo>
                  <a:lnTo>
                    <a:pt x="2160" y="388"/>
                  </a:lnTo>
                  <a:lnTo>
                    <a:pt x="2161" y="364"/>
                  </a:lnTo>
                  <a:lnTo>
                    <a:pt x="2163" y="341"/>
                  </a:lnTo>
                  <a:lnTo>
                    <a:pt x="2165" y="317"/>
                  </a:lnTo>
                  <a:lnTo>
                    <a:pt x="2166" y="294"/>
                  </a:lnTo>
                  <a:lnTo>
                    <a:pt x="2165" y="293"/>
                  </a:lnTo>
                  <a:lnTo>
                    <a:pt x="2162" y="292"/>
                  </a:lnTo>
                  <a:lnTo>
                    <a:pt x="2161" y="290"/>
                  </a:lnTo>
                  <a:lnTo>
                    <a:pt x="2161" y="287"/>
                  </a:lnTo>
                  <a:lnTo>
                    <a:pt x="2160" y="282"/>
                  </a:lnTo>
                  <a:lnTo>
                    <a:pt x="2160" y="277"/>
                  </a:lnTo>
                  <a:lnTo>
                    <a:pt x="2155" y="272"/>
                  </a:lnTo>
                  <a:lnTo>
                    <a:pt x="2143" y="272"/>
                  </a:lnTo>
                  <a:lnTo>
                    <a:pt x="2141" y="264"/>
                  </a:lnTo>
                  <a:lnTo>
                    <a:pt x="2138" y="255"/>
                  </a:lnTo>
                  <a:lnTo>
                    <a:pt x="2127" y="253"/>
                  </a:lnTo>
                  <a:lnTo>
                    <a:pt x="2117" y="249"/>
                  </a:lnTo>
                  <a:lnTo>
                    <a:pt x="2111" y="244"/>
                  </a:lnTo>
                  <a:lnTo>
                    <a:pt x="2110" y="240"/>
                  </a:lnTo>
                  <a:lnTo>
                    <a:pt x="2108" y="236"/>
                  </a:lnTo>
                  <a:lnTo>
                    <a:pt x="2104" y="233"/>
                  </a:lnTo>
                  <a:lnTo>
                    <a:pt x="2101" y="229"/>
                  </a:lnTo>
                  <a:lnTo>
                    <a:pt x="2090" y="224"/>
                  </a:lnTo>
                  <a:lnTo>
                    <a:pt x="2077" y="219"/>
                  </a:lnTo>
                  <a:lnTo>
                    <a:pt x="2065" y="216"/>
                  </a:lnTo>
                  <a:lnTo>
                    <a:pt x="2052" y="212"/>
                  </a:lnTo>
                  <a:lnTo>
                    <a:pt x="2041" y="211"/>
                  </a:lnTo>
                  <a:lnTo>
                    <a:pt x="2033" y="210"/>
                  </a:lnTo>
                  <a:lnTo>
                    <a:pt x="2027" y="216"/>
                  </a:lnTo>
                  <a:lnTo>
                    <a:pt x="2022" y="221"/>
                  </a:lnTo>
                  <a:lnTo>
                    <a:pt x="2022" y="226"/>
                  </a:lnTo>
                  <a:lnTo>
                    <a:pt x="2019" y="231"/>
                  </a:lnTo>
                  <a:lnTo>
                    <a:pt x="2016" y="236"/>
                  </a:lnTo>
                  <a:lnTo>
                    <a:pt x="2014" y="242"/>
                  </a:lnTo>
                  <a:lnTo>
                    <a:pt x="2011" y="246"/>
                  </a:lnTo>
                  <a:lnTo>
                    <a:pt x="2008" y="252"/>
                  </a:lnTo>
                  <a:lnTo>
                    <a:pt x="2006" y="256"/>
                  </a:lnTo>
                  <a:lnTo>
                    <a:pt x="2005" y="260"/>
                  </a:lnTo>
                  <a:lnTo>
                    <a:pt x="1994" y="260"/>
                  </a:lnTo>
                  <a:lnTo>
                    <a:pt x="1994" y="263"/>
                  </a:lnTo>
                  <a:lnTo>
                    <a:pt x="1993" y="264"/>
                  </a:lnTo>
                  <a:lnTo>
                    <a:pt x="1990" y="265"/>
                  </a:lnTo>
                  <a:lnTo>
                    <a:pt x="1987" y="266"/>
                  </a:lnTo>
                  <a:lnTo>
                    <a:pt x="1980" y="266"/>
                  </a:lnTo>
                  <a:lnTo>
                    <a:pt x="1973" y="265"/>
                  </a:lnTo>
                  <a:lnTo>
                    <a:pt x="1964" y="263"/>
                  </a:lnTo>
                  <a:lnTo>
                    <a:pt x="1957" y="259"/>
                  </a:lnTo>
                  <a:lnTo>
                    <a:pt x="1954" y="257"/>
                  </a:lnTo>
                  <a:lnTo>
                    <a:pt x="1951" y="255"/>
                  </a:lnTo>
                  <a:lnTo>
                    <a:pt x="1950" y="253"/>
                  </a:lnTo>
                  <a:lnTo>
                    <a:pt x="1950" y="249"/>
                  </a:lnTo>
                  <a:lnTo>
                    <a:pt x="1944" y="248"/>
                  </a:lnTo>
                  <a:lnTo>
                    <a:pt x="1937" y="245"/>
                  </a:lnTo>
                  <a:lnTo>
                    <a:pt x="1933" y="243"/>
                  </a:lnTo>
                  <a:lnTo>
                    <a:pt x="1930" y="240"/>
                  </a:lnTo>
                  <a:lnTo>
                    <a:pt x="1928" y="237"/>
                  </a:lnTo>
                  <a:lnTo>
                    <a:pt x="1928" y="233"/>
                  </a:lnTo>
                  <a:lnTo>
                    <a:pt x="1923" y="231"/>
                  </a:lnTo>
                  <a:lnTo>
                    <a:pt x="1918" y="229"/>
                  </a:lnTo>
                  <a:lnTo>
                    <a:pt x="1913" y="226"/>
                  </a:lnTo>
                  <a:lnTo>
                    <a:pt x="1907" y="221"/>
                  </a:lnTo>
                  <a:lnTo>
                    <a:pt x="1900" y="218"/>
                  </a:lnTo>
                  <a:lnTo>
                    <a:pt x="1893" y="215"/>
                  </a:lnTo>
                  <a:lnTo>
                    <a:pt x="1885" y="211"/>
                  </a:lnTo>
                  <a:lnTo>
                    <a:pt x="1878" y="210"/>
                  </a:lnTo>
                  <a:lnTo>
                    <a:pt x="1878" y="209"/>
                  </a:lnTo>
                  <a:lnTo>
                    <a:pt x="1877" y="208"/>
                  </a:lnTo>
                  <a:lnTo>
                    <a:pt x="1874" y="207"/>
                  </a:lnTo>
                  <a:lnTo>
                    <a:pt x="1872" y="206"/>
                  </a:lnTo>
                  <a:lnTo>
                    <a:pt x="1867" y="206"/>
                  </a:lnTo>
                  <a:lnTo>
                    <a:pt x="1861" y="205"/>
                  </a:lnTo>
                  <a:lnTo>
                    <a:pt x="1861" y="204"/>
                  </a:lnTo>
                  <a:lnTo>
                    <a:pt x="1859" y="202"/>
                  </a:lnTo>
                  <a:lnTo>
                    <a:pt x="1855" y="201"/>
                  </a:lnTo>
                  <a:lnTo>
                    <a:pt x="1852" y="200"/>
                  </a:lnTo>
                  <a:lnTo>
                    <a:pt x="1845" y="200"/>
                  </a:lnTo>
                  <a:lnTo>
                    <a:pt x="1839" y="199"/>
                  </a:lnTo>
                  <a:lnTo>
                    <a:pt x="1836" y="198"/>
                  </a:lnTo>
                  <a:lnTo>
                    <a:pt x="1831" y="196"/>
                  </a:lnTo>
                  <a:lnTo>
                    <a:pt x="1822" y="194"/>
                  </a:lnTo>
                  <a:lnTo>
                    <a:pt x="1812" y="192"/>
                  </a:lnTo>
                  <a:lnTo>
                    <a:pt x="1793" y="189"/>
                  </a:lnTo>
                  <a:lnTo>
                    <a:pt x="1784" y="189"/>
                  </a:lnTo>
                  <a:lnTo>
                    <a:pt x="1782" y="187"/>
                  </a:lnTo>
                  <a:lnTo>
                    <a:pt x="1777" y="186"/>
                  </a:lnTo>
                  <a:lnTo>
                    <a:pt x="1769" y="185"/>
                  </a:lnTo>
                  <a:lnTo>
                    <a:pt x="1760" y="183"/>
                  </a:lnTo>
                  <a:lnTo>
                    <a:pt x="1744" y="183"/>
                  </a:lnTo>
                  <a:lnTo>
                    <a:pt x="1734" y="183"/>
                  </a:lnTo>
                  <a:lnTo>
                    <a:pt x="1723" y="195"/>
                  </a:lnTo>
                  <a:lnTo>
                    <a:pt x="1711" y="205"/>
                  </a:lnTo>
                  <a:lnTo>
                    <a:pt x="1691" y="206"/>
                  </a:lnTo>
                  <a:lnTo>
                    <a:pt x="1667" y="208"/>
                  </a:lnTo>
                  <a:lnTo>
                    <a:pt x="1641" y="210"/>
                  </a:lnTo>
                  <a:lnTo>
                    <a:pt x="1618" y="210"/>
                  </a:lnTo>
                  <a:lnTo>
                    <a:pt x="1615" y="217"/>
                  </a:lnTo>
                  <a:lnTo>
                    <a:pt x="1611" y="224"/>
                  </a:lnTo>
                  <a:lnTo>
                    <a:pt x="1609" y="227"/>
                  </a:lnTo>
                  <a:lnTo>
                    <a:pt x="1605" y="230"/>
                  </a:lnTo>
                  <a:lnTo>
                    <a:pt x="1603" y="233"/>
                  </a:lnTo>
                  <a:lnTo>
                    <a:pt x="1601" y="233"/>
                  </a:lnTo>
                  <a:lnTo>
                    <a:pt x="1601" y="244"/>
                  </a:lnTo>
                  <a:lnTo>
                    <a:pt x="1595" y="249"/>
                  </a:lnTo>
                  <a:lnTo>
                    <a:pt x="1587" y="249"/>
                  </a:lnTo>
                  <a:lnTo>
                    <a:pt x="1579" y="249"/>
                  </a:lnTo>
                  <a:lnTo>
                    <a:pt x="1579" y="252"/>
                  </a:lnTo>
                  <a:lnTo>
                    <a:pt x="1577" y="253"/>
                  </a:lnTo>
                  <a:lnTo>
                    <a:pt x="1575" y="255"/>
                  </a:lnTo>
                  <a:lnTo>
                    <a:pt x="1573" y="255"/>
                  </a:lnTo>
                  <a:lnTo>
                    <a:pt x="1566" y="257"/>
                  </a:lnTo>
                  <a:lnTo>
                    <a:pt x="1558" y="257"/>
                  </a:lnTo>
                  <a:lnTo>
                    <a:pt x="1536" y="256"/>
                  </a:lnTo>
                  <a:lnTo>
                    <a:pt x="1513" y="253"/>
                  </a:lnTo>
                  <a:lnTo>
                    <a:pt x="1467" y="244"/>
                  </a:lnTo>
                  <a:lnTo>
                    <a:pt x="1446" y="238"/>
                  </a:lnTo>
                  <a:lnTo>
                    <a:pt x="1445" y="235"/>
                  </a:lnTo>
                  <a:lnTo>
                    <a:pt x="1440" y="233"/>
                  </a:lnTo>
                  <a:lnTo>
                    <a:pt x="1438" y="230"/>
                  </a:lnTo>
                  <a:lnTo>
                    <a:pt x="1437" y="228"/>
                  </a:lnTo>
                  <a:lnTo>
                    <a:pt x="1436" y="226"/>
                  </a:lnTo>
                  <a:lnTo>
                    <a:pt x="1435" y="221"/>
                  </a:lnTo>
                  <a:lnTo>
                    <a:pt x="1418" y="214"/>
                  </a:lnTo>
                  <a:lnTo>
                    <a:pt x="1401" y="205"/>
                  </a:lnTo>
                  <a:lnTo>
                    <a:pt x="1399" y="199"/>
                  </a:lnTo>
                  <a:lnTo>
                    <a:pt x="1395" y="195"/>
                  </a:lnTo>
                  <a:lnTo>
                    <a:pt x="1380" y="189"/>
                  </a:lnTo>
                  <a:lnTo>
                    <a:pt x="1369" y="183"/>
                  </a:lnTo>
                  <a:lnTo>
                    <a:pt x="1357" y="172"/>
                  </a:lnTo>
                  <a:lnTo>
                    <a:pt x="1346" y="161"/>
                  </a:lnTo>
                  <a:lnTo>
                    <a:pt x="1330" y="156"/>
                  </a:lnTo>
                  <a:lnTo>
                    <a:pt x="1318" y="150"/>
                  </a:lnTo>
                  <a:lnTo>
                    <a:pt x="1280" y="149"/>
                  </a:lnTo>
                  <a:lnTo>
                    <a:pt x="1244" y="147"/>
                  </a:lnTo>
                  <a:lnTo>
                    <a:pt x="1207" y="144"/>
                  </a:lnTo>
                  <a:lnTo>
                    <a:pt x="1170" y="141"/>
                  </a:lnTo>
                  <a:lnTo>
                    <a:pt x="1134" y="139"/>
                  </a:lnTo>
                  <a:lnTo>
                    <a:pt x="1098" y="135"/>
                  </a:lnTo>
                  <a:lnTo>
                    <a:pt x="1064" y="134"/>
                  </a:lnTo>
                  <a:lnTo>
                    <a:pt x="1030" y="133"/>
                  </a:lnTo>
                  <a:lnTo>
                    <a:pt x="1025" y="131"/>
                  </a:lnTo>
                  <a:lnTo>
                    <a:pt x="1009" y="130"/>
                  </a:lnTo>
                  <a:lnTo>
                    <a:pt x="987" y="129"/>
                  </a:lnTo>
                  <a:lnTo>
                    <a:pt x="961" y="129"/>
                  </a:lnTo>
                  <a:lnTo>
                    <a:pt x="909" y="128"/>
                  </a:lnTo>
                  <a:lnTo>
                    <a:pt x="875" y="128"/>
                  </a:lnTo>
                  <a:lnTo>
                    <a:pt x="874" y="124"/>
                  </a:lnTo>
                  <a:lnTo>
                    <a:pt x="872" y="123"/>
                  </a:lnTo>
                  <a:lnTo>
                    <a:pt x="869" y="122"/>
                  </a:lnTo>
                  <a:lnTo>
                    <a:pt x="864" y="122"/>
                  </a:lnTo>
                  <a:lnTo>
                    <a:pt x="864" y="120"/>
                  </a:lnTo>
                  <a:lnTo>
                    <a:pt x="862" y="119"/>
                  </a:lnTo>
                  <a:lnTo>
                    <a:pt x="861" y="118"/>
                  </a:lnTo>
                  <a:lnTo>
                    <a:pt x="857" y="118"/>
                  </a:lnTo>
                  <a:lnTo>
                    <a:pt x="853" y="117"/>
                  </a:lnTo>
                  <a:lnTo>
                    <a:pt x="847" y="117"/>
                  </a:lnTo>
                  <a:lnTo>
                    <a:pt x="846" y="112"/>
                  </a:lnTo>
                  <a:lnTo>
                    <a:pt x="844" y="109"/>
                  </a:lnTo>
                  <a:lnTo>
                    <a:pt x="841" y="106"/>
                  </a:lnTo>
                  <a:lnTo>
                    <a:pt x="836" y="105"/>
                  </a:lnTo>
                  <a:lnTo>
                    <a:pt x="834" y="100"/>
                  </a:lnTo>
                  <a:lnTo>
                    <a:pt x="831" y="94"/>
                  </a:lnTo>
                  <a:lnTo>
                    <a:pt x="827" y="94"/>
                  </a:lnTo>
                  <a:lnTo>
                    <a:pt x="824" y="92"/>
                  </a:lnTo>
                  <a:lnTo>
                    <a:pt x="821" y="89"/>
                  </a:lnTo>
                  <a:lnTo>
                    <a:pt x="817" y="86"/>
                  </a:lnTo>
                  <a:lnTo>
                    <a:pt x="813" y="81"/>
                  </a:lnTo>
                  <a:lnTo>
                    <a:pt x="808" y="77"/>
                  </a:lnTo>
                  <a:lnTo>
                    <a:pt x="808" y="66"/>
                  </a:lnTo>
                  <a:lnTo>
                    <a:pt x="803" y="61"/>
                  </a:lnTo>
                  <a:lnTo>
                    <a:pt x="797" y="55"/>
                  </a:lnTo>
                  <a:lnTo>
                    <a:pt x="793" y="53"/>
                  </a:lnTo>
                  <a:lnTo>
                    <a:pt x="787" y="50"/>
                  </a:lnTo>
                  <a:lnTo>
                    <a:pt x="786" y="44"/>
                  </a:lnTo>
                  <a:lnTo>
                    <a:pt x="783" y="37"/>
                  </a:lnTo>
                  <a:lnTo>
                    <a:pt x="780" y="34"/>
                  </a:lnTo>
                  <a:lnTo>
                    <a:pt x="777" y="31"/>
                  </a:lnTo>
                  <a:lnTo>
                    <a:pt x="774" y="28"/>
                  </a:lnTo>
                  <a:lnTo>
                    <a:pt x="770" y="28"/>
                  </a:lnTo>
                  <a:lnTo>
                    <a:pt x="770" y="17"/>
                  </a:lnTo>
                  <a:lnTo>
                    <a:pt x="765" y="12"/>
                  </a:lnTo>
                  <a:lnTo>
                    <a:pt x="754" y="12"/>
                  </a:lnTo>
                  <a:lnTo>
                    <a:pt x="751" y="9"/>
                  </a:lnTo>
                  <a:lnTo>
                    <a:pt x="747" y="8"/>
                  </a:lnTo>
                  <a:lnTo>
                    <a:pt x="741" y="7"/>
                  </a:lnTo>
                  <a:lnTo>
                    <a:pt x="733" y="6"/>
                  </a:lnTo>
                  <a:lnTo>
                    <a:pt x="718" y="6"/>
                  </a:lnTo>
                  <a:lnTo>
                    <a:pt x="709" y="6"/>
                  </a:lnTo>
                  <a:lnTo>
                    <a:pt x="709" y="3"/>
                  </a:lnTo>
                  <a:lnTo>
                    <a:pt x="707" y="2"/>
                  </a:lnTo>
                  <a:lnTo>
                    <a:pt x="704" y="0"/>
                  </a:lnTo>
                  <a:lnTo>
                    <a:pt x="701" y="0"/>
                  </a:lnTo>
                  <a:lnTo>
                    <a:pt x="698" y="2"/>
                  </a:lnTo>
                  <a:lnTo>
                    <a:pt x="692" y="2"/>
                  </a:lnTo>
                  <a:lnTo>
                    <a:pt x="688" y="2"/>
                  </a:lnTo>
                  <a:lnTo>
                    <a:pt x="681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57" name="Freeform 23"/>
            <p:cNvSpPr>
              <a:spLocks noChangeAspect="1"/>
            </p:cNvSpPr>
            <p:nvPr/>
          </p:nvSpPr>
          <p:spPr bwMode="gray">
            <a:xfrm rot="355651">
              <a:off x="5995331" y="3473450"/>
              <a:ext cx="283533" cy="196952"/>
            </a:xfrm>
            <a:custGeom>
              <a:avLst/>
              <a:gdLst/>
              <a:ahLst/>
              <a:cxnLst>
                <a:cxn ang="0">
                  <a:pos x="302" y="115"/>
                </a:cxn>
                <a:cxn ang="0">
                  <a:pos x="259" y="163"/>
                </a:cxn>
                <a:cxn ang="0">
                  <a:pos x="215" y="189"/>
                </a:cxn>
                <a:cxn ang="0">
                  <a:pos x="205" y="361"/>
                </a:cxn>
                <a:cxn ang="0">
                  <a:pos x="205" y="527"/>
                </a:cxn>
                <a:cxn ang="0">
                  <a:pos x="243" y="572"/>
                </a:cxn>
                <a:cxn ang="0">
                  <a:pos x="241" y="724"/>
                </a:cxn>
                <a:cxn ang="0">
                  <a:pos x="188" y="748"/>
                </a:cxn>
                <a:cxn ang="0">
                  <a:pos x="116" y="791"/>
                </a:cxn>
                <a:cxn ang="0">
                  <a:pos x="77" y="822"/>
                </a:cxn>
                <a:cxn ang="0">
                  <a:pos x="55" y="848"/>
                </a:cxn>
                <a:cxn ang="0">
                  <a:pos x="5" y="897"/>
                </a:cxn>
                <a:cxn ang="0">
                  <a:pos x="137" y="935"/>
                </a:cxn>
                <a:cxn ang="0">
                  <a:pos x="198" y="925"/>
                </a:cxn>
                <a:cxn ang="0">
                  <a:pos x="304" y="954"/>
                </a:cxn>
                <a:cxn ang="0">
                  <a:pos x="365" y="1009"/>
                </a:cxn>
                <a:cxn ang="0">
                  <a:pos x="410" y="1055"/>
                </a:cxn>
                <a:cxn ang="0">
                  <a:pos x="525" y="1053"/>
                </a:cxn>
                <a:cxn ang="0">
                  <a:pos x="620" y="1080"/>
                </a:cxn>
                <a:cxn ang="0">
                  <a:pos x="1069" y="1092"/>
                </a:cxn>
                <a:cxn ang="0">
                  <a:pos x="1019" y="1064"/>
                </a:cxn>
                <a:cxn ang="0">
                  <a:pos x="985" y="931"/>
                </a:cxn>
                <a:cxn ang="0">
                  <a:pos x="1066" y="923"/>
                </a:cxn>
                <a:cxn ang="0">
                  <a:pos x="1125" y="954"/>
                </a:cxn>
                <a:cxn ang="0">
                  <a:pos x="1185" y="998"/>
                </a:cxn>
                <a:cxn ang="0">
                  <a:pos x="1220" y="1032"/>
                </a:cxn>
                <a:cxn ang="0">
                  <a:pos x="1250" y="1095"/>
                </a:cxn>
                <a:cxn ang="0">
                  <a:pos x="1279" y="1217"/>
                </a:cxn>
                <a:cxn ang="0">
                  <a:pos x="1335" y="1200"/>
                </a:cxn>
                <a:cxn ang="0">
                  <a:pos x="1383" y="1141"/>
                </a:cxn>
                <a:cxn ang="0">
                  <a:pos x="1542" y="1035"/>
                </a:cxn>
                <a:cxn ang="0">
                  <a:pos x="1496" y="1031"/>
                </a:cxn>
                <a:cxn ang="0">
                  <a:pos x="1437" y="1021"/>
                </a:cxn>
                <a:cxn ang="0">
                  <a:pos x="1390" y="942"/>
                </a:cxn>
                <a:cxn ang="0">
                  <a:pos x="1350" y="885"/>
                </a:cxn>
                <a:cxn ang="0">
                  <a:pos x="1326" y="853"/>
                </a:cxn>
                <a:cxn ang="0">
                  <a:pos x="1304" y="810"/>
                </a:cxn>
                <a:cxn ang="0">
                  <a:pos x="1268" y="731"/>
                </a:cxn>
                <a:cxn ang="0">
                  <a:pos x="1216" y="683"/>
                </a:cxn>
                <a:cxn ang="0">
                  <a:pos x="1214" y="644"/>
                </a:cxn>
                <a:cxn ang="0">
                  <a:pos x="1296" y="609"/>
                </a:cxn>
                <a:cxn ang="0">
                  <a:pos x="1340" y="502"/>
                </a:cxn>
                <a:cxn ang="0">
                  <a:pos x="1313" y="429"/>
                </a:cxn>
                <a:cxn ang="0">
                  <a:pos x="1265" y="383"/>
                </a:cxn>
                <a:cxn ang="0">
                  <a:pos x="1167" y="292"/>
                </a:cxn>
                <a:cxn ang="0">
                  <a:pos x="1140" y="239"/>
                </a:cxn>
                <a:cxn ang="0">
                  <a:pos x="1092" y="201"/>
                </a:cxn>
                <a:cxn ang="0">
                  <a:pos x="937" y="188"/>
                </a:cxn>
                <a:cxn ang="0">
                  <a:pos x="861" y="92"/>
                </a:cxn>
                <a:cxn ang="0">
                  <a:pos x="830" y="6"/>
                </a:cxn>
                <a:cxn ang="0">
                  <a:pos x="779" y="26"/>
                </a:cxn>
                <a:cxn ang="0">
                  <a:pos x="764" y="63"/>
                </a:cxn>
                <a:cxn ang="0">
                  <a:pos x="672" y="77"/>
                </a:cxn>
                <a:cxn ang="0">
                  <a:pos x="643" y="89"/>
                </a:cxn>
                <a:cxn ang="0">
                  <a:pos x="626" y="128"/>
                </a:cxn>
                <a:cxn ang="0">
                  <a:pos x="534" y="167"/>
                </a:cxn>
                <a:cxn ang="0">
                  <a:pos x="439" y="141"/>
                </a:cxn>
                <a:cxn ang="0">
                  <a:pos x="408" y="128"/>
                </a:cxn>
                <a:cxn ang="0">
                  <a:pos x="376" y="95"/>
                </a:cxn>
              </a:cxnLst>
              <a:rect l="0" t="0" r="r" b="b"/>
              <a:pathLst>
                <a:path w="1556" h="1230">
                  <a:moveTo>
                    <a:pt x="349" y="84"/>
                  </a:moveTo>
                  <a:lnTo>
                    <a:pt x="343" y="86"/>
                  </a:lnTo>
                  <a:lnTo>
                    <a:pt x="338" y="89"/>
                  </a:lnTo>
                  <a:lnTo>
                    <a:pt x="331" y="95"/>
                  </a:lnTo>
                  <a:lnTo>
                    <a:pt x="327" y="101"/>
                  </a:lnTo>
                  <a:lnTo>
                    <a:pt x="315" y="101"/>
                  </a:lnTo>
                  <a:lnTo>
                    <a:pt x="312" y="106"/>
                  </a:lnTo>
                  <a:lnTo>
                    <a:pt x="310" y="112"/>
                  </a:lnTo>
                  <a:lnTo>
                    <a:pt x="305" y="113"/>
                  </a:lnTo>
                  <a:lnTo>
                    <a:pt x="302" y="115"/>
                  </a:lnTo>
                  <a:lnTo>
                    <a:pt x="300" y="118"/>
                  </a:lnTo>
                  <a:lnTo>
                    <a:pt x="299" y="123"/>
                  </a:lnTo>
                  <a:lnTo>
                    <a:pt x="288" y="128"/>
                  </a:lnTo>
                  <a:lnTo>
                    <a:pt x="288" y="138"/>
                  </a:lnTo>
                  <a:lnTo>
                    <a:pt x="282" y="142"/>
                  </a:lnTo>
                  <a:lnTo>
                    <a:pt x="276" y="144"/>
                  </a:lnTo>
                  <a:lnTo>
                    <a:pt x="276" y="155"/>
                  </a:lnTo>
                  <a:lnTo>
                    <a:pt x="271" y="161"/>
                  </a:lnTo>
                  <a:lnTo>
                    <a:pt x="260" y="161"/>
                  </a:lnTo>
                  <a:lnTo>
                    <a:pt x="259" y="163"/>
                  </a:lnTo>
                  <a:lnTo>
                    <a:pt x="255" y="165"/>
                  </a:lnTo>
                  <a:lnTo>
                    <a:pt x="251" y="167"/>
                  </a:lnTo>
                  <a:lnTo>
                    <a:pt x="245" y="169"/>
                  </a:lnTo>
                  <a:lnTo>
                    <a:pt x="234" y="171"/>
                  </a:lnTo>
                  <a:lnTo>
                    <a:pt x="226" y="172"/>
                  </a:lnTo>
                  <a:lnTo>
                    <a:pt x="221" y="178"/>
                  </a:lnTo>
                  <a:lnTo>
                    <a:pt x="221" y="182"/>
                  </a:lnTo>
                  <a:lnTo>
                    <a:pt x="221" y="185"/>
                  </a:lnTo>
                  <a:lnTo>
                    <a:pt x="218" y="188"/>
                  </a:lnTo>
                  <a:lnTo>
                    <a:pt x="215" y="189"/>
                  </a:lnTo>
                  <a:lnTo>
                    <a:pt x="215" y="224"/>
                  </a:lnTo>
                  <a:lnTo>
                    <a:pt x="213" y="263"/>
                  </a:lnTo>
                  <a:lnTo>
                    <a:pt x="211" y="303"/>
                  </a:lnTo>
                  <a:lnTo>
                    <a:pt x="211" y="338"/>
                  </a:lnTo>
                  <a:lnTo>
                    <a:pt x="208" y="339"/>
                  </a:lnTo>
                  <a:lnTo>
                    <a:pt x="207" y="342"/>
                  </a:lnTo>
                  <a:lnTo>
                    <a:pt x="206" y="344"/>
                  </a:lnTo>
                  <a:lnTo>
                    <a:pt x="205" y="347"/>
                  </a:lnTo>
                  <a:lnTo>
                    <a:pt x="205" y="355"/>
                  </a:lnTo>
                  <a:lnTo>
                    <a:pt x="205" y="361"/>
                  </a:lnTo>
                  <a:lnTo>
                    <a:pt x="203" y="361"/>
                  </a:lnTo>
                  <a:lnTo>
                    <a:pt x="200" y="363"/>
                  </a:lnTo>
                  <a:lnTo>
                    <a:pt x="199" y="365"/>
                  </a:lnTo>
                  <a:lnTo>
                    <a:pt x="198" y="367"/>
                  </a:lnTo>
                  <a:lnTo>
                    <a:pt x="196" y="375"/>
                  </a:lnTo>
                  <a:lnTo>
                    <a:pt x="195" y="386"/>
                  </a:lnTo>
                  <a:lnTo>
                    <a:pt x="195" y="412"/>
                  </a:lnTo>
                  <a:lnTo>
                    <a:pt x="196" y="442"/>
                  </a:lnTo>
                  <a:lnTo>
                    <a:pt x="202" y="499"/>
                  </a:lnTo>
                  <a:lnTo>
                    <a:pt x="205" y="527"/>
                  </a:lnTo>
                  <a:lnTo>
                    <a:pt x="211" y="529"/>
                  </a:lnTo>
                  <a:lnTo>
                    <a:pt x="215" y="532"/>
                  </a:lnTo>
                  <a:lnTo>
                    <a:pt x="218" y="544"/>
                  </a:lnTo>
                  <a:lnTo>
                    <a:pt x="221" y="555"/>
                  </a:lnTo>
                  <a:lnTo>
                    <a:pt x="225" y="557"/>
                  </a:lnTo>
                  <a:lnTo>
                    <a:pt x="231" y="563"/>
                  </a:lnTo>
                  <a:lnTo>
                    <a:pt x="233" y="566"/>
                  </a:lnTo>
                  <a:lnTo>
                    <a:pt x="236" y="568"/>
                  </a:lnTo>
                  <a:lnTo>
                    <a:pt x="240" y="570"/>
                  </a:lnTo>
                  <a:lnTo>
                    <a:pt x="243" y="572"/>
                  </a:lnTo>
                  <a:lnTo>
                    <a:pt x="246" y="597"/>
                  </a:lnTo>
                  <a:lnTo>
                    <a:pt x="252" y="631"/>
                  </a:lnTo>
                  <a:lnTo>
                    <a:pt x="254" y="649"/>
                  </a:lnTo>
                  <a:lnTo>
                    <a:pt x="257" y="666"/>
                  </a:lnTo>
                  <a:lnTo>
                    <a:pt x="260" y="683"/>
                  </a:lnTo>
                  <a:lnTo>
                    <a:pt x="260" y="699"/>
                  </a:lnTo>
                  <a:lnTo>
                    <a:pt x="254" y="708"/>
                  </a:lnTo>
                  <a:lnTo>
                    <a:pt x="248" y="721"/>
                  </a:lnTo>
                  <a:lnTo>
                    <a:pt x="245" y="721"/>
                  </a:lnTo>
                  <a:lnTo>
                    <a:pt x="241" y="724"/>
                  </a:lnTo>
                  <a:lnTo>
                    <a:pt x="238" y="728"/>
                  </a:lnTo>
                  <a:lnTo>
                    <a:pt x="237" y="731"/>
                  </a:lnTo>
                  <a:lnTo>
                    <a:pt x="232" y="737"/>
                  </a:lnTo>
                  <a:lnTo>
                    <a:pt x="221" y="737"/>
                  </a:lnTo>
                  <a:lnTo>
                    <a:pt x="219" y="741"/>
                  </a:lnTo>
                  <a:lnTo>
                    <a:pt x="216" y="743"/>
                  </a:lnTo>
                  <a:lnTo>
                    <a:pt x="212" y="746"/>
                  </a:lnTo>
                  <a:lnTo>
                    <a:pt x="206" y="747"/>
                  </a:lnTo>
                  <a:lnTo>
                    <a:pt x="195" y="748"/>
                  </a:lnTo>
                  <a:lnTo>
                    <a:pt x="188" y="748"/>
                  </a:lnTo>
                  <a:lnTo>
                    <a:pt x="180" y="752"/>
                  </a:lnTo>
                  <a:lnTo>
                    <a:pt x="163" y="762"/>
                  </a:lnTo>
                  <a:lnTo>
                    <a:pt x="144" y="771"/>
                  </a:lnTo>
                  <a:lnTo>
                    <a:pt x="132" y="776"/>
                  </a:lnTo>
                  <a:lnTo>
                    <a:pt x="127" y="781"/>
                  </a:lnTo>
                  <a:lnTo>
                    <a:pt x="127" y="784"/>
                  </a:lnTo>
                  <a:lnTo>
                    <a:pt x="125" y="786"/>
                  </a:lnTo>
                  <a:lnTo>
                    <a:pt x="123" y="788"/>
                  </a:lnTo>
                  <a:lnTo>
                    <a:pt x="121" y="789"/>
                  </a:lnTo>
                  <a:lnTo>
                    <a:pt x="116" y="791"/>
                  </a:lnTo>
                  <a:lnTo>
                    <a:pt x="110" y="792"/>
                  </a:lnTo>
                  <a:lnTo>
                    <a:pt x="108" y="797"/>
                  </a:lnTo>
                  <a:lnTo>
                    <a:pt x="104" y="800"/>
                  </a:lnTo>
                  <a:lnTo>
                    <a:pt x="100" y="805"/>
                  </a:lnTo>
                  <a:lnTo>
                    <a:pt x="96" y="808"/>
                  </a:lnTo>
                  <a:lnTo>
                    <a:pt x="91" y="810"/>
                  </a:lnTo>
                  <a:lnTo>
                    <a:pt x="87" y="813"/>
                  </a:lnTo>
                  <a:lnTo>
                    <a:pt x="81" y="814"/>
                  </a:lnTo>
                  <a:lnTo>
                    <a:pt x="77" y="815"/>
                  </a:lnTo>
                  <a:lnTo>
                    <a:pt x="77" y="822"/>
                  </a:lnTo>
                  <a:lnTo>
                    <a:pt x="77" y="825"/>
                  </a:lnTo>
                  <a:lnTo>
                    <a:pt x="75" y="827"/>
                  </a:lnTo>
                  <a:lnTo>
                    <a:pt x="74" y="827"/>
                  </a:lnTo>
                  <a:lnTo>
                    <a:pt x="73" y="827"/>
                  </a:lnTo>
                  <a:lnTo>
                    <a:pt x="72" y="827"/>
                  </a:lnTo>
                  <a:lnTo>
                    <a:pt x="72" y="828"/>
                  </a:lnTo>
                  <a:lnTo>
                    <a:pt x="71" y="832"/>
                  </a:lnTo>
                  <a:lnTo>
                    <a:pt x="63" y="834"/>
                  </a:lnTo>
                  <a:lnTo>
                    <a:pt x="55" y="837"/>
                  </a:lnTo>
                  <a:lnTo>
                    <a:pt x="55" y="848"/>
                  </a:lnTo>
                  <a:lnTo>
                    <a:pt x="51" y="849"/>
                  </a:lnTo>
                  <a:lnTo>
                    <a:pt x="48" y="852"/>
                  </a:lnTo>
                  <a:lnTo>
                    <a:pt x="45" y="855"/>
                  </a:lnTo>
                  <a:lnTo>
                    <a:pt x="44" y="859"/>
                  </a:lnTo>
                  <a:lnTo>
                    <a:pt x="40" y="859"/>
                  </a:lnTo>
                  <a:lnTo>
                    <a:pt x="36" y="863"/>
                  </a:lnTo>
                  <a:lnTo>
                    <a:pt x="34" y="866"/>
                  </a:lnTo>
                  <a:lnTo>
                    <a:pt x="33" y="871"/>
                  </a:lnTo>
                  <a:lnTo>
                    <a:pt x="19" y="884"/>
                  </a:lnTo>
                  <a:lnTo>
                    <a:pt x="5" y="897"/>
                  </a:lnTo>
                  <a:lnTo>
                    <a:pt x="0" y="903"/>
                  </a:lnTo>
                  <a:lnTo>
                    <a:pt x="0" y="917"/>
                  </a:lnTo>
                  <a:lnTo>
                    <a:pt x="0" y="931"/>
                  </a:lnTo>
                  <a:lnTo>
                    <a:pt x="11" y="936"/>
                  </a:lnTo>
                  <a:lnTo>
                    <a:pt x="13" y="942"/>
                  </a:lnTo>
                  <a:lnTo>
                    <a:pt x="16" y="948"/>
                  </a:lnTo>
                  <a:lnTo>
                    <a:pt x="116" y="948"/>
                  </a:lnTo>
                  <a:lnTo>
                    <a:pt x="127" y="936"/>
                  </a:lnTo>
                  <a:lnTo>
                    <a:pt x="132" y="936"/>
                  </a:lnTo>
                  <a:lnTo>
                    <a:pt x="137" y="935"/>
                  </a:lnTo>
                  <a:lnTo>
                    <a:pt x="140" y="935"/>
                  </a:lnTo>
                  <a:lnTo>
                    <a:pt x="141" y="934"/>
                  </a:lnTo>
                  <a:lnTo>
                    <a:pt x="144" y="933"/>
                  </a:lnTo>
                  <a:lnTo>
                    <a:pt x="144" y="931"/>
                  </a:lnTo>
                  <a:lnTo>
                    <a:pt x="177" y="931"/>
                  </a:lnTo>
                  <a:lnTo>
                    <a:pt x="178" y="930"/>
                  </a:lnTo>
                  <a:lnTo>
                    <a:pt x="180" y="928"/>
                  </a:lnTo>
                  <a:lnTo>
                    <a:pt x="184" y="926"/>
                  </a:lnTo>
                  <a:lnTo>
                    <a:pt x="188" y="926"/>
                  </a:lnTo>
                  <a:lnTo>
                    <a:pt x="198" y="925"/>
                  </a:lnTo>
                  <a:lnTo>
                    <a:pt x="205" y="925"/>
                  </a:lnTo>
                  <a:lnTo>
                    <a:pt x="217" y="926"/>
                  </a:lnTo>
                  <a:lnTo>
                    <a:pt x="232" y="929"/>
                  </a:lnTo>
                  <a:lnTo>
                    <a:pt x="246" y="930"/>
                  </a:lnTo>
                  <a:lnTo>
                    <a:pt x="260" y="931"/>
                  </a:lnTo>
                  <a:lnTo>
                    <a:pt x="271" y="942"/>
                  </a:lnTo>
                  <a:lnTo>
                    <a:pt x="286" y="945"/>
                  </a:lnTo>
                  <a:lnTo>
                    <a:pt x="299" y="948"/>
                  </a:lnTo>
                  <a:lnTo>
                    <a:pt x="300" y="951"/>
                  </a:lnTo>
                  <a:lnTo>
                    <a:pt x="304" y="954"/>
                  </a:lnTo>
                  <a:lnTo>
                    <a:pt x="307" y="955"/>
                  </a:lnTo>
                  <a:lnTo>
                    <a:pt x="308" y="958"/>
                  </a:lnTo>
                  <a:lnTo>
                    <a:pt x="309" y="961"/>
                  </a:lnTo>
                  <a:lnTo>
                    <a:pt x="310" y="964"/>
                  </a:lnTo>
                  <a:lnTo>
                    <a:pt x="318" y="968"/>
                  </a:lnTo>
                  <a:lnTo>
                    <a:pt x="329" y="976"/>
                  </a:lnTo>
                  <a:lnTo>
                    <a:pt x="341" y="983"/>
                  </a:lnTo>
                  <a:lnTo>
                    <a:pt x="349" y="987"/>
                  </a:lnTo>
                  <a:lnTo>
                    <a:pt x="357" y="998"/>
                  </a:lnTo>
                  <a:lnTo>
                    <a:pt x="365" y="1009"/>
                  </a:lnTo>
                  <a:lnTo>
                    <a:pt x="370" y="1012"/>
                  </a:lnTo>
                  <a:lnTo>
                    <a:pt x="377" y="1022"/>
                  </a:lnTo>
                  <a:lnTo>
                    <a:pt x="380" y="1028"/>
                  </a:lnTo>
                  <a:lnTo>
                    <a:pt x="385" y="1032"/>
                  </a:lnTo>
                  <a:lnTo>
                    <a:pt x="389" y="1035"/>
                  </a:lnTo>
                  <a:lnTo>
                    <a:pt x="392" y="1036"/>
                  </a:lnTo>
                  <a:lnTo>
                    <a:pt x="395" y="1040"/>
                  </a:lnTo>
                  <a:lnTo>
                    <a:pt x="398" y="1046"/>
                  </a:lnTo>
                  <a:lnTo>
                    <a:pt x="404" y="1050"/>
                  </a:lnTo>
                  <a:lnTo>
                    <a:pt x="410" y="1055"/>
                  </a:lnTo>
                  <a:lnTo>
                    <a:pt x="423" y="1064"/>
                  </a:lnTo>
                  <a:lnTo>
                    <a:pt x="432" y="1069"/>
                  </a:lnTo>
                  <a:lnTo>
                    <a:pt x="493" y="1069"/>
                  </a:lnTo>
                  <a:lnTo>
                    <a:pt x="493" y="1066"/>
                  </a:lnTo>
                  <a:lnTo>
                    <a:pt x="496" y="1065"/>
                  </a:lnTo>
                  <a:lnTo>
                    <a:pt x="500" y="1064"/>
                  </a:lnTo>
                  <a:lnTo>
                    <a:pt x="504" y="1064"/>
                  </a:lnTo>
                  <a:lnTo>
                    <a:pt x="506" y="1058"/>
                  </a:lnTo>
                  <a:lnTo>
                    <a:pt x="510" y="1053"/>
                  </a:lnTo>
                  <a:lnTo>
                    <a:pt x="525" y="1053"/>
                  </a:lnTo>
                  <a:lnTo>
                    <a:pt x="547" y="1053"/>
                  </a:lnTo>
                  <a:lnTo>
                    <a:pt x="557" y="1054"/>
                  </a:lnTo>
                  <a:lnTo>
                    <a:pt x="565" y="1055"/>
                  </a:lnTo>
                  <a:lnTo>
                    <a:pt x="569" y="1057"/>
                  </a:lnTo>
                  <a:lnTo>
                    <a:pt x="572" y="1059"/>
                  </a:lnTo>
                  <a:lnTo>
                    <a:pt x="574" y="1061"/>
                  </a:lnTo>
                  <a:lnTo>
                    <a:pt x="576" y="1064"/>
                  </a:lnTo>
                  <a:lnTo>
                    <a:pt x="589" y="1067"/>
                  </a:lnTo>
                  <a:lnTo>
                    <a:pt x="603" y="1069"/>
                  </a:lnTo>
                  <a:lnTo>
                    <a:pt x="620" y="1080"/>
                  </a:lnTo>
                  <a:lnTo>
                    <a:pt x="637" y="1092"/>
                  </a:lnTo>
                  <a:lnTo>
                    <a:pt x="687" y="1093"/>
                  </a:lnTo>
                  <a:lnTo>
                    <a:pt x="741" y="1094"/>
                  </a:lnTo>
                  <a:lnTo>
                    <a:pt x="795" y="1097"/>
                  </a:lnTo>
                  <a:lnTo>
                    <a:pt x="850" y="1099"/>
                  </a:lnTo>
                  <a:lnTo>
                    <a:pt x="906" y="1103"/>
                  </a:lnTo>
                  <a:lnTo>
                    <a:pt x="962" y="1106"/>
                  </a:lnTo>
                  <a:lnTo>
                    <a:pt x="1015" y="1107"/>
                  </a:lnTo>
                  <a:lnTo>
                    <a:pt x="1069" y="1108"/>
                  </a:lnTo>
                  <a:lnTo>
                    <a:pt x="1069" y="1092"/>
                  </a:lnTo>
                  <a:lnTo>
                    <a:pt x="1064" y="1090"/>
                  </a:lnTo>
                  <a:lnTo>
                    <a:pt x="1061" y="1086"/>
                  </a:lnTo>
                  <a:lnTo>
                    <a:pt x="1059" y="1083"/>
                  </a:lnTo>
                  <a:lnTo>
                    <a:pt x="1058" y="1080"/>
                  </a:lnTo>
                  <a:lnTo>
                    <a:pt x="1049" y="1078"/>
                  </a:lnTo>
                  <a:lnTo>
                    <a:pt x="1037" y="1075"/>
                  </a:lnTo>
                  <a:lnTo>
                    <a:pt x="1030" y="1072"/>
                  </a:lnTo>
                  <a:lnTo>
                    <a:pt x="1024" y="1069"/>
                  </a:lnTo>
                  <a:lnTo>
                    <a:pt x="1020" y="1066"/>
                  </a:lnTo>
                  <a:lnTo>
                    <a:pt x="1019" y="1064"/>
                  </a:lnTo>
                  <a:lnTo>
                    <a:pt x="1008" y="1064"/>
                  </a:lnTo>
                  <a:lnTo>
                    <a:pt x="1002" y="1058"/>
                  </a:lnTo>
                  <a:lnTo>
                    <a:pt x="996" y="1053"/>
                  </a:lnTo>
                  <a:lnTo>
                    <a:pt x="994" y="1046"/>
                  </a:lnTo>
                  <a:lnTo>
                    <a:pt x="987" y="1036"/>
                  </a:lnTo>
                  <a:lnTo>
                    <a:pt x="981" y="1027"/>
                  </a:lnTo>
                  <a:lnTo>
                    <a:pt x="974" y="1020"/>
                  </a:lnTo>
                  <a:lnTo>
                    <a:pt x="974" y="942"/>
                  </a:lnTo>
                  <a:lnTo>
                    <a:pt x="980" y="936"/>
                  </a:lnTo>
                  <a:lnTo>
                    <a:pt x="985" y="931"/>
                  </a:lnTo>
                  <a:lnTo>
                    <a:pt x="995" y="930"/>
                  </a:lnTo>
                  <a:lnTo>
                    <a:pt x="1009" y="929"/>
                  </a:lnTo>
                  <a:lnTo>
                    <a:pt x="1022" y="926"/>
                  </a:lnTo>
                  <a:lnTo>
                    <a:pt x="1035" y="925"/>
                  </a:lnTo>
                  <a:lnTo>
                    <a:pt x="1037" y="923"/>
                  </a:lnTo>
                  <a:lnTo>
                    <a:pt x="1038" y="921"/>
                  </a:lnTo>
                  <a:lnTo>
                    <a:pt x="1041" y="920"/>
                  </a:lnTo>
                  <a:lnTo>
                    <a:pt x="1044" y="920"/>
                  </a:lnTo>
                  <a:lnTo>
                    <a:pt x="1054" y="920"/>
                  </a:lnTo>
                  <a:lnTo>
                    <a:pt x="1066" y="923"/>
                  </a:lnTo>
                  <a:lnTo>
                    <a:pt x="1077" y="926"/>
                  </a:lnTo>
                  <a:lnTo>
                    <a:pt x="1087" y="930"/>
                  </a:lnTo>
                  <a:lnTo>
                    <a:pt x="1094" y="934"/>
                  </a:lnTo>
                  <a:lnTo>
                    <a:pt x="1097" y="936"/>
                  </a:lnTo>
                  <a:lnTo>
                    <a:pt x="1107" y="940"/>
                  </a:lnTo>
                  <a:lnTo>
                    <a:pt x="1118" y="942"/>
                  </a:lnTo>
                  <a:lnTo>
                    <a:pt x="1119" y="945"/>
                  </a:lnTo>
                  <a:lnTo>
                    <a:pt x="1120" y="949"/>
                  </a:lnTo>
                  <a:lnTo>
                    <a:pt x="1123" y="951"/>
                  </a:lnTo>
                  <a:lnTo>
                    <a:pt x="1125" y="954"/>
                  </a:lnTo>
                  <a:lnTo>
                    <a:pt x="1131" y="961"/>
                  </a:lnTo>
                  <a:lnTo>
                    <a:pt x="1138" y="967"/>
                  </a:lnTo>
                  <a:lnTo>
                    <a:pt x="1146" y="972"/>
                  </a:lnTo>
                  <a:lnTo>
                    <a:pt x="1154" y="977"/>
                  </a:lnTo>
                  <a:lnTo>
                    <a:pt x="1159" y="982"/>
                  </a:lnTo>
                  <a:lnTo>
                    <a:pt x="1163" y="987"/>
                  </a:lnTo>
                  <a:lnTo>
                    <a:pt x="1171" y="989"/>
                  </a:lnTo>
                  <a:lnTo>
                    <a:pt x="1179" y="992"/>
                  </a:lnTo>
                  <a:lnTo>
                    <a:pt x="1181" y="996"/>
                  </a:lnTo>
                  <a:lnTo>
                    <a:pt x="1185" y="998"/>
                  </a:lnTo>
                  <a:lnTo>
                    <a:pt x="1187" y="1000"/>
                  </a:lnTo>
                  <a:lnTo>
                    <a:pt x="1188" y="1002"/>
                  </a:lnTo>
                  <a:lnTo>
                    <a:pt x="1190" y="1005"/>
                  </a:lnTo>
                  <a:lnTo>
                    <a:pt x="1191" y="1009"/>
                  </a:lnTo>
                  <a:lnTo>
                    <a:pt x="1198" y="1011"/>
                  </a:lnTo>
                  <a:lnTo>
                    <a:pt x="1207" y="1015"/>
                  </a:lnTo>
                  <a:lnTo>
                    <a:pt x="1213" y="1020"/>
                  </a:lnTo>
                  <a:lnTo>
                    <a:pt x="1213" y="1030"/>
                  </a:lnTo>
                  <a:lnTo>
                    <a:pt x="1216" y="1031"/>
                  </a:lnTo>
                  <a:lnTo>
                    <a:pt x="1220" y="1032"/>
                  </a:lnTo>
                  <a:lnTo>
                    <a:pt x="1221" y="1035"/>
                  </a:lnTo>
                  <a:lnTo>
                    <a:pt x="1223" y="1036"/>
                  </a:lnTo>
                  <a:lnTo>
                    <a:pt x="1226" y="1040"/>
                  </a:lnTo>
                  <a:lnTo>
                    <a:pt x="1230" y="1041"/>
                  </a:lnTo>
                  <a:lnTo>
                    <a:pt x="1232" y="1058"/>
                  </a:lnTo>
                  <a:lnTo>
                    <a:pt x="1235" y="1075"/>
                  </a:lnTo>
                  <a:lnTo>
                    <a:pt x="1246" y="1080"/>
                  </a:lnTo>
                  <a:lnTo>
                    <a:pt x="1246" y="1085"/>
                  </a:lnTo>
                  <a:lnTo>
                    <a:pt x="1248" y="1089"/>
                  </a:lnTo>
                  <a:lnTo>
                    <a:pt x="1250" y="1095"/>
                  </a:lnTo>
                  <a:lnTo>
                    <a:pt x="1252" y="1099"/>
                  </a:lnTo>
                  <a:lnTo>
                    <a:pt x="1258" y="1108"/>
                  </a:lnTo>
                  <a:lnTo>
                    <a:pt x="1262" y="1114"/>
                  </a:lnTo>
                  <a:lnTo>
                    <a:pt x="1263" y="1125"/>
                  </a:lnTo>
                  <a:lnTo>
                    <a:pt x="1265" y="1138"/>
                  </a:lnTo>
                  <a:lnTo>
                    <a:pt x="1268" y="1154"/>
                  </a:lnTo>
                  <a:lnTo>
                    <a:pt x="1271" y="1170"/>
                  </a:lnTo>
                  <a:lnTo>
                    <a:pt x="1274" y="1186"/>
                  </a:lnTo>
                  <a:lnTo>
                    <a:pt x="1277" y="1202"/>
                  </a:lnTo>
                  <a:lnTo>
                    <a:pt x="1279" y="1217"/>
                  </a:lnTo>
                  <a:lnTo>
                    <a:pt x="1279" y="1230"/>
                  </a:lnTo>
                  <a:lnTo>
                    <a:pt x="1307" y="1230"/>
                  </a:lnTo>
                  <a:lnTo>
                    <a:pt x="1308" y="1227"/>
                  </a:lnTo>
                  <a:lnTo>
                    <a:pt x="1310" y="1226"/>
                  </a:lnTo>
                  <a:lnTo>
                    <a:pt x="1313" y="1224"/>
                  </a:lnTo>
                  <a:lnTo>
                    <a:pt x="1318" y="1224"/>
                  </a:lnTo>
                  <a:lnTo>
                    <a:pt x="1322" y="1215"/>
                  </a:lnTo>
                  <a:lnTo>
                    <a:pt x="1329" y="1207"/>
                  </a:lnTo>
                  <a:lnTo>
                    <a:pt x="1332" y="1203"/>
                  </a:lnTo>
                  <a:lnTo>
                    <a:pt x="1335" y="1200"/>
                  </a:lnTo>
                  <a:lnTo>
                    <a:pt x="1338" y="1198"/>
                  </a:lnTo>
                  <a:lnTo>
                    <a:pt x="1340" y="1197"/>
                  </a:lnTo>
                  <a:lnTo>
                    <a:pt x="1340" y="1185"/>
                  </a:lnTo>
                  <a:lnTo>
                    <a:pt x="1346" y="1180"/>
                  </a:lnTo>
                  <a:lnTo>
                    <a:pt x="1351" y="1174"/>
                  </a:lnTo>
                  <a:lnTo>
                    <a:pt x="1354" y="1173"/>
                  </a:lnTo>
                  <a:lnTo>
                    <a:pt x="1358" y="1170"/>
                  </a:lnTo>
                  <a:lnTo>
                    <a:pt x="1363" y="1165"/>
                  </a:lnTo>
                  <a:lnTo>
                    <a:pt x="1369" y="1159"/>
                  </a:lnTo>
                  <a:lnTo>
                    <a:pt x="1383" y="1141"/>
                  </a:lnTo>
                  <a:lnTo>
                    <a:pt x="1397" y="1121"/>
                  </a:lnTo>
                  <a:lnTo>
                    <a:pt x="1425" y="1082"/>
                  </a:lnTo>
                  <a:lnTo>
                    <a:pt x="1440" y="1058"/>
                  </a:lnTo>
                  <a:lnTo>
                    <a:pt x="1456" y="1058"/>
                  </a:lnTo>
                  <a:lnTo>
                    <a:pt x="1473" y="1056"/>
                  </a:lnTo>
                  <a:lnTo>
                    <a:pt x="1489" y="1054"/>
                  </a:lnTo>
                  <a:lnTo>
                    <a:pt x="1503" y="1050"/>
                  </a:lnTo>
                  <a:lnTo>
                    <a:pt x="1517" y="1046"/>
                  </a:lnTo>
                  <a:lnTo>
                    <a:pt x="1530" y="1040"/>
                  </a:lnTo>
                  <a:lnTo>
                    <a:pt x="1542" y="1035"/>
                  </a:lnTo>
                  <a:lnTo>
                    <a:pt x="1556" y="1028"/>
                  </a:lnTo>
                  <a:lnTo>
                    <a:pt x="1540" y="1025"/>
                  </a:lnTo>
                  <a:lnTo>
                    <a:pt x="1522" y="1021"/>
                  </a:lnTo>
                  <a:lnTo>
                    <a:pt x="1514" y="1021"/>
                  </a:lnTo>
                  <a:lnTo>
                    <a:pt x="1507" y="1022"/>
                  </a:lnTo>
                  <a:lnTo>
                    <a:pt x="1504" y="1024"/>
                  </a:lnTo>
                  <a:lnTo>
                    <a:pt x="1502" y="1026"/>
                  </a:lnTo>
                  <a:lnTo>
                    <a:pt x="1501" y="1028"/>
                  </a:lnTo>
                  <a:lnTo>
                    <a:pt x="1501" y="1030"/>
                  </a:lnTo>
                  <a:lnTo>
                    <a:pt x="1496" y="1031"/>
                  </a:lnTo>
                  <a:lnTo>
                    <a:pt x="1493" y="1031"/>
                  </a:lnTo>
                  <a:lnTo>
                    <a:pt x="1491" y="1034"/>
                  </a:lnTo>
                  <a:lnTo>
                    <a:pt x="1490" y="1036"/>
                  </a:lnTo>
                  <a:lnTo>
                    <a:pt x="1481" y="1036"/>
                  </a:lnTo>
                  <a:lnTo>
                    <a:pt x="1470" y="1036"/>
                  </a:lnTo>
                  <a:lnTo>
                    <a:pt x="1460" y="1036"/>
                  </a:lnTo>
                  <a:lnTo>
                    <a:pt x="1451" y="1036"/>
                  </a:lnTo>
                  <a:lnTo>
                    <a:pt x="1445" y="1025"/>
                  </a:lnTo>
                  <a:lnTo>
                    <a:pt x="1441" y="1025"/>
                  </a:lnTo>
                  <a:lnTo>
                    <a:pt x="1437" y="1021"/>
                  </a:lnTo>
                  <a:lnTo>
                    <a:pt x="1433" y="1018"/>
                  </a:lnTo>
                  <a:lnTo>
                    <a:pt x="1428" y="1012"/>
                  </a:lnTo>
                  <a:lnTo>
                    <a:pt x="1421" y="999"/>
                  </a:lnTo>
                  <a:lnTo>
                    <a:pt x="1414" y="983"/>
                  </a:lnTo>
                  <a:lnTo>
                    <a:pt x="1406" y="969"/>
                  </a:lnTo>
                  <a:lnTo>
                    <a:pt x="1400" y="955"/>
                  </a:lnTo>
                  <a:lnTo>
                    <a:pt x="1397" y="950"/>
                  </a:lnTo>
                  <a:lnTo>
                    <a:pt x="1395" y="945"/>
                  </a:lnTo>
                  <a:lnTo>
                    <a:pt x="1392" y="943"/>
                  </a:lnTo>
                  <a:lnTo>
                    <a:pt x="1390" y="942"/>
                  </a:lnTo>
                  <a:lnTo>
                    <a:pt x="1390" y="931"/>
                  </a:lnTo>
                  <a:lnTo>
                    <a:pt x="1385" y="929"/>
                  </a:lnTo>
                  <a:lnTo>
                    <a:pt x="1379" y="925"/>
                  </a:lnTo>
                  <a:lnTo>
                    <a:pt x="1379" y="914"/>
                  </a:lnTo>
                  <a:lnTo>
                    <a:pt x="1374" y="909"/>
                  </a:lnTo>
                  <a:lnTo>
                    <a:pt x="1369" y="907"/>
                  </a:lnTo>
                  <a:lnTo>
                    <a:pt x="1365" y="904"/>
                  </a:lnTo>
                  <a:lnTo>
                    <a:pt x="1361" y="900"/>
                  </a:lnTo>
                  <a:lnTo>
                    <a:pt x="1357" y="895"/>
                  </a:lnTo>
                  <a:lnTo>
                    <a:pt x="1350" y="885"/>
                  </a:lnTo>
                  <a:lnTo>
                    <a:pt x="1346" y="881"/>
                  </a:lnTo>
                  <a:lnTo>
                    <a:pt x="1344" y="876"/>
                  </a:lnTo>
                  <a:lnTo>
                    <a:pt x="1339" y="871"/>
                  </a:lnTo>
                  <a:lnTo>
                    <a:pt x="1334" y="866"/>
                  </a:lnTo>
                  <a:lnTo>
                    <a:pt x="1329" y="865"/>
                  </a:lnTo>
                  <a:lnTo>
                    <a:pt x="1329" y="858"/>
                  </a:lnTo>
                  <a:lnTo>
                    <a:pt x="1328" y="854"/>
                  </a:lnTo>
                  <a:lnTo>
                    <a:pt x="1327" y="853"/>
                  </a:lnTo>
                  <a:lnTo>
                    <a:pt x="1326" y="852"/>
                  </a:lnTo>
                  <a:lnTo>
                    <a:pt x="1326" y="853"/>
                  </a:lnTo>
                  <a:lnTo>
                    <a:pt x="1325" y="852"/>
                  </a:lnTo>
                  <a:lnTo>
                    <a:pt x="1323" y="851"/>
                  </a:lnTo>
                  <a:lnTo>
                    <a:pt x="1323" y="848"/>
                  </a:lnTo>
                  <a:lnTo>
                    <a:pt x="1312" y="843"/>
                  </a:lnTo>
                  <a:lnTo>
                    <a:pt x="1312" y="838"/>
                  </a:lnTo>
                  <a:lnTo>
                    <a:pt x="1311" y="835"/>
                  </a:lnTo>
                  <a:lnTo>
                    <a:pt x="1310" y="833"/>
                  </a:lnTo>
                  <a:lnTo>
                    <a:pt x="1307" y="832"/>
                  </a:lnTo>
                  <a:lnTo>
                    <a:pt x="1306" y="822"/>
                  </a:lnTo>
                  <a:lnTo>
                    <a:pt x="1304" y="810"/>
                  </a:lnTo>
                  <a:lnTo>
                    <a:pt x="1301" y="800"/>
                  </a:lnTo>
                  <a:lnTo>
                    <a:pt x="1299" y="790"/>
                  </a:lnTo>
                  <a:lnTo>
                    <a:pt x="1296" y="779"/>
                  </a:lnTo>
                  <a:lnTo>
                    <a:pt x="1293" y="769"/>
                  </a:lnTo>
                  <a:lnTo>
                    <a:pt x="1291" y="759"/>
                  </a:lnTo>
                  <a:lnTo>
                    <a:pt x="1290" y="748"/>
                  </a:lnTo>
                  <a:lnTo>
                    <a:pt x="1284" y="746"/>
                  </a:lnTo>
                  <a:lnTo>
                    <a:pt x="1279" y="742"/>
                  </a:lnTo>
                  <a:lnTo>
                    <a:pt x="1273" y="737"/>
                  </a:lnTo>
                  <a:lnTo>
                    <a:pt x="1268" y="731"/>
                  </a:lnTo>
                  <a:lnTo>
                    <a:pt x="1268" y="721"/>
                  </a:lnTo>
                  <a:lnTo>
                    <a:pt x="1262" y="715"/>
                  </a:lnTo>
                  <a:lnTo>
                    <a:pt x="1256" y="710"/>
                  </a:lnTo>
                  <a:lnTo>
                    <a:pt x="1246" y="710"/>
                  </a:lnTo>
                  <a:lnTo>
                    <a:pt x="1241" y="699"/>
                  </a:lnTo>
                  <a:lnTo>
                    <a:pt x="1235" y="693"/>
                  </a:lnTo>
                  <a:lnTo>
                    <a:pt x="1224" y="693"/>
                  </a:lnTo>
                  <a:lnTo>
                    <a:pt x="1223" y="689"/>
                  </a:lnTo>
                  <a:lnTo>
                    <a:pt x="1221" y="685"/>
                  </a:lnTo>
                  <a:lnTo>
                    <a:pt x="1216" y="683"/>
                  </a:lnTo>
                  <a:lnTo>
                    <a:pt x="1213" y="682"/>
                  </a:lnTo>
                  <a:lnTo>
                    <a:pt x="1210" y="676"/>
                  </a:lnTo>
                  <a:lnTo>
                    <a:pt x="1207" y="671"/>
                  </a:lnTo>
                  <a:lnTo>
                    <a:pt x="1194" y="665"/>
                  </a:lnTo>
                  <a:lnTo>
                    <a:pt x="1185" y="660"/>
                  </a:lnTo>
                  <a:lnTo>
                    <a:pt x="1187" y="657"/>
                  </a:lnTo>
                  <a:lnTo>
                    <a:pt x="1195" y="654"/>
                  </a:lnTo>
                  <a:lnTo>
                    <a:pt x="1204" y="651"/>
                  </a:lnTo>
                  <a:lnTo>
                    <a:pt x="1213" y="649"/>
                  </a:lnTo>
                  <a:lnTo>
                    <a:pt x="1214" y="644"/>
                  </a:lnTo>
                  <a:lnTo>
                    <a:pt x="1219" y="641"/>
                  </a:lnTo>
                  <a:lnTo>
                    <a:pt x="1222" y="638"/>
                  </a:lnTo>
                  <a:lnTo>
                    <a:pt x="1224" y="637"/>
                  </a:lnTo>
                  <a:lnTo>
                    <a:pt x="1224" y="633"/>
                  </a:lnTo>
                  <a:lnTo>
                    <a:pt x="1224" y="630"/>
                  </a:lnTo>
                  <a:lnTo>
                    <a:pt x="1226" y="627"/>
                  </a:lnTo>
                  <a:lnTo>
                    <a:pt x="1230" y="626"/>
                  </a:lnTo>
                  <a:lnTo>
                    <a:pt x="1230" y="618"/>
                  </a:lnTo>
                  <a:lnTo>
                    <a:pt x="1230" y="609"/>
                  </a:lnTo>
                  <a:lnTo>
                    <a:pt x="1296" y="609"/>
                  </a:lnTo>
                  <a:lnTo>
                    <a:pt x="1296" y="560"/>
                  </a:lnTo>
                  <a:lnTo>
                    <a:pt x="1301" y="551"/>
                  </a:lnTo>
                  <a:lnTo>
                    <a:pt x="1307" y="538"/>
                  </a:lnTo>
                  <a:lnTo>
                    <a:pt x="1318" y="538"/>
                  </a:lnTo>
                  <a:lnTo>
                    <a:pt x="1323" y="532"/>
                  </a:lnTo>
                  <a:lnTo>
                    <a:pt x="1329" y="527"/>
                  </a:lnTo>
                  <a:lnTo>
                    <a:pt x="1335" y="521"/>
                  </a:lnTo>
                  <a:lnTo>
                    <a:pt x="1340" y="516"/>
                  </a:lnTo>
                  <a:lnTo>
                    <a:pt x="1340" y="510"/>
                  </a:lnTo>
                  <a:lnTo>
                    <a:pt x="1340" y="502"/>
                  </a:lnTo>
                  <a:lnTo>
                    <a:pt x="1341" y="499"/>
                  </a:lnTo>
                  <a:lnTo>
                    <a:pt x="1342" y="497"/>
                  </a:lnTo>
                  <a:lnTo>
                    <a:pt x="1344" y="494"/>
                  </a:lnTo>
                  <a:lnTo>
                    <a:pt x="1346" y="493"/>
                  </a:lnTo>
                  <a:lnTo>
                    <a:pt x="1346" y="449"/>
                  </a:lnTo>
                  <a:lnTo>
                    <a:pt x="1335" y="443"/>
                  </a:lnTo>
                  <a:lnTo>
                    <a:pt x="1331" y="438"/>
                  </a:lnTo>
                  <a:lnTo>
                    <a:pt x="1329" y="433"/>
                  </a:lnTo>
                  <a:lnTo>
                    <a:pt x="1318" y="433"/>
                  </a:lnTo>
                  <a:lnTo>
                    <a:pt x="1313" y="429"/>
                  </a:lnTo>
                  <a:lnTo>
                    <a:pt x="1310" y="424"/>
                  </a:lnTo>
                  <a:lnTo>
                    <a:pt x="1308" y="420"/>
                  </a:lnTo>
                  <a:lnTo>
                    <a:pt x="1307" y="416"/>
                  </a:lnTo>
                  <a:lnTo>
                    <a:pt x="1296" y="411"/>
                  </a:lnTo>
                  <a:lnTo>
                    <a:pt x="1284" y="405"/>
                  </a:lnTo>
                  <a:lnTo>
                    <a:pt x="1283" y="401"/>
                  </a:lnTo>
                  <a:lnTo>
                    <a:pt x="1280" y="396"/>
                  </a:lnTo>
                  <a:lnTo>
                    <a:pt x="1275" y="392"/>
                  </a:lnTo>
                  <a:lnTo>
                    <a:pt x="1271" y="387"/>
                  </a:lnTo>
                  <a:lnTo>
                    <a:pt x="1265" y="383"/>
                  </a:lnTo>
                  <a:lnTo>
                    <a:pt x="1261" y="377"/>
                  </a:lnTo>
                  <a:lnTo>
                    <a:pt x="1258" y="372"/>
                  </a:lnTo>
                  <a:lnTo>
                    <a:pt x="1256" y="366"/>
                  </a:lnTo>
                  <a:lnTo>
                    <a:pt x="1246" y="359"/>
                  </a:lnTo>
                  <a:lnTo>
                    <a:pt x="1227" y="344"/>
                  </a:lnTo>
                  <a:lnTo>
                    <a:pt x="1210" y="328"/>
                  </a:lnTo>
                  <a:lnTo>
                    <a:pt x="1202" y="322"/>
                  </a:lnTo>
                  <a:lnTo>
                    <a:pt x="1185" y="310"/>
                  </a:lnTo>
                  <a:lnTo>
                    <a:pt x="1168" y="299"/>
                  </a:lnTo>
                  <a:lnTo>
                    <a:pt x="1167" y="292"/>
                  </a:lnTo>
                  <a:lnTo>
                    <a:pt x="1165" y="287"/>
                  </a:lnTo>
                  <a:lnTo>
                    <a:pt x="1162" y="281"/>
                  </a:lnTo>
                  <a:lnTo>
                    <a:pt x="1157" y="278"/>
                  </a:lnTo>
                  <a:lnTo>
                    <a:pt x="1157" y="267"/>
                  </a:lnTo>
                  <a:lnTo>
                    <a:pt x="1146" y="261"/>
                  </a:lnTo>
                  <a:lnTo>
                    <a:pt x="1146" y="250"/>
                  </a:lnTo>
                  <a:lnTo>
                    <a:pt x="1143" y="249"/>
                  </a:lnTo>
                  <a:lnTo>
                    <a:pt x="1142" y="247"/>
                  </a:lnTo>
                  <a:lnTo>
                    <a:pt x="1140" y="242"/>
                  </a:lnTo>
                  <a:lnTo>
                    <a:pt x="1140" y="239"/>
                  </a:lnTo>
                  <a:lnTo>
                    <a:pt x="1135" y="233"/>
                  </a:lnTo>
                  <a:lnTo>
                    <a:pt x="1129" y="228"/>
                  </a:lnTo>
                  <a:lnTo>
                    <a:pt x="1124" y="222"/>
                  </a:lnTo>
                  <a:lnTo>
                    <a:pt x="1118" y="217"/>
                  </a:lnTo>
                  <a:lnTo>
                    <a:pt x="1110" y="213"/>
                  </a:lnTo>
                  <a:lnTo>
                    <a:pt x="1101" y="211"/>
                  </a:lnTo>
                  <a:lnTo>
                    <a:pt x="1101" y="209"/>
                  </a:lnTo>
                  <a:lnTo>
                    <a:pt x="1099" y="207"/>
                  </a:lnTo>
                  <a:lnTo>
                    <a:pt x="1096" y="203"/>
                  </a:lnTo>
                  <a:lnTo>
                    <a:pt x="1092" y="201"/>
                  </a:lnTo>
                  <a:lnTo>
                    <a:pt x="1086" y="197"/>
                  </a:lnTo>
                  <a:lnTo>
                    <a:pt x="1080" y="194"/>
                  </a:lnTo>
                  <a:lnTo>
                    <a:pt x="1077" y="189"/>
                  </a:lnTo>
                  <a:lnTo>
                    <a:pt x="1075" y="183"/>
                  </a:lnTo>
                  <a:lnTo>
                    <a:pt x="1051" y="183"/>
                  </a:lnTo>
                  <a:lnTo>
                    <a:pt x="1029" y="184"/>
                  </a:lnTo>
                  <a:lnTo>
                    <a:pt x="1005" y="185"/>
                  </a:lnTo>
                  <a:lnTo>
                    <a:pt x="983" y="186"/>
                  </a:lnTo>
                  <a:lnTo>
                    <a:pt x="960" y="188"/>
                  </a:lnTo>
                  <a:lnTo>
                    <a:pt x="937" y="188"/>
                  </a:lnTo>
                  <a:lnTo>
                    <a:pt x="914" y="189"/>
                  </a:lnTo>
                  <a:lnTo>
                    <a:pt x="891" y="189"/>
                  </a:lnTo>
                  <a:lnTo>
                    <a:pt x="889" y="186"/>
                  </a:lnTo>
                  <a:lnTo>
                    <a:pt x="885" y="181"/>
                  </a:lnTo>
                  <a:lnTo>
                    <a:pt x="879" y="175"/>
                  </a:lnTo>
                  <a:lnTo>
                    <a:pt x="875" y="172"/>
                  </a:lnTo>
                  <a:lnTo>
                    <a:pt x="875" y="161"/>
                  </a:lnTo>
                  <a:lnTo>
                    <a:pt x="864" y="150"/>
                  </a:lnTo>
                  <a:lnTo>
                    <a:pt x="862" y="123"/>
                  </a:lnTo>
                  <a:lnTo>
                    <a:pt x="861" y="92"/>
                  </a:lnTo>
                  <a:lnTo>
                    <a:pt x="859" y="59"/>
                  </a:lnTo>
                  <a:lnTo>
                    <a:pt x="858" y="28"/>
                  </a:lnTo>
                  <a:lnTo>
                    <a:pt x="856" y="28"/>
                  </a:lnTo>
                  <a:lnTo>
                    <a:pt x="854" y="27"/>
                  </a:lnTo>
                  <a:lnTo>
                    <a:pt x="852" y="25"/>
                  </a:lnTo>
                  <a:lnTo>
                    <a:pt x="850" y="22"/>
                  </a:lnTo>
                  <a:lnTo>
                    <a:pt x="848" y="17"/>
                  </a:lnTo>
                  <a:lnTo>
                    <a:pt x="847" y="11"/>
                  </a:lnTo>
                  <a:lnTo>
                    <a:pt x="841" y="6"/>
                  </a:lnTo>
                  <a:lnTo>
                    <a:pt x="830" y="6"/>
                  </a:lnTo>
                  <a:lnTo>
                    <a:pt x="829" y="5"/>
                  </a:lnTo>
                  <a:lnTo>
                    <a:pt x="826" y="3"/>
                  </a:lnTo>
                  <a:lnTo>
                    <a:pt x="820" y="2"/>
                  </a:lnTo>
                  <a:lnTo>
                    <a:pt x="813" y="1"/>
                  </a:lnTo>
                  <a:lnTo>
                    <a:pt x="800" y="1"/>
                  </a:lnTo>
                  <a:lnTo>
                    <a:pt x="792" y="0"/>
                  </a:lnTo>
                  <a:lnTo>
                    <a:pt x="792" y="11"/>
                  </a:lnTo>
                  <a:lnTo>
                    <a:pt x="787" y="22"/>
                  </a:lnTo>
                  <a:lnTo>
                    <a:pt x="782" y="24"/>
                  </a:lnTo>
                  <a:lnTo>
                    <a:pt x="779" y="26"/>
                  </a:lnTo>
                  <a:lnTo>
                    <a:pt x="776" y="28"/>
                  </a:lnTo>
                  <a:lnTo>
                    <a:pt x="773" y="31"/>
                  </a:lnTo>
                  <a:lnTo>
                    <a:pt x="771" y="37"/>
                  </a:lnTo>
                  <a:lnTo>
                    <a:pt x="770" y="39"/>
                  </a:lnTo>
                  <a:lnTo>
                    <a:pt x="770" y="50"/>
                  </a:lnTo>
                  <a:lnTo>
                    <a:pt x="768" y="51"/>
                  </a:lnTo>
                  <a:lnTo>
                    <a:pt x="766" y="53"/>
                  </a:lnTo>
                  <a:lnTo>
                    <a:pt x="765" y="55"/>
                  </a:lnTo>
                  <a:lnTo>
                    <a:pt x="764" y="57"/>
                  </a:lnTo>
                  <a:lnTo>
                    <a:pt x="764" y="63"/>
                  </a:lnTo>
                  <a:lnTo>
                    <a:pt x="764" y="67"/>
                  </a:lnTo>
                  <a:lnTo>
                    <a:pt x="753" y="67"/>
                  </a:lnTo>
                  <a:lnTo>
                    <a:pt x="750" y="69"/>
                  </a:lnTo>
                  <a:lnTo>
                    <a:pt x="742" y="70"/>
                  </a:lnTo>
                  <a:lnTo>
                    <a:pt x="731" y="72"/>
                  </a:lnTo>
                  <a:lnTo>
                    <a:pt x="718" y="72"/>
                  </a:lnTo>
                  <a:lnTo>
                    <a:pt x="692" y="73"/>
                  </a:lnTo>
                  <a:lnTo>
                    <a:pt x="675" y="73"/>
                  </a:lnTo>
                  <a:lnTo>
                    <a:pt x="675" y="76"/>
                  </a:lnTo>
                  <a:lnTo>
                    <a:pt x="672" y="77"/>
                  </a:lnTo>
                  <a:lnTo>
                    <a:pt x="668" y="78"/>
                  </a:lnTo>
                  <a:lnTo>
                    <a:pt x="664" y="78"/>
                  </a:lnTo>
                  <a:lnTo>
                    <a:pt x="664" y="82"/>
                  </a:lnTo>
                  <a:lnTo>
                    <a:pt x="660" y="83"/>
                  </a:lnTo>
                  <a:lnTo>
                    <a:pt x="657" y="84"/>
                  </a:lnTo>
                  <a:lnTo>
                    <a:pt x="654" y="84"/>
                  </a:lnTo>
                  <a:lnTo>
                    <a:pt x="653" y="87"/>
                  </a:lnTo>
                  <a:lnTo>
                    <a:pt x="649" y="88"/>
                  </a:lnTo>
                  <a:lnTo>
                    <a:pt x="646" y="89"/>
                  </a:lnTo>
                  <a:lnTo>
                    <a:pt x="643" y="89"/>
                  </a:lnTo>
                  <a:lnTo>
                    <a:pt x="640" y="93"/>
                  </a:lnTo>
                  <a:lnTo>
                    <a:pt x="637" y="97"/>
                  </a:lnTo>
                  <a:lnTo>
                    <a:pt x="632" y="99"/>
                  </a:lnTo>
                  <a:lnTo>
                    <a:pt x="631" y="101"/>
                  </a:lnTo>
                  <a:lnTo>
                    <a:pt x="631" y="117"/>
                  </a:lnTo>
                  <a:lnTo>
                    <a:pt x="629" y="117"/>
                  </a:lnTo>
                  <a:lnTo>
                    <a:pt x="628" y="118"/>
                  </a:lnTo>
                  <a:lnTo>
                    <a:pt x="627" y="121"/>
                  </a:lnTo>
                  <a:lnTo>
                    <a:pt x="626" y="123"/>
                  </a:lnTo>
                  <a:lnTo>
                    <a:pt x="626" y="128"/>
                  </a:lnTo>
                  <a:lnTo>
                    <a:pt x="626" y="134"/>
                  </a:lnTo>
                  <a:lnTo>
                    <a:pt x="615" y="138"/>
                  </a:lnTo>
                  <a:lnTo>
                    <a:pt x="615" y="150"/>
                  </a:lnTo>
                  <a:lnTo>
                    <a:pt x="609" y="155"/>
                  </a:lnTo>
                  <a:lnTo>
                    <a:pt x="598" y="155"/>
                  </a:lnTo>
                  <a:lnTo>
                    <a:pt x="589" y="164"/>
                  </a:lnTo>
                  <a:lnTo>
                    <a:pt x="581" y="172"/>
                  </a:lnTo>
                  <a:lnTo>
                    <a:pt x="567" y="172"/>
                  </a:lnTo>
                  <a:lnTo>
                    <a:pt x="551" y="170"/>
                  </a:lnTo>
                  <a:lnTo>
                    <a:pt x="534" y="167"/>
                  </a:lnTo>
                  <a:lnTo>
                    <a:pt x="519" y="164"/>
                  </a:lnTo>
                  <a:lnTo>
                    <a:pt x="503" y="161"/>
                  </a:lnTo>
                  <a:lnTo>
                    <a:pt x="490" y="159"/>
                  </a:lnTo>
                  <a:lnTo>
                    <a:pt x="476" y="156"/>
                  </a:lnTo>
                  <a:lnTo>
                    <a:pt x="465" y="155"/>
                  </a:lnTo>
                  <a:lnTo>
                    <a:pt x="464" y="153"/>
                  </a:lnTo>
                  <a:lnTo>
                    <a:pt x="461" y="151"/>
                  </a:lnTo>
                  <a:lnTo>
                    <a:pt x="456" y="147"/>
                  </a:lnTo>
                  <a:lnTo>
                    <a:pt x="451" y="145"/>
                  </a:lnTo>
                  <a:lnTo>
                    <a:pt x="439" y="141"/>
                  </a:lnTo>
                  <a:lnTo>
                    <a:pt x="432" y="138"/>
                  </a:lnTo>
                  <a:lnTo>
                    <a:pt x="432" y="137"/>
                  </a:lnTo>
                  <a:lnTo>
                    <a:pt x="429" y="136"/>
                  </a:lnTo>
                  <a:lnTo>
                    <a:pt x="428" y="135"/>
                  </a:lnTo>
                  <a:lnTo>
                    <a:pt x="425" y="134"/>
                  </a:lnTo>
                  <a:lnTo>
                    <a:pt x="420" y="134"/>
                  </a:lnTo>
                  <a:lnTo>
                    <a:pt x="415" y="134"/>
                  </a:lnTo>
                  <a:lnTo>
                    <a:pt x="414" y="131"/>
                  </a:lnTo>
                  <a:lnTo>
                    <a:pt x="411" y="128"/>
                  </a:lnTo>
                  <a:lnTo>
                    <a:pt x="408" y="128"/>
                  </a:lnTo>
                  <a:lnTo>
                    <a:pt x="404" y="128"/>
                  </a:lnTo>
                  <a:lnTo>
                    <a:pt x="404" y="126"/>
                  </a:lnTo>
                  <a:lnTo>
                    <a:pt x="403" y="124"/>
                  </a:lnTo>
                  <a:lnTo>
                    <a:pt x="400" y="122"/>
                  </a:lnTo>
                  <a:lnTo>
                    <a:pt x="398" y="121"/>
                  </a:lnTo>
                  <a:lnTo>
                    <a:pt x="392" y="118"/>
                  </a:lnTo>
                  <a:lnTo>
                    <a:pt x="387" y="117"/>
                  </a:lnTo>
                  <a:lnTo>
                    <a:pt x="381" y="112"/>
                  </a:lnTo>
                  <a:lnTo>
                    <a:pt x="381" y="101"/>
                  </a:lnTo>
                  <a:lnTo>
                    <a:pt x="376" y="95"/>
                  </a:lnTo>
                  <a:lnTo>
                    <a:pt x="365" y="92"/>
                  </a:lnTo>
                  <a:lnTo>
                    <a:pt x="349" y="89"/>
                  </a:lnTo>
                  <a:lnTo>
                    <a:pt x="349" y="8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58" name="Freeform 24"/>
            <p:cNvSpPr>
              <a:spLocks noChangeAspect="1"/>
            </p:cNvSpPr>
            <p:nvPr/>
          </p:nvSpPr>
          <p:spPr bwMode="gray">
            <a:xfrm rot="355651">
              <a:off x="5995331" y="3473450"/>
              <a:ext cx="283533" cy="196952"/>
            </a:xfrm>
            <a:custGeom>
              <a:avLst/>
              <a:gdLst/>
              <a:ahLst/>
              <a:cxnLst>
                <a:cxn ang="0">
                  <a:pos x="302" y="115"/>
                </a:cxn>
                <a:cxn ang="0">
                  <a:pos x="259" y="163"/>
                </a:cxn>
                <a:cxn ang="0">
                  <a:pos x="215" y="189"/>
                </a:cxn>
                <a:cxn ang="0">
                  <a:pos x="205" y="361"/>
                </a:cxn>
                <a:cxn ang="0">
                  <a:pos x="205" y="527"/>
                </a:cxn>
                <a:cxn ang="0">
                  <a:pos x="243" y="572"/>
                </a:cxn>
                <a:cxn ang="0">
                  <a:pos x="241" y="724"/>
                </a:cxn>
                <a:cxn ang="0">
                  <a:pos x="188" y="748"/>
                </a:cxn>
                <a:cxn ang="0">
                  <a:pos x="116" y="791"/>
                </a:cxn>
                <a:cxn ang="0">
                  <a:pos x="77" y="822"/>
                </a:cxn>
                <a:cxn ang="0">
                  <a:pos x="55" y="848"/>
                </a:cxn>
                <a:cxn ang="0">
                  <a:pos x="5" y="897"/>
                </a:cxn>
                <a:cxn ang="0">
                  <a:pos x="137" y="935"/>
                </a:cxn>
                <a:cxn ang="0">
                  <a:pos x="198" y="925"/>
                </a:cxn>
                <a:cxn ang="0">
                  <a:pos x="304" y="954"/>
                </a:cxn>
                <a:cxn ang="0">
                  <a:pos x="365" y="1009"/>
                </a:cxn>
                <a:cxn ang="0">
                  <a:pos x="410" y="1055"/>
                </a:cxn>
                <a:cxn ang="0">
                  <a:pos x="525" y="1053"/>
                </a:cxn>
                <a:cxn ang="0">
                  <a:pos x="620" y="1080"/>
                </a:cxn>
                <a:cxn ang="0">
                  <a:pos x="1069" y="1092"/>
                </a:cxn>
                <a:cxn ang="0">
                  <a:pos x="1019" y="1064"/>
                </a:cxn>
                <a:cxn ang="0">
                  <a:pos x="985" y="931"/>
                </a:cxn>
                <a:cxn ang="0">
                  <a:pos x="1066" y="923"/>
                </a:cxn>
                <a:cxn ang="0">
                  <a:pos x="1125" y="954"/>
                </a:cxn>
                <a:cxn ang="0">
                  <a:pos x="1185" y="998"/>
                </a:cxn>
                <a:cxn ang="0">
                  <a:pos x="1220" y="1032"/>
                </a:cxn>
                <a:cxn ang="0">
                  <a:pos x="1250" y="1095"/>
                </a:cxn>
                <a:cxn ang="0">
                  <a:pos x="1279" y="1217"/>
                </a:cxn>
                <a:cxn ang="0">
                  <a:pos x="1335" y="1200"/>
                </a:cxn>
                <a:cxn ang="0">
                  <a:pos x="1383" y="1141"/>
                </a:cxn>
                <a:cxn ang="0">
                  <a:pos x="1542" y="1035"/>
                </a:cxn>
                <a:cxn ang="0">
                  <a:pos x="1496" y="1031"/>
                </a:cxn>
                <a:cxn ang="0">
                  <a:pos x="1437" y="1021"/>
                </a:cxn>
                <a:cxn ang="0">
                  <a:pos x="1390" y="942"/>
                </a:cxn>
                <a:cxn ang="0">
                  <a:pos x="1350" y="885"/>
                </a:cxn>
                <a:cxn ang="0">
                  <a:pos x="1326" y="853"/>
                </a:cxn>
                <a:cxn ang="0">
                  <a:pos x="1304" y="810"/>
                </a:cxn>
                <a:cxn ang="0">
                  <a:pos x="1268" y="731"/>
                </a:cxn>
                <a:cxn ang="0">
                  <a:pos x="1216" y="683"/>
                </a:cxn>
                <a:cxn ang="0">
                  <a:pos x="1214" y="644"/>
                </a:cxn>
                <a:cxn ang="0">
                  <a:pos x="1296" y="609"/>
                </a:cxn>
                <a:cxn ang="0">
                  <a:pos x="1340" y="502"/>
                </a:cxn>
                <a:cxn ang="0">
                  <a:pos x="1313" y="429"/>
                </a:cxn>
                <a:cxn ang="0">
                  <a:pos x="1265" y="383"/>
                </a:cxn>
                <a:cxn ang="0">
                  <a:pos x="1167" y="292"/>
                </a:cxn>
                <a:cxn ang="0">
                  <a:pos x="1140" y="239"/>
                </a:cxn>
                <a:cxn ang="0">
                  <a:pos x="1092" y="201"/>
                </a:cxn>
                <a:cxn ang="0">
                  <a:pos x="937" y="188"/>
                </a:cxn>
                <a:cxn ang="0">
                  <a:pos x="861" y="92"/>
                </a:cxn>
                <a:cxn ang="0">
                  <a:pos x="830" y="6"/>
                </a:cxn>
                <a:cxn ang="0">
                  <a:pos x="779" y="26"/>
                </a:cxn>
                <a:cxn ang="0">
                  <a:pos x="764" y="63"/>
                </a:cxn>
                <a:cxn ang="0">
                  <a:pos x="672" y="77"/>
                </a:cxn>
                <a:cxn ang="0">
                  <a:pos x="643" y="89"/>
                </a:cxn>
                <a:cxn ang="0">
                  <a:pos x="626" y="128"/>
                </a:cxn>
                <a:cxn ang="0">
                  <a:pos x="534" y="167"/>
                </a:cxn>
                <a:cxn ang="0">
                  <a:pos x="439" y="141"/>
                </a:cxn>
                <a:cxn ang="0">
                  <a:pos x="408" y="128"/>
                </a:cxn>
                <a:cxn ang="0">
                  <a:pos x="376" y="95"/>
                </a:cxn>
              </a:cxnLst>
              <a:rect l="0" t="0" r="r" b="b"/>
              <a:pathLst>
                <a:path w="1556" h="1230">
                  <a:moveTo>
                    <a:pt x="349" y="84"/>
                  </a:moveTo>
                  <a:lnTo>
                    <a:pt x="343" y="86"/>
                  </a:lnTo>
                  <a:lnTo>
                    <a:pt x="338" y="89"/>
                  </a:lnTo>
                  <a:lnTo>
                    <a:pt x="331" y="95"/>
                  </a:lnTo>
                  <a:lnTo>
                    <a:pt x="327" y="101"/>
                  </a:lnTo>
                  <a:lnTo>
                    <a:pt x="315" y="101"/>
                  </a:lnTo>
                  <a:lnTo>
                    <a:pt x="312" y="106"/>
                  </a:lnTo>
                  <a:lnTo>
                    <a:pt x="310" y="112"/>
                  </a:lnTo>
                  <a:lnTo>
                    <a:pt x="305" y="113"/>
                  </a:lnTo>
                  <a:lnTo>
                    <a:pt x="302" y="115"/>
                  </a:lnTo>
                  <a:lnTo>
                    <a:pt x="300" y="118"/>
                  </a:lnTo>
                  <a:lnTo>
                    <a:pt x="299" y="123"/>
                  </a:lnTo>
                  <a:lnTo>
                    <a:pt x="288" y="128"/>
                  </a:lnTo>
                  <a:lnTo>
                    <a:pt x="288" y="138"/>
                  </a:lnTo>
                  <a:lnTo>
                    <a:pt x="282" y="142"/>
                  </a:lnTo>
                  <a:lnTo>
                    <a:pt x="276" y="144"/>
                  </a:lnTo>
                  <a:lnTo>
                    <a:pt x="276" y="155"/>
                  </a:lnTo>
                  <a:lnTo>
                    <a:pt x="271" y="161"/>
                  </a:lnTo>
                  <a:lnTo>
                    <a:pt x="260" y="161"/>
                  </a:lnTo>
                  <a:lnTo>
                    <a:pt x="259" y="163"/>
                  </a:lnTo>
                  <a:lnTo>
                    <a:pt x="255" y="165"/>
                  </a:lnTo>
                  <a:lnTo>
                    <a:pt x="251" y="167"/>
                  </a:lnTo>
                  <a:lnTo>
                    <a:pt x="245" y="169"/>
                  </a:lnTo>
                  <a:lnTo>
                    <a:pt x="234" y="171"/>
                  </a:lnTo>
                  <a:lnTo>
                    <a:pt x="226" y="172"/>
                  </a:lnTo>
                  <a:lnTo>
                    <a:pt x="221" y="178"/>
                  </a:lnTo>
                  <a:lnTo>
                    <a:pt x="221" y="182"/>
                  </a:lnTo>
                  <a:lnTo>
                    <a:pt x="221" y="185"/>
                  </a:lnTo>
                  <a:lnTo>
                    <a:pt x="218" y="188"/>
                  </a:lnTo>
                  <a:lnTo>
                    <a:pt x="215" y="189"/>
                  </a:lnTo>
                  <a:lnTo>
                    <a:pt x="215" y="224"/>
                  </a:lnTo>
                  <a:lnTo>
                    <a:pt x="213" y="263"/>
                  </a:lnTo>
                  <a:lnTo>
                    <a:pt x="211" y="303"/>
                  </a:lnTo>
                  <a:lnTo>
                    <a:pt x="211" y="338"/>
                  </a:lnTo>
                  <a:lnTo>
                    <a:pt x="208" y="339"/>
                  </a:lnTo>
                  <a:lnTo>
                    <a:pt x="207" y="342"/>
                  </a:lnTo>
                  <a:lnTo>
                    <a:pt x="206" y="344"/>
                  </a:lnTo>
                  <a:lnTo>
                    <a:pt x="205" y="347"/>
                  </a:lnTo>
                  <a:lnTo>
                    <a:pt x="205" y="355"/>
                  </a:lnTo>
                  <a:lnTo>
                    <a:pt x="205" y="361"/>
                  </a:lnTo>
                  <a:lnTo>
                    <a:pt x="203" y="361"/>
                  </a:lnTo>
                  <a:lnTo>
                    <a:pt x="200" y="363"/>
                  </a:lnTo>
                  <a:lnTo>
                    <a:pt x="199" y="365"/>
                  </a:lnTo>
                  <a:lnTo>
                    <a:pt x="198" y="367"/>
                  </a:lnTo>
                  <a:lnTo>
                    <a:pt x="196" y="375"/>
                  </a:lnTo>
                  <a:lnTo>
                    <a:pt x="195" y="386"/>
                  </a:lnTo>
                  <a:lnTo>
                    <a:pt x="195" y="412"/>
                  </a:lnTo>
                  <a:lnTo>
                    <a:pt x="196" y="442"/>
                  </a:lnTo>
                  <a:lnTo>
                    <a:pt x="202" y="499"/>
                  </a:lnTo>
                  <a:lnTo>
                    <a:pt x="205" y="527"/>
                  </a:lnTo>
                  <a:lnTo>
                    <a:pt x="211" y="529"/>
                  </a:lnTo>
                  <a:lnTo>
                    <a:pt x="215" y="532"/>
                  </a:lnTo>
                  <a:lnTo>
                    <a:pt x="218" y="544"/>
                  </a:lnTo>
                  <a:lnTo>
                    <a:pt x="221" y="555"/>
                  </a:lnTo>
                  <a:lnTo>
                    <a:pt x="225" y="557"/>
                  </a:lnTo>
                  <a:lnTo>
                    <a:pt x="231" y="563"/>
                  </a:lnTo>
                  <a:lnTo>
                    <a:pt x="233" y="566"/>
                  </a:lnTo>
                  <a:lnTo>
                    <a:pt x="236" y="568"/>
                  </a:lnTo>
                  <a:lnTo>
                    <a:pt x="240" y="570"/>
                  </a:lnTo>
                  <a:lnTo>
                    <a:pt x="243" y="572"/>
                  </a:lnTo>
                  <a:lnTo>
                    <a:pt x="246" y="597"/>
                  </a:lnTo>
                  <a:lnTo>
                    <a:pt x="252" y="631"/>
                  </a:lnTo>
                  <a:lnTo>
                    <a:pt x="254" y="649"/>
                  </a:lnTo>
                  <a:lnTo>
                    <a:pt x="257" y="666"/>
                  </a:lnTo>
                  <a:lnTo>
                    <a:pt x="260" y="683"/>
                  </a:lnTo>
                  <a:lnTo>
                    <a:pt x="260" y="699"/>
                  </a:lnTo>
                  <a:lnTo>
                    <a:pt x="254" y="708"/>
                  </a:lnTo>
                  <a:lnTo>
                    <a:pt x="248" y="721"/>
                  </a:lnTo>
                  <a:lnTo>
                    <a:pt x="245" y="721"/>
                  </a:lnTo>
                  <a:lnTo>
                    <a:pt x="241" y="724"/>
                  </a:lnTo>
                  <a:lnTo>
                    <a:pt x="238" y="728"/>
                  </a:lnTo>
                  <a:lnTo>
                    <a:pt x="237" y="731"/>
                  </a:lnTo>
                  <a:lnTo>
                    <a:pt x="232" y="737"/>
                  </a:lnTo>
                  <a:lnTo>
                    <a:pt x="221" y="737"/>
                  </a:lnTo>
                  <a:lnTo>
                    <a:pt x="219" y="741"/>
                  </a:lnTo>
                  <a:lnTo>
                    <a:pt x="216" y="743"/>
                  </a:lnTo>
                  <a:lnTo>
                    <a:pt x="212" y="746"/>
                  </a:lnTo>
                  <a:lnTo>
                    <a:pt x="206" y="747"/>
                  </a:lnTo>
                  <a:lnTo>
                    <a:pt x="195" y="748"/>
                  </a:lnTo>
                  <a:lnTo>
                    <a:pt x="188" y="748"/>
                  </a:lnTo>
                  <a:lnTo>
                    <a:pt x="180" y="752"/>
                  </a:lnTo>
                  <a:lnTo>
                    <a:pt x="163" y="762"/>
                  </a:lnTo>
                  <a:lnTo>
                    <a:pt x="144" y="771"/>
                  </a:lnTo>
                  <a:lnTo>
                    <a:pt x="132" y="776"/>
                  </a:lnTo>
                  <a:lnTo>
                    <a:pt x="127" y="781"/>
                  </a:lnTo>
                  <a:lnTo>
                    <a:pt x="127" y="784"/>
                  </a:lnTo>
                  <a:lnTo>
                    <a:pt x="125" y="786"/>
                  </a:lnTo>
                  <a:lnTo>
                    <a:pt x="123" y="788"/>
                  </a:lnTo>
                  <a:lnTo>
                    <a:pt x="121" y="789"/>
                  </a:lnTo>
                  <a:lnTo>
                    <a:pt x="116" y="791"/>
                  </a:lnTo>
                  <a:lnTo>
                    <a:pt x="110" y="792"/>
                  </a:lnTo>
                  <a:lnTo>
                    <a:pt x="108" y="797"/>
                  </a:lnTo>
                  <a:lnTo>
                    <a:pt x="104" y="800"/>
                  </a:lnTo>
                  <a:lnTo>
                    <a:pt x="100" y="805"/>
                  </a:lnTo>
                  <a:lnTo>
                    <a:pt x="96" y="808"/>
                  </a:lnTo>
                  <a:lnTo>
                    <a:pt x="91" y="810"/>
                  </a:lnTo>
                  <a:lnTo>
                    <a:pt x="87" y="813"/>
                  </a:lnTo>
                  <a:lnTo>
                    <a:pt x="81" y="814"/>
                  </a:lnTo>
                  <a:lnTo>
                    <a:pt x="77" y="815"/>
                  </a:lnTo>
                  <a:lnTo>
                    <a:pt x="77" y="822"/>
                  </a:lnTo>
                  <a:lnTo>
                    <a:pt x="77" y="825"/>
                  </a:lnTo>
                  <a:lnTo>
                    <a:pt x="75" y="827"/>
                  </a:lnTo>
                  <a:lnTo>
                    <a:pt x="74" y="827"/>
                  </a:lnTo>
                  <a:lnTo>
                    <a:pt x="73" y="827"/>
                  </a:lnTo>
                  <a:lnTo>
                    <a:pt x="72" y="827"/>
                  </a:lnTo>
                  <a:lnTo>
                    <a:pt x="72" y="828"/>
                  </a:lnTo>
                  <a:lnTo>
                    <a:pt x="71" y="832"/>
                  </a:lnTo>
                  <a:lnTo>
                    <a:pt x="63" y="834"/>
                  </a:lnTo>
                  <a:lnTo>
                    <a:pt x="55" y="837"/>
                  </a:lnTo>
                  <a:lnTo>
                    <a:pt x="55" y="848"/>
                  </a:lnTo>
                  <a:lnTo>
                    <a:pt x="51" y="849"/>
                  </a:lnTo>
                  <a:lnTo>
                    <a:pt x="48" y="852"/>
                  </a:lnTo>
                  <a:lnTo>
                    <a:pt x="45" y="855"/>
                  </a:lnTo>
                  <a:lnTo>
                    <a:pt x="44" y="859"/>
                  </a:lnTo>
                  <a:lnTo>
                    <a:pt x="40" y="859"/>
                  </a:lnTo>
                  <a:lnTo>
                    <a:pt x="36" y="863"/>
                  </a:lnTo>
                  <a:lnTo>
                    <a:pt x="34" y="866"/>
                  </a:lnTo>
                  <a:lnTo>
                    <a:pt x="33" y="871"/>
                  </a:lnTo>
                  <a:lnTo>
                    <a:pt x="19" y="884"/>
                  </a:lnTo>
                  <a:lnTo>
                    <a:pt x="5" y="897"/>
                  </a:lnTo>
                  <a:lnTo>
                    <a:pt x="0" y="903"/>
                  </a:lnTo>
                  <a:lnTo>
                    <a:pt x="0" y="917"/>
                  </a:lnTo>
                  <a:lnTo>
                    <a:pt x="0" y="931"/>
                  </a:lnTo>
                  <a:lnTo>
                    <a:pt x="11" y="936"/>
                  </a:lnTo>
                  <a:lnTo>
                    <a:pt x="13" y="942"/>
                  </a:lnTo>
                  <a:lnTo>
                    <a:pt x="16" y="948"/>
                  </a:lnTo>
                  <a:lnTo>
                    <a:pt x="116" y="948"/>
                  </a:lnTo>
                  <a:lnTo>
                    <a:pt x="127" y="936"/>
                  </a:lnTo>
                  <a:lnTo>
                    <a:pt x="132" y="936"/>
                  </a:lnTo>
                  <a:lnTo>
                    <a:pt x="137" y="935"/>
                  </a:lnTo>
                  <a:lnTo>
                    <a:pt x="140" y="935"/>
                  </a:lnTo>
                  <a:lnTo>
                    <a:pt x="141" y="934"/>
                  </a:lnTo>
                  <a:lnTo>
                    <a:pt x="144" y="933"/>
                  </a:lnTo>
                  <a:lnTo>
                    <a:pt x="144" y="931"/>
                  </a:lnTo>
                  <a:lnTo>
                    <a:pt x="177" y="931"/>
                  </a:lnTo>
                  <a:lnTo>
                    <a:pt x="178" y="930"/>
                  </a:lnTo>
                  <a:lnTo>
                    <a:pt x="180" y="928"/>
                  </a:lnTo>
                  <a:lnTo>
                    <a:pt x="184" y="926"/>
                  </a:lnTo>
                  <a:lnTo>
                    <a:pt x="188" y="926"/>
                  </a:lnTo>
                  <a:lnTo>
                    <a:pt x="198" y="925"/>
                  </a:lnTo>
                  <a:lnTo>
                    <a:pt x="205" y="925"/>
                  </a:lnTo>
                  <a:lnTo>
                    <a:pt x="217" y="926"/>
                  </a:lnTo>
                  <a:lnTo>
                    <a:pt x="232" y="929"/>
                  </a:lnTo>
                  <a:lnTo>
                    <a:pt x="246" y="930"/>
                  </a:lnTo>
                  <a:lnTo>
                    <a:pt x="260" y="931"/>
                  </a:lnTo>
                  <a:lnTo>
                    <a:pt x="271" y="942"/>
                  </a:lnTo>
                  <a:lnTo>
                    <a:pt x="286" y="945"/>
                  </a:lnTo>
                  <a:lnTo>
                    <a:pt x="299" y="948"/>
                  </a:lnTo>
                  <a:lnTo>
                    <a:pt x="300" y="951"/>
                  </a:lnTo>
                  <a:lnTo>
                    <a:pt x="304" y="954"/>
                  </a:lnTo>
                  <a:lnTo>
                    <a:pt x="307" y="955"/>
                  </a:lnTo>
                  <a:lnTo>
                    <a:pt x="308" y="958"/>
                  </a:lnTo>
                  <a:lnTo>
                    <a:pt x="309" y="961"/>
                  </a:lnTo>
                  <a:lnTo>
                    <a:pt x="310" y="964"/>
                  </a:lnTo>
                  <a:lnTo>
                    <a:pt x="318" y="968"/>
                  </a:lnTo>
                  <a:lnTo>
                    <a:pt x="329" y="976"/>
                  </a:lnTo>
                  <a:lnTo>
                    <a:pt x="341" y="983"/>
                  </a:lnTo>
                  <a:lnTo>
                    <a:pt x="349" y="987"/>
                  </a:lnTo>
                  <a:lnTo>
                    <a:pt x="357" y="998"/>
                  </a:lnTo>
                  <a:lnTo>
                    <a:pt x="365" y="1009"/>
                  </a:lnTo>
                  <a:lnTo>
                    <a:pt x="370" y="1012"/>
                  </a:lnTo>
                  <a:lnTo>
                    <a:pt x="377" y="1022"/>
                  </a:lnTo>
                  <a:lnTo>
                    <a:pt x="380" y="1028"/>
                  </a:lnTo>
                  <a:lnTo>
                    <a:pt x="385" y="1032"/>
                  </a:lnTo>
                  <a:lnTo>
                    <a:pt x="389" y="1035"/>
                  </a:lnTo>
                  <a:lnTo>
                    <a:pt x="392" y="1036"/>
                  </a:lnTo>
                  <a:lnTo>
                    <a:pt x="395" y="1040"/>
                  </a:lnTo>
                  <a:lnTo>
                    <a:pt x="398" y="1046"/>
                  </a:lnTo>
                  <a:lnTo>
                    <a:pt x="404" y="1050"/>
                  </a:lnTo>
                  <a:lnTo>
                    <a:pt x="410" y="1055"/>
                  </a:lnTo>
                  <a:lnTo>
                    <a:pt x="423" y="1064"/>
                  </a:lnTo>
                  <a:lnTo>
                    <a:pt x="432" y="1069"/>
                  </a:lnTo>
                  <a:lnTo>
                    <a:pt x="493" y="1069"/>
                  </a:lnTo>
                  <a:lnTo>
                    <a:pt x="493" y="1066"/>
                  </a:lnTo>
                  <a:lnTo>
                    <a:pt x="496" y="1065"/>
                  </a:lnTo>
                  <a:lnTo>
                    <a:pt x="500" y="1064"/>
                  </a:lnTo>
                  <a:lnTo>
                    <a:pt x="504" y="1064"/>
                  </a:lnTo>
                  <a:lnTo>
                    <a:pt x="506" y="1058"/>
                  </a:lnTo>
                  <a:lnTo>
                    <a:pt x="510" y="1053"/>
                  </a:lnTo>
                  <a:lnTo>
                    <a:pt x="525" y="1053"/>
                  </a:lnTo>
                  <a:lnTo>
                    <a:pt x="547" y="1053"/>
                  </a:lnTo>
                  <a:lnTo>
                    <a:pt x="557" y="1054"/>
                  </a:lnTo>
                  <a:lnTo>
                    <a:pt x="565" y="1055"/>
                  </a:lnTo>
                  <a:lnTo>
                    <a:pt x="569" y="1057"/>
                  </a:lnTo>
                  <a:lnTo>
                    <a:pt x="572" y="1059"/>
                  </a:lnTo>
                  <a:lnTo>
                    <a:pt x="574" y="1061"/>
                  </a:lnTo>
                  <a:lnTo>
                    <a:pt x="576" y="1064"/>
                  </a:lnTo>
                  <a:lnTo>
                    <a:pt x="589" y="1067"/>
                  </a:lnTo>
                  <a:lnTo>
                    <a:pt x="603" y="1069"/>
                  </a:lnTo>
                  <a:lnTo>
                    <a:pt x="620" y="1080"/>
                  </a:lnTo>
                  <a:lnTo>
                    <a:pt x="637" y="1092"/>
                  </a:lnTo>
                  <a:lnTo>
                    <a:pt x="687" y="1093"/>
                  </a:lnTo>
                  <a:lnTo>
                    <a:pt x="741" y="1094"/>
                  </a:lnTo>
                  <a:lnTo>
                    <a:pt x="795" y="1097"/>
                  </a:lnTo>
                  <a:lnTo>
                    <a:pt x="850" y="1099"/>
                  </a:lnTo>
                  <a:lnTo>
                    <a:pt x="906" y="1103"/>
                  </a:lnTo>
                  <a:lnTo>
                    <a:pt x="962" y="1106"/>
                  </a:lnTo>
                  <a:lnTo>
                    <a:pt x="1015" y="1107"/>
                  </a:lnTo>
                  <a:lnTo>
                    <a:pt x="1069" y="1108"/>
                  </a:lnTo>
                  <a:lnTo>
                    <a:pt x="1069" y="1092"/>
                  </a:lnTo>
                  <a:lnTo>
                    <a:pt x="1064" y="1090"/>
                  </a:lnTo>
                  <a:lnTo>
                    <a:pt x="1061" y="1086"/>
                  </a:lnTo>
                  <a:lnTo>
                    <a:pt x="1059" y="1083"/>
                  </a:lnTo>
                  <a:lnTo>
                    <a:pt x="1058" y="1080"/>
                  </a:lnTo>
                  <a:lnTo>
                    <a:pt x="1049" y="1078"/>
                  </a:lnTo>
                  <a:lnTo>
                    <a:pt x="1037" y="1075"/>
                  </a:lnTo>
                  <a:lnTo>
                    <a:pt x="1030" y="1072"/>
                  </a:lnTo>
                  <a:lnTo>
                    <a:pt x="1024" y="1069"/>
                  </a:lnTo>
                  <a:lnTo>
                    <a:pt x="1020" y="1066"/>
                  </a:lnTo>
                  <a:lnTo>
                    <a:pt x="1019" y="1064"/>
                  </a:lnTo>
                  <a:lnTo>
                    <a:pt x="1008" y="1064"/>
                  </a:lnTo>
                  <a:lnTo>
                    <a:pt x="1002" y="1058"/>
                  </a:lnTo>
                  <a:lnTo>
                    <a:pt x="996" y="1053"/>
                  </a:lnTo>
                  <a:lnTo>
                    <a:pt x="994" y="1046"/>
                  </a:lnTo>
                  <a:lnTo>
                    <a:pt x="987" y="1036"/>
                  </a:lnTo>
                  <a:lnTo>
                    <a:pt x="981" y="1027"/>
                  </a:lnTo>
                  <a:lnTo>
                    <a:pt x="974" y="1020"/>
                  </a:lnTo>
                  <a:lnTo>
                    <a:pt x="974" y="942"/>
                  </a:lnTo>
                  <a:lnTo>
                    <a:pt x="980" y="936"/>
                  </a:lnTo>
                  <a:lnTo>
                    <a:pt x="985" y="931"/>
                  </a:lnTo>
                  <a:lnTo>
                    <a:pt x="995" y="930"/>
                  </a:lnTo>
                  <a:lnTo>
                    <a:pt x="1009" y="929"/>
                  </a:lnTo>
                  <a:lnTo>
                    <a:pt x="1022" y="926"/>
                  </a:lnTo>
                  <a:lnTo>
                    <a:pt x="1035" y="925"/>
                  </a:lnTo>
                  <a:lnTo>
                    <a:pt x="1037" y="923"/>
                  </a:lnTo>
                  <a:lnTo>
                    <a:pt x="1038" y="921"/>
                  </a:lnTo>
                  <a:lnTo>
                    <a:pt x="1041" y="920"/>
                  </a:lnTo>
                  <a:lnTo>
                    <a:pt x="1044" y="920"/>
                  </a:lnTo>
                  <a:lnTo>
                    <a:pt x="1054" y="920"/>
                  </a:lnTo>
                  <a:lnTo>
                    <a:pt x="1066" y="923"/>
                  </a:lnTo>
                  <a:lnTo>
                    <a:pt x="1077" y="926"/>
                  </a:lnTo>
                  <a:lnTo>
                    <a:pt x="1087" y="930"/>
                  </a:lnTo>
                  <a:lnTo>
                    <a:pt x="1094" y="934"/>
                  </a:lnTo>
                  <a:lnTo>
                    <a:pt x="1097" y="936"/>
                  </a:lnTo>
                  <a:lnTo>
                    <a:pt x="1107" y="940"/>
                  </a:lnTo>
                  <a:lnTo>
                    <a:pt x="1118" y="942"/>
                  </a:lnTo>
                  <a:lnTo>
                    <a:pt x="1119" y="945"/>
                  </a:lnTo>
                  <a:lnTo>
                    <a:pt x="1120" y="949"/>
                  </a:lnTo>
                  <a:lnTo>
                    <a:pt x="1123" y="951"/>
                  </a:lnTo>
                  <a:lnTo>
                    <a:pt x="1125" y="954"/>
                  </a:lnTo>
                  <a:lnTo>
                    <a:pt x="1131" y="961"/>
                  </a:lnTo>
                  <a:lnTo>
                    <a:pt x="1138" y="967"/>
                  </a:lnTo>
                  <a:lnTo>
                    <a:pt x="1146" y="972"/>
                  </a:lnTo>
                  <a:lnTo>
                    <a:pt x="1154" y="977"/>
                  </a:lnTo>
                  <a:lnTo>
                    <a:pt x="1159" y="982"/>
                  </a:lnTo>
                  <a:lnTo>
                    <a:pt x="1163" y="987"/>
                  </a:lnTo>
                  <a:lnTo>
                    <a:pt x="1171" y="989"/>
                  </a:lnTo>
                  <a:lnTo>
                    <a:pt x="1179" y="992"/>
                  </a:lnTo>
                  <a:lnTo>
                    <a:pt x="1181" y="996"/>
                  </a:lnTo>
                  <a:lnTo>
                    <a:pt x="1185" y="998"/>
                  </a:lnTo>
                  <a:lnTo>
                    <a:pt x="1187" y="1000"/>
                  </a:lnTo>
                  <a:lnTo>
                    <a:pt x="1188" y="1002"/>
                  </a:lnTo>
                  <a:lnTo>
                    <a:pt x="1190" y="1005"/>
                  </a:lnTo>
                  <a:lnTo>
                    <a:pt x="1191" y="1009"/>
                  </a:lnTo>
                  <a:lnTo>
                    <a:pt x="1198" y="1011"/>
                  </a:lnTo>
                  <a:lnTo>
                    <a:pt x="1207" y="1015"/>
                  </a:lnTo>
                  <a:lnTo>
                    <a:pt x="1213" y="1020"/>
                  </a:lnTo>
                  <a:lnTo>
                    <a:pt x="1213" y="1030"/>
                  </a:lnTo>
                  <a:lnTo>
                    <a:pt x="1216" y="1031"/>
                  </a:lnTo>
                  <a:lnTo>
                    <a:pt x="1220" y="1032"/>
                  </a:lnTo>
                  <a:lnTo>
                    <a:pt x="1221" y="1035"/>
                  </a:lnTo>
                  <a:lnTo>
                    <a:pt x="1223" y="1036"/>
                  </a:lnTo>
                  <a:lnTo>
                    <a:pt x="1226" y="1040"/>
                  </a:lnTo>
                  <a:lnTo>
                    <a:pt x="1230" y="1041"/>
                  </a:lnTo>
                  <a:lnTo>
                    <a:pt x="1232" y="1058"/>
                  </a:lnTo>
                  <a:lnTo>
                    <a:pt x="1235" y="1075"/>
                  </a:lnTo>
                  <a:lnTo>
                    <a:pt x="1246" y="1080"/>
                  </a:lnTo>
                  <a:lnTo>
                    <a:pt x="1246" y="1085"/>
                  </a:lnTo>
                  <a:lnTo>
                    <a:pt x="1248" y="1089"/>
                  </a:lnTo>
                  <a:lnTo>
                    <a:pt x="1250" y="1095"/>
                  </a:lnTo>
                  <a:lnTo>
                    <a:pt x="1252" y="1099"/>
                  </a:lnTo>
                  <a:lnTo>
                    <a:pt x="1258" y="1108"/>
                  </a:lnTo>
                  <a:lnTo>
                    <a:pt x="1262" y="1114"/>
                  </a:lnTo>
                  <a:lnTo>
                    <a:pt x="1263" y="1125"/>
                  </a:lnTo>
                  <a:lnTo>
                    <a:pt x="1265" y="1138"/>
                  </a:lnTo>
                  <a:lnTo>
                    <a:pt x="1268" y="1154"/>
                  </a:lnTo>
                  <a:lnTo>
                    <a:pt x="1271" y="1170"/>
                  </a:lnTo>
                  <a:lnTo>
                    <a:pt x="1274" y="1186"/>
                  </a:lnTo>
                  <a:lnTo>
                    <a:pt x="1277" y="1202"/>
                  </a:lnTo>
                  <a:lnTo>
                    <a:pt x="1279" y="1217"/>
                  </a:lnTo>
                  <a:lnTo>
                    <a:pt x="1279" y="1230"/>
                  </a:lnTo>
                  <a:lnTo>
                    <a:pt x="1307" y="1230"/>
                  </a:lnTo>
                  <a:lnTo>
                    <a:pt x="1308" y="1227"/>
                  </a:lnTo>
                  <a:lnTo>
                    <a:pt x="1310" y="1226"/>
                  </a:lnTo>
                  <a:lnTo>
                    <a:pt x="1313" y="1224"/>
                  </a:lnTo>
                  <a:lnTo>
                    <a:pt x="1318" y="1224"/>
                  </a:lnTo>
                  <a:lnTo>
                    <a:pt x="1322" y="1215"/>
                  </a:lnTo>
                  <a:lnTo>
                    <a:pt x="1329" y="1207"/>
                  </a:lnTo>
                  <a:lnTo>
                    <a:pt x="1332" y="1203"/>
                  </a:lnTo>
                  <a:lnTo>
                    <a:pt x="1335" y="1200"/>
                  </a:lnTo>
                  <a:lnTo>
                    <a:pt x="1338" y="1198"/>
                  </a:lnTo>
                  <a:lnTo>
                    <a:pt x="1340" y="1197"/>
                  </a:lnTo>
                  <a:lnTo>
                    <a:pt x="1340" y="1185"/>
                  </a:lnTo>
                  <a:lnTo>
                    <a:pt x="1346" y="1180"/>
                  </a:lnTo>
                  <a:lnTo>
                    <a:pt x="1351" y="1174"/>
                  </a:lnTo>
                  <a:lnTo>
                    <a:pt x="1354" y="1173"/>
                  </a:lnTo>
                  <a:lnTo>
                    <a:pt x="1358" y="1170"/>
                  </a:lnTo>
                  <a:lnTo>
                    <a:pt x="1363" y="1165"/>
                  </a:lnTo>
                  <a:lnTo>
                    <a:pt x="1369" y="1159"/>
                  </a:lnTo>
                  <a:lnTo>
                    <a:pt x="1383" y="1141"/>
                  </a:lnTo>
                  <a:lnTo>
                    <a:pt x="1397" y="1121"/>
                  </a:lnTo>
                  <a:lnTo>
                    <a:pt x="1425" y="1082"/>
                  </a:lnTo>
                  <a:lnTo>
                    <a:pt x="1440" y="1058"/>
                  </a:lnTo>
                  <a:lnTo>
                    <a:pt x="1456" y="1058"/>
                  </a:lnTo>
                  <a:lnTo>
                    <a:pt x="1473" y="1056"/>
                  </a:lnTo>
                  <a:lnTo>
                    <a:pt x="1489" y="1054"/>
                  </a:lnTo>
                  <a:lnTo>
                    <a:pt x="1503" y="1050"/>
                  </a:lnTo>
                  <a:lnTo>
                    <a:pt x="1517" y="1046"/>
                  </a:lnTo>
                  <a:lnTo>
                    <a:pt x="1530" y="1040"/>
                  </a:lnTo>
                  <a:lnTo>
                    <a:pt x="1542" y="1035"/>
                  </a:lnTo>
                  <a:lnTo>
                    <a:pt x="1556" y="1028"/>
                  </a:lnTo>
                  <a:lnTo>
                    <a:pt x="1540" y="1025"/>
                  </a:lnTo>
                  <a:lnTo>
                    <a:pt x="1522" y="1021"/>
                  </a:lnTo>
                  <a:lnTo>
                    <a:pt x="1514" y="1021"/>
                  </a:lnTo>
                  <a:lnTo>
                    <a:pt x="1507" y="1022"/>
                  </a:lnTo>
                  <a:lnTo>
                    <a:pt x="1504" y="1024"/>
                  </a:lnTo>
                  <a:lnTo>
                    <a:pt x="1502" y="1026"/>
                  </a:lnTo>
                  <a:lnTo>
                    <a:pt x="1501" y="1028"/>
                  </a:lnTo>
                  <a:lnTo>
                    <a:pt x="1501" y="1030"/>
                  </a:lnTo>
                  <a:lnTo>
                    <a:pt x="1496" y="1031"/>
                  </a:lnTo>
                  <a:lnTo>
                    <a:pt x="1493" y="1031"/>
                  </a:lnTo>
                  <a:lnTo>
                    <a:pt x="1491" y="1034"/>
                  </a:lnTo>
                  <a:lnTo>
                    <a:pt x="1490" y="1036"/>
                  </a:lnTo>
                  <a:lnTo>
                    <a:pt x="1481" y="1036"/>
                  </a:lnTo>
                  <a:lnTo>
                    <a:pt x="1470" y="1036"/>
                  </a:lnTo>
                  <a:lnTo>
                    <a:pt x="1460" y="1036"/>
                  </a:lnTo>
                  <a:lnTo>
                    <a:pt x="1451" y="1036"/>
                  </a:lnTo>
                  <a:lnTo>
                    <a:pt x="1445" y="1025"/>
                  </a:lnTo>
                  <a:lnTo>
                    <a:pt x="1441" y="1025"/>
                  </a:lnTo>
                  <a:lnTo>
                    <a:pt x="1437" y="1021"/>
                  </a:lnTo>
                  <a:lnTo>
                    <a:pt x="1433" y="1018"/>
                  </a:lnTo>
                  <a:lnTo>
                    <a:pt x="1428" y="1012"/>
                  </a:lnTo>
                  <a:lnTo>
                    <a:pt x="1421" y="999"/>
                  </a:lnTo>
                  <a:lnTo>
                    <a:pt x="1414" y="983"/>
                  </a:lnTo>
                  <a:lnTo>
                    <a:pt x="1406" y="969"/>
                  </a:lnTo>
                  <a:lnTo>
                    <a:pt x="1400" y="955"/>
                  </a:lnTo>
                  <a:lnTo>
                    <a:pt x="1397" y="950"/>
                  </a:lnTo>
                  <a:lnTo>
                    <a:pt x="1395" y="945"/>
                  </a:lnTo>
                  <a:lnTo>
                    <a:pt x="1392" y="943"/>
                  </a:lnTo>
                  <a:lnTo>
                    <a:pt x="1390" y="942"/>
                  </a:lnTo>
                  <a:lnTo>
                    <a:pt x="1390" y="931"/>
                  </a:lnTo>
                  <a:lnTo>
                    <a:pt x="1385" y="929"/>
                  </a:lnTo>
                  <a:lnTo>
                    <a:pt x="1379" y="925"/>
                  </a:lnTo>
                  <a:lnTo>
                    <a:pt x="1379" y="914"/>
                  </a:lnTo>
                  <a:lnTo>
                    <a:pt x="1374" y="909"/>
                  </a:lnTo>
                  <a:lnTo>
                    <a:pt x="1369" y="907"/>
                  </a:lnTo>
                  <a:lnTo>
                    <a:pt x="1365" y="904"/>
                  </a:lnTo>
                  <a:lnTo>
                    <a:pt x="1361" y="900"/>
                  </a:lnTo>
                  <a:lnTo>
                    <a:pt x="1357" y="895"/>
                  </a:lnTo>
                  <a:lnTo>
                    <a:pt x="1350" y="885"/>
                  </a:lnTo>
                  <a:lnTo>
                    <a:pt x="1346" y="881"/>
                  </a:lnTo>
                  <a:lnTo>
                    <a:pt x="1344" y="876"/>
                  </a:lnTo>
                  <a:lnTo>
                    <a:pt x="1339" y="871"/>
                  </a:lnTo>
                  <a:lnTo>
                    <a:pt x="1334" y="866"/>
                  </a:lnTo>
                  <a:lnTo>
                    <a:pt x="1329" y="865"/>
                  </a:lnTo>
                  <a:lnTo>
                    <a:pt x="1329" y="858"/>
                  </a:lnTo>
                  <a:lnTo>
                    <a:pt x="1328" y="854"/>
                  </a:lnTo>
                  <a:lnTo>
                    <a:pt x="1327" y="853"/>
                  </a:lnTo>
                  <a:lnTo>
                    <a:pt x="1326" y="852"/>
                  </a:lnTo>
                  <a:lnTo>
                    <a:pt x="1326" y="853"/>
                  </a:lnTo>
                  <a:lnTo>
                    <a:pt x="1325" y="852"/>
                  </a:lnTo>
                  <a:lnTo>
                    <a:pt x="1323" y="851"/>
                  </a:lnTo>
                  <a:lnTo>
                    <a:pt x="1323" y="848"/>
                  </a:lnTo>
                  <a:lnTo>
                    <a:pt x="1312" y="843"/>
                  </a:lnTo>
                  <a:lnTo>
                    <a:pt x="1312" y="838"/>
                  </a:lnTo>
                  <a:lnTo>
                    <a:pt x="1311" y="835"/>
                  </a:lnTo>
                  <a:lnTo>
                    <a:pt x="1310" y="833"/>
                  </a:lnTo>
                  <a:lnTo>
                    <a:pt x="1307" y="832"/>
                  </a:lnTo>
                  <a:lnTo>
                    <a:pt x="1306" y="822"/>
                  </a:lnTo>
                  <a:lnTo>
                    <a:pt x="1304" y="810"/>
                  </a:lnTo>
                  <a:lnTo>
                    <a:pt x="1301" y="800"/>
                  </a:lnTo>
                  <a:lnTo>
                    <a:pt x="1299" y="790"/>
                  </a:lnTo>
                  <a:lnTo>
                    <a:pt x="1296" y="779"/>
                  </a:lnTo>
                  <a:lnTo>
                    <a:pt x="1293" y="769"/>
                  </a:lnTo>
                  <a:lnTo>
                    <a:pt x="1291" y="759"/>
                  </a:lnTo>
                  <a:lnTo>
                    <a:pt x="1290" y="748"/>
                  </a:lnTo>
                  <a:lnTo>
                    <a:pt x="1284" y="746"/>
                  </a:lnTo>
                  <a:lnTo>
                    <a:pt x="1279" y="742"/>
                  </a:lnTo>
                  <a:lnTo>
                    <a:pt x="1273" y="737"/>
                  </a:lnTo>
                  <a:lnTo>
                    <a:pt x="1268" y="731"/>
                  </a:lnTo>
                  <a:lnTo>
                    <a:pt x="1268" y="721"/>
                  </a:lnTo>
                  <a:lnTo>
                    <a:pt x="1262" y="715"/>
                  </a:lnTo>
                  <a:lnTo>
                    <a:pt x="1256" y="710"/>
                  </a:lnTo>
                  <a:lnTo>
                    <a:pt x="1246" y="710"/>
                  </a:lnTo>
                  <a:lnTo>
                    <a:pt x="1241" y="699"/>
                  </a:lnTo>
                  <a:lnTo>
                    <a:pt x="1235" y="693"/>
                  </a:lnTo>
                  <a:lnTo>
                    <a:pt x="1224" y="693"/>
                  </a:lnTo>
                  <a:lnTo>
                    <a:pt x="1223" y="689"/>
                  </a:lnTo>
                  <a:lnTo>
                    <a:pt x="1221" y="685"/>
                  </a:lnTo>
                  <a:lnTo>
                    <a:pt x="1216" y="683"/>
                  </a:lnTo>
                  <a:lnTo>
                    <a:pt x="1213" y="682"/>
                  </a:lnTo>
                  <a:lnTo>
                    <a:pt x="1210" y="676"/>
                  </a:lnTo>
                  <a:lnTo>
                    <a:pt x="1207" y="671"/>
                  </a:lnTo>
                  <a:lnTo>
                    <a:pt x="1194" y="665"/>
                  </a:lnTo>
                  <a:lnTo>
                    <a:pt x="1185" y="660"/>
                  </a:lnTo>
                  <a:lnTo>
                    <a:pt x="1187" y="657"/>
                  </a:lnTo>
                  <a:lnTo>
                    <a:pt x="1195" y="654"/>
                  </a:lnTo>
                  <a:lnTo>
                    <a:pt x="1204" y="651"/>
                  </a:lnTo>
                  <a:lnTo>
                    <a:pt x="1213" y="649"/>
                  </a:lnTo>
                  <a:lnTo>
                    <a:pt x="1214" y="644"/>
                  </a:lnTo>
                  <a:lnTo>
                    <a:pt x="1219" y="641"/>
                  </a:lnTo>
                  <a:lnTo>
                    <a:pt x="1222" y="638"/>
                  </a:lnTo>
                  <a:lnTo>
                    <a:pt x="1224" y="637"/>
                  </a:lnTo>
                  <a:lnTo>
                    <a:pt x="1224" y="633"/>
                  </a:lnTo>
                  <a:lnTo>
                    <a:pt x="1224" y="630"/>
                  </a:lnTo>
                  <a:lnTo>
                    <a:pt x="1226" y="627"/>
                  </a:lnTo>
                  <a:lnTo>
                    <a:pt x="1230" y="626"/>
                  </a:lnTo>
                  <a:lnTo>
                    <a:pt x="1230" y="618"/>
                  </a:lnTo>
                  <a:lnTo>
                    <a:pt x="1230" y="609"/>
                  </a:lnTo>
                  <a:lnTo>
                    <a:pt x="1296" y="609"/>
                  </a:lnTo>
                  <a:lnTo>
                    <a:pt x="1296" y="560"/>
                  </a:lnTo>
                  <a:lnTo>
                    <a:pt x="1301" y="551"/>
                  </a:lnTo>
                  <a:lnTo>
                    <a:pt x="1307" y="538"/>
                  </a:lnTo>
                  <a:lnTo>
                    <a:pt x="1318" y="538"/>
                  </a:lnTo>
                  <a:lnTo>
                    <a:pt x="1323" y="532"/>
                  </a:lnTo>
                  <a:lnTo>
                    <a:pt x="1329" y="527"/>
                  </a:lnTo>
                  <a:lnTo>
                    <a:pt x="1335" y="521"/>
                  </a:lnTo>
                  <a:lnTo>
                    <a:pt x="1340" y="516"/>
                  </a:lnTo>
                  <a:lnTo>
                    <a:pt x="1340" y="510"/>
                  </a:lnTo>
                  <a:lnTo>
                    <a:pt x="1340" y="502"/>
                  </a:lnTo>
                  <a:lnTo>
                    <a:pt x="1341" y="499"/>
                  </a:lnTo>
                  <a:lnTo>
                    <a:pt x="1342" y="497"/>
                  </a:lnTo>
                  <a:lnTo>
                    <a:pt x="1344" y="494"/>
                  </a:lnTo>
                  <a:lnTo>
                    <a:pt x="1346" y="493"/>
                  </a:lnTo>
                  <a:lnTo>
                    <a:pt x="1346" y="449"/>
                  </a:lnTo>
                  <a:lnTo>
                    <a:pt x="1335" y="443"/>
                  </a:lnTo>
                  <a:lnTo>
                    <a:pt x="1331" y="438"/>
                  </a:lnTo>
                  <a:lnTo>
                    <a:pt x="1329" y="433"/>
                  </a:lnTo>
                  <a:lnTo>
                    <a:pt x="1318" y="433"/>
                  </a:lnTo>
                  <a:lnTo>
                    <a:pt x="1313" y="429"/>
                  </a:lnTo>
                  <a:lnTo>
                    <a:pt x="1310" y="424"/>
                  </a:lnTo>
                  <a:lnTo>
                    <a:pt x="1308" y="420"/>
                  </a:lnTo>
                  <a:lnTo>
                    <a:pt x="1307" y="416"/>
                  </a:lnTo>
                  <a:lnTo>
                    <a:pt x="1296" y="411"/>
                  </a:lnTo>
                  <a:lnTo>
                    <a:pt x="1284" y="405"/>
                  </a:lnTo>
                  <a:lnTo>
                    <a:pt x="1283" y="401"/>
                  </a:lnTo>
                  <a:lnTo>
                    <a:pt x="1280" y="396"/>
                  </a:lnTo>
                  <a:lnTo>
                    <a:pt x="1275" y="392"/>
                  </a:lnTo>
                  <a:lnTo>
                    <a:pt x="1271" y="387"/>
                  </a:lnTo>
                  <a:lnTo>
                    <a:pt x="1265" y="383"/>
                  </a:lnTo>
                  <a:lnTo>
                    <a:pt x="1261" y="377"/>
                  </a:lnTo>
                  <a:lnTo>
                    <a:pt x="1258" y="372"/>
                  </a:lnTo>
                  <a:lnTo>
                    <a:pt x="1256" y="366"/>
                  </a:lnTo>
                  <a:lnTo>
                    <a:pt x="1246" y="359"/>
                  </a:lnTo>
                  <a:lnTo>
                    <a:pt x="1227" y="344"/>
                  </a:lnTo>
                  <a:lnTo>
                    <a:pt x="1210" y="328"/>
                  </a:lnTo>
                  <a:lnTo>
                    <a:pt x="1202" y="322"/>
                  </a:lnTo>
                  <a:lnTo>
                    <a:pt x="1185" y="310"/>
                  </a:lnTo>
                  <a:lnTo>
                    <a:pt x="1168" y="299"/>
                  </a:lnTo>
                  <a:lnTo>
                    <a:pt x="1167" y="292"/>
                  </a:lnTo>
                  <a:lnTo>
                    <a:pt x="1165" y="287"/>
                  </a:lnTo>
                  <a:lnTo>
                    <a:pt x="1162" y="281"/>
                  </a:lnTo>
                  <a:lnTo>
                    <a:pt x="1157" y="278"/>
                  </a:lnTo>
                  <a:lnTo>
                    <a:pt x="1157" y="267"/>
                  </a:lnTo>
                  <a:lnTo>
                    <a:pt x="1146" y="261"/>
                  </a:lnTo>
                  <a:lnTo>
                    <a:pt x="1146" y="250"/>
                  </a:lnTo>
                  <a:lnTo>
                    <a:pt x="1143" y="249"/>
                  </a:lnTo>
                  <a:lnTo>
                    <a:pt x="1142" y="247"/>
                  </a:lnTo>
                  <a:lnTo>
                    <a:pt x="1140" y="242"/>
                  </a:lnTo>
                  <a:lnTo>
                    <a:pt x="1140" y="239"/>
                  </a:lnTo>
                  <a:lnTo>
                    <a:pt x="1135" y="233"/>
                  </a:lnTo>
                  <a:lnTo>
                    <a:pt x="1129" y="228"/>
                  </a:lnTo>
                  <a:lnTo>
                    <a:pt x="1124" y="222"/>
                  </a:lnTo>
                  <a:lnTo>
                    <a:pt x="1118" y="217"/>
                  </a:lnTo>
                  <a:lnTo>
                    <a:pt x="1110" y="213"/>
                  </a:lnTo>
                  <a:lnTo>
                    <a:pt x="1101" y="211"/>
                  </a:lnTo>
                  <a:lnTo>
                    <a:pt x="1101" y="209"/>
                  </a:lnTo>
                  <a:lnTo>
                    <a:pt x="1099" y="207"/>
                  </a:lnTo>
                  <a:lnTo>
                    <a:pt x="1096" y="203"/>
                  </a:lnTo>
                  <a:lnTo>
                    <a:pt x="1092" y="201"/>
                  </a:lnTo>
                  <a:lnTo>
                    <a:pt x="1086" y="197"/>
                  </a:lnTo>
                  <a:lnTo>
                    <a:pt x="1080" y="194"/>
                  </a:lnTo>
                  <a:lnTo>
                    <a:pt x="1077" y="189"/>
                  </a:lnTo>
                  <a:lnTo>
                    <a:pt x="1075" y="183"/>
                  </a:lnTo>
                  <a:lnTo>
                    <a:pt x="1051" y="183"/>
                  </a:lnTo>
                  <a:lnTo>
                    <a:pt x="1029" y="184"/>
                  </a:lnTo>
                  <a:lnTo>
                    <a:pt x="1005" y="185"/>
                  </a:lnTo>
                  <a:lnTo>
                    <a:pt x="983" y="186"/>
                  </a:lnTo>
                  <a:lnTo>
                    <a:pt x="960" y="188"/>
                  </a:lnTo>
                  <a:lnTo>
                    <a:pt x="937" y="188"/>
                  </a:lnTo>
                  <a:lnTo>
                    <a:pt x="914" y="189"/>
                  </a:lnTo>
                  <a:lnTo>
                    <a:pt x="891" y="189"/>
                  </a:lnTo>
                  <a:lnTo>
                    <a:pt x="889" y="186"/>
                  </a:lnTo>
                  <a:lnTo>
                    <a:pt x="885" y="181"/>
                  </a:lnTo>
                  <a:lnTo>
                    <a:pt x="879" y="175"/>
                  </a:lnTo>
                  <a:lnTo>
                    <a:pt x="875" y="172"/>
                  </a:lnTo>
                  <a:lnTo>
                    <a:pt x="875" y="161"/>
                  </a:lnTo>
                  <a:lnTo>
                    <a:pt x="864" y="150"/>
                  </a:lnTo>
                  <a:lnTo>
                    <a:pt x="862" y="123"/>
                  </a:lnTo>
                  <a:lnTo>
                    <a:pt x="861" y="92"/>
                  </a:lnTo>
                  <a:lnTo>
                    <a:pt x="859" y="59"/>
                  </a:lnTo>
                  <a:lnTo>
                    <a:pt x="858" y="28"/>
                  </a:lnTo>
                  <a:lnTo>
                    <a:pt x="856" y="28"/>
                  </a:lnTo>
                  <a:lnTo>
                    <a:pt x="854" y="27"/>
                  </a:lnTo>
                  <a:lnTo>
                    <a:pt x="852" y="25"/>
                  </a:lnTo>
                  <a:lnTo>
                    <a:pt x="850" y="22"/>
                  </a:lnTo>
                  <a:lnTo>
                    <a:pt x="848" y="17"/>
                  </a:lnTo>
                  <a:lnTo>
                    <a:pt x="847" y="11"/>
                  </a:lnTo>
                  <a:lnTo>
                    <a:pt x="841" y="6"/>
                  </a:lnTo>
                  <a:lnTo>
                    <a:pt x="830" y="6"/>
                  </a:lnTo>
                  <a:lnTo>
                    <a:pt x="829" y="5"/>
                  </a:lnTo>
                  <a:lnTo>
                    <a:pt x="826" y="3"/>
                  </a:lnTo>
                  <a:lnTo>
                    <a:pt x="820" y="2"/>
                  </a:lnTo>
                  <a:lnTo>
                    <a:pt x="813" y="1"/>
                  </a:lnTo>
                  <a:lnTo>
                    <a:pt x="800" y="1"/>
                  </a:lnTo>
                  <a:lnTo>
                    <a:pt x="792" y="0"/>
                  </a:lnTo>
                  <a:lnTo>
                    <a:pt x="792" y="11"/>
                  </a:lnTo>
                  <a:lnTo>
                    <a:pt x="787" y="22"/>
                  </a:lnTo>
                  <a:lnTo>
                    <a:pt x="782" y="24"/>
                  </a:lnTo>
                  <a:lnTo>
                    <a:pt x="779" y="26"/>
                  </a:lnTo>
                  <a:lnTo>
                    <a:pt x="776" y="28"/>
                  </a:lnTo>
                  <a:lnTo>
                    <a:pt x="773" y="31"/>
                  </a:lnTo>
                  <a:lnTo>
                    <a:pt x="771" y="37"/>
                  </a:lnTo>
                  <a:lnTo>
                    <a:pt x="770" y="39"/>
                  </a:lnTo>
                  <a:lnTo>
                    <a:pt x="770" y="50"/>
                  </a:lnTo>
                  <a:lnTo>
                    <a:pt x="768" y="51"/>
                  </a:lnTo>
                  <a:lnTo>
                    <a:pt x="766" y="53"/>
                  </a:lnTo>
                  <a:lnTo>
                    <a:pt x="765" y="55"/>
                  </a:lnTo>
                  <a:lnTo>
                    <a:pt x="764" y="57"/>
                  </a:lnTo>
                  <a:lnTo>
                    <a:pt x="764" y="63"/>
                  </a:lnTo>
                  <a:lnTo>
                    <a:pt x="764" y="67"/>
                  </a:lnTo>
                  <a:lnTo>
                    <a:pt x="753" y="67"/>
                  </a:lnTo>
                  <a:lnTo>
                    <a:pt x="750" y="69"/>
                  </a:lnTo>
                  <a:lnTo>
                    <a:pt x="742" y="70"/>
                  </a:lnTo>
                  <a:lnTo>
                    <a:pt x="731" y="72"/>
                  </a:lnTo>
                  <a:lnTo>
                    <a:pt x="718" y="72"/>
                  </a:lnTo>
                  <a:lnTo>
                    <a:pt x="692" y="73"/>
                  </a:lnTo>
                  <a:lnTo>
                    <a:pt x="675" y="73"/>
                  </a:lnTo>
                  <a:lnTo>
                    <a:pt x="675" y="76"/>
                  </a:lnTo>
                  <a:lnTo>
                    <a:pt x="672" y="77"/>
                  </a:lnTo>
                  <a:lnTo>
                    <a:pt x="668" y="78"/>
                  </a:lnTo>
                  <a:lnTo>
                    <a:pt x="664" y="78"/>
                  </a:lnTo>
                  <a:lnTo>
                    <a:pt x="664" y="82"/>
                  </a:lnTo>
                  <a:lnTo>
                    <a:pt x="660" y="83"/>
                  </a:lnTo>
                  <a:lnTo>
                    <a:pt x="657" y="84"/>
                  </a:lnTo>
                  <a:lnTo>
                    <a:pt x="654" y="84"/>
                  </a:lnTo>
                  <a:lnTo>
                    <a:pt x="653" y="87"/>
                  </a:lnTo>
                  <a:lnTo>
                    <a:pt x="649" y="88"/>
                  </a:lnTo>
                  <a:lnTo>
                    <a:pt x="646" y="89"/>
                  </a:lnTo>
                  <a:lnTo>
                    <a:pt x="643" y="89"/>
                  </a:lnTo>
                  <a:lnTo>
                    <a:pt x="640" y="93"/>
                  </a:lnTo>
                  <a:lnTo>
                    <a:pt x="637" y="97"/>
                  </a:lnTo>
                  <a:lnTo>
                    <a:pt x="632" y="99"/>
                  </a:lnTo>
                  <a:lnTo>
                    <a:pt x="631" y="101"/>
                  </a:lnTo>
                  <a:lnTo>
                    <a:pt x="631" y="117"/>
                  </a:lnTo>
                  <a:lnTo>
                    <a:pt x="629" y="117"/>
                  </a:lnTo>
                  <a:lnTo>
                    <a:pt x="628" y="118"/>
                  </a:lnTo>
                  <a:lnTo>
                    <a:pt x="627" y="121"/>
                  </a:lnTo>
                  <a:lnTo>
                    <a:pt x="626" y="123"/>
                  </a:lnTo>
                  <a:lnTo>
                    <a:pt x="626" y="128"/>
                  </a:lnTo>
                  <a:lnTo>
                    <a:pt x="626" y="134"/>
                  </a:lnTo>
                  <a:lnTo>
                    <a:pt x="615" y="138"/>
                  </a:lnTo>
                  <a:lnTo>
                    <a:pt x="615" y="150"/>
                  </a:lnTo>
                  <a:lnTo>
                    <a:pt x="609" y="155"/>
                  </a:lnTo>
                  <a:lnTo>
                    <a:pt x="598" y="155"/>
                  </a:lnTo>
                  <a:lnTo>
                    <a:pt x="589" y="164"/>
                  </a:lnTo>
                  <a:lnTo>
                    <a:pt x="581" y="172"/>
                  </a:lnTo>
                  <a:lnTo>
                    <a:pt x="567" y="172"/>
                  </a:lnTo>
                  <a:lnTo>
                    <a:pt x="551" y="170"/>
                  </a:lnTo>
                  <a:lnTo>
                    <a:pt x="534" y="167"/>
                  </a:lnTo>
                  <a:lnTo>
                    <a:pt x="519" y="164"/>
                  </a:lnTo>
                  <a:lnTo>
                    <a:pt x="503" y="161"/>
                  </a:lnTo>
                  <a:lnTo>
                    <a:pt x="490" y="159"/>
                  </a:lnTo>
                  <a:lnTo>
                    <a:pt x="476" y="156"/>
                  </a:lnTo>
                  <a:lnTo>
                    <a:pt x="465" y="155"/>
                  </a:lnTo>
                  <a:lnTo>
                    <a:pt x="464" y="153"/>
                  </a:lnTo>
                  <a:lnTo>
                    <a:pt x="461" y="151"/>
                  </a:lnTo>
                  <a:lnTo>
                    <a:pt x="456" y="147"/>
                  </a:lnTo>
                  <a:lnTo>
                    <a:pt x="451" y="145"/>
                  </a:lnTo>
                  <a:lnTo>
                    <a:pt x="439" y="141"/>
                  </a:lnTo>
                  <a:lnTo>
                    <a:pt x="432" y="138"/>
                  </a:lnTo>
                  <a:lnTo>
                    <a:pt x="432" y="137"/>
                  </a:lnTo>
                  <a:lnTo>
                    <a:pt x="429" y="136"/>
                  </a:lnTo>
                  <a:lnTo>
                    <a:pt x="428" y="135"/>
                  </a:lnTo>
                  <a:lnTo>
                    <a:pt x="425" y="134"/>
                  </a:lnTo>
                  <a:lnTo>
                    <a:pt x="420" y="134"/>
                  </a:lnTo>
                  <a:lnTo>
                    <a:pt x="415" y="134"/>
                  </a:lnTo>
                  <a:lnTo>
                    <a:pt x="414" y="131"/>
                  </a:lnTo>
                  <a:lnTo>
                    <a:pt x="411" y="128"/>
                  </a:lnTo>
                  <a:lnTo>
                    <a:pt x="408" y="128"/>
                  </a:lnTo>
                  <a:lnTo>
                    <a:pt x="404" y="128"/>
                  </a:lnTo>
                  <a:lnTo>
                    <a:pt x="404" y="126"/>
                  </a:lnTo>
                  <a:lnTo>
                    <a:pt x="403" y="124"/>
                  </a:lnTo>
                  <a:lnTo>
                    <a:pt x="400" y="122"/>
                  </a:lnTo>
                  <a:lnTo>
                    <a:pt x="398" y="121"/>
                  </a:lnTo>
                  <a:lnTo>
                    <a:pt x="392" y="118"/>
                  </a:lnTo>
                  <a:lnTo>
                    <a:pt x="387" y="117"/>
                  </a:lnTo>
                  <a:lnTo>
                    <a:pt x="381" y="112"/>
                  </a:lnTo>
                  <a:lnTo>
                    <a:pt x="381" y="101"/>
                  </a:lnTo>
                  <a:lnTo>
                    <a:pt x="376" y="95"/>
                  </a:lnTo>
                  <a:lnTo>
                    <a:pt x="365" y="92"/>
                  </a:lnTo>
                  <a:lnTo>
                    <a:pt x="349" y="89"/>
                  </a:lnTo>
                  <a:lnTo>
                    <a:pt x="349" y="8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59" name="Freeform 25"/>
            <p:cNvSpPr>
              <a:spLocks noChangeAspect="1"/>
            </p:cNvSpPr>
            <p:nvPr/>
          </p:nvSpPr>
          <p:spPr bwMode="gray">
            <a:xfrm rot="355651">
              <a:off x="6000621" y="3298825"/>
              <a:ext cx="549080" cy="312995"/>
            </a:xfrm>
            <a:custGeom>
              <a:avLst/>
              <a:gdLst/>
              <a:ahLst/>
              <a:cxnLst>
                <a:cxn ang="0">
                  <a:pos x="2941" y="1828"/>
                </a:cxn>
                <a:cxn ang="0">
                  <a:pos x="2825" y="1778"/>
                </a:cxn>
                <a:cxn ang="0">
                  <a:pos x="2753" y="1654"/>
                </a:cxn>
                <a:cxn ang="0">
                  <a:pos x="2820" y="1585"/>
                </a:cxn>
                <a:cxn ang="0">
                  <a:pos x="2699" y="1490"/>
                </a:cxn>
                <a:cxn ang="0">
                  <a:pos x="2532" y="1462"/>
                </a:cxn>
                <a:cxn ang="0">
                  <a:pos x="2444" y="1502"/>
                </a:cxn>
                <a:cxn ang="0">
                  <a:pos x="2371" y="1363"/>
                </a:cxn>
                <a:cxn ang="0">
                  <a:pos x="2218" y="1286"/>
                </a:cxn>
                <a:cxn ang="0">
                  <a:pos x="1844" y="1192"/>
                </a:cxn>
                <a:cxn ang="0">
                  <a:pos x="1762" y="1122"/>
                </a:cxn>
                <a:cxn ang="0">
                  <a:pos x="1673" y="1047"/>
                </a:cxn>
                <a:cxn ang="0">
                  <a:pos x="1656" y="948"/>
                </a:cxn>
                <a:cxn ang="0">
                  <a:pos x="1914" y="870"/>
                </a:cxn>
                <a:cxn ang="0">
                  <a:pos x="2072" y="810"/>
                </a:cxn>
                <a:cxn ang="0">
                  <a:pos x="2182" y="731"/>
                </a:cxn>
                <a:cxn ang="0">
                  <a:pos x="2210" y="621"/>
                </a:cxn>
                <a:cxn ang="0">
                  <a:pos x="2139" y="688"/>
                </a:cxn>
                <a:cxn ang="0">
                  <a:pos x="1961" y="704"/>
                </a:cxn>
                <a:cxn ang="0">
                  <a:pos x="1852" y="669"/>
                </a:cxn>
                <a:cxn ang="0">
                  <a:pos x="1746" y="622"/>
                </a:cxn>
                <a:cxn ang="0">
                  <a:pos x="1578" y="569"/>
                </a:cxn>
                <a:cxn ang="0">
                  <a:pos x="1440" y="537"/>
                </a:cxn>
                <a:cxn ang="0">
                  <a:pos x="1296" y="560"/>
                </a:cxn>
                <a:cxn ang="0">
                  <a:pos x="1252" y="471"/>
                </a:cxn>
                <a:cxn ang="0">
                  <a:pos x="1210" y="394"/>
                </a:cxn>
                <a:cxn ang="0">
                  <a:pos x="1166" y="256"/>
                </a:cxn>
                <a:cxn ang="0">
                  <a:pos x="1092" y="127"/>
                </a:cxn>
                <a:cxn ang="0">
                  <a:pos x="867" y="9"/>
                </a:cxn>
                <a:cxn ang="0">
                  <a:pos x="731" y="17"/>
                </a:cxn>
                <a:cxn ang="0">
                  <a:pos x="686" y="127"/>
                </a:cxn>
                <a:cxn ang="0">
                  <a:pos x="612" y="281"/>
                </a:cxn>
                <a:cxn ang="0">
                  <a:pos x="662" y="479"/>
                </a:cxn>
                <a:cxn ang="0">
                  <a:pos x="486" y="533"/>
                </a:cxn>
                <a:cxn ang="0">
                  <a:pos x="407" y="557"/>
                </a:cxn>
                <a:cxn ang="0">
                  <a:pos x="39" y="593"/>
                </a:cxn>
                <a:cxn ang="0">
                  <a:pos x="17" y="774"/>
                </a:cxn>
                <a:cxn ang="0">
                  <a:pos x="101" y="899"/>
                </a:cxn>
                <a:cxn ang="0">
                  <a:pos x="177" y="1114"/>
                </a:cxn>
                <a:cxn ang="0">
                  <a:pos x="220" y="1182"/>
                </a:cxn>
                <a:cxn ang="0">
                  <a:pos x="355" y="1252"/>
                </a:cxn>
                <a:cxn ang="0">
                  <a:pos x="432" y="1297"/>
                </a:cxn>
                <a:cxn ang="0">
                  <a:pos x="568" y="1333"/>
                </a:cxn>
                <a:cxn ang="0">
                  <a:pos x="657" y="1256"/>
                </a:cxn>
                <a:cxn ang="0">
                  <a:pos x="767" y="1232"/>
                </a:cxn>
                <a:cxn ang="0">
                  <a:pos x="817" y="1164"/>
                </a:cxn>
                <a:cxn ang="0">
                  <a:pos x="892" y="1324"/>
                </a:cxn>
                <a:cxn ang="0">
                  <a:pos x="1113" y="1366"/>
                </a:cxn>
                <a:cxn ang="0">
                  <a:pos x="1182" y="1450"/>
                </a:cxn>
                <a:cxn ang="0">
                  <a:pos x="1324" y="1579"/>
                </a:cxn>
                <a:cxn ang="0">
                  <a:pos x="1340" y="1695"/>
                </a:cxn>
                <a:cxn ang="0">
                  <a:pos x="1529" y="1778"/>
                </a:cxn>
                <a:cxn ang="0">
                  <a:pos x="1748" y="1779"/>
                </a:cxn>
                <a:cxn ang="0">
                  <a:pos x="1817" y="1718"/>
                </a:cxn>
                <a:cxn ang="0">
                  <a:pos x="1909" y="1697"/>
                </a:cxn>
                <a:cxn ang="0">
                  <a:pos x="1995" y="1748"/>
                </a:cxn>
                <a:cxn ang="0">
                  <a:pos x="2059" y="1813"/>
                </a:cxn>
                <a:cxn ang="0">
                  <a:pos x="2372" y="1836"/>
                </a:cxn>
                <a:cxn ang="0">
                  <a:pos x="2642" y="1928"/>
                </a:cxn>
                <a:cxn ang="0">
                  <a:pos x="2807" y="1925"/>
                </a:cxn>
                <a:cxn ang="0">
                  <a:pos x="3010" y="1886"/>
                </a:cxn>
              </a:cxnLst>
              <a:rect l="0" t="0" r="r" b="b"/>
              <a:pathLst>
                <a:path w="3010" h="1952">
                  <a:moveTo>
                    <a:pt x="3010" y="1886"/>
                  </a:moveTo>
                  <a:lnTo>
                    <a:pt x="3004" y="1880"/>
                  </a:lnTo>
                  <a:lnTo>
                    <a:pt x="2998" y="1873"/>
                  </a:lnTo>
                  <a:lnTo>
                    <a:pt x="2995" y="1871"/>
                  </a:lnTo>
                  <a:lnTo>
                    <a:pt x="2991" y="1868"/>
                  </a:lnTo>
                  <a:lnTo>
                    <a:pt x="2989" y="1867"/>
                  </a:lnTo>
                  <a:lnTo>
                    <a:pt x="2986" y="1867"/>
                  </a:lnTo>
                  <a:lnTo>
                    <a:pt x="2985" y="1863"/>
                  </a:lnTo>
                  <a:lnTo>
                    <a:pt x="2984" y="1861"/>
                  </a:lnTo>
                  <a:lnTo>
                    <a:pt x="2983" y="1858"/>
                  </a:lnTo>
                  <a:lnTo>
                    <a:pt x="2980" y="1856"/>
                  </a:lnTo>
                  <a:lnTo>
                    <a:pt x="2976" y="1854"/>
                  </a:lnTo>
                  <a:lnTo>
                    <a:pt x="2975" y="1851"/>
                  </a:lnTo>
                  <a:lnTo>
                    <a:pt x="2964" y="1847"/>
                  </a:lnTo>
                  <a:lnTo>
                    <a:pt x="2952" y="1845"/>
                  </a:lnTo>
                  <a:lnTo>
                    <a:pt x="2947" y="1839"/>
                  </a:lnTo>
                  <a:lnTo>
                    <a:pt x="2945" y="1834"/>
                  </a:lnTo>
                  <a:lnTo>
                    <a:pt x="2941" y="1828"/>
                  </a:lnTo>
                  <a:lnTo>
                    <a:pt x="2928" y="1827"/>
                  </a:lnTo>
                  <a:lnTo>
                    <a:pt x="2913" y="1825"/>
                  </a:lnTo>
                  <a:lnTo>
                    <a:pt x="2899" y="1824"/>
                  </a:lnTo>
                  <a:lnTo>
                    <a:pt x="2885" y="1823"/>
                  </a:lnTo>
                  <a:lnTo>
                    <a:pt x="2885" y="1819"/>
                  </a:lnTo>
                  <a:lnTo>
                    <a:pt x="2882" y="1818"/>
                  </a:lnTo>
                  <a:lnTo>
                    <a:pt x="2879" y="1817"/>
                  </a:lnTo>
                  <a:lnTo>
                    <a:pt x="2875" y="1817"/>
                  </a:lnTo>
                  <a:lnTo>
                    <a:pt x="2866" y="1809"/>
                  </a:lnTo>
                  <a:lnTo>
                    <a:pt x="2859" y="1800"/>
                  </a:lnTo>
                  <a:lnTo>
                    <a:pt x="2847" y="1800"/>
                  </a:lnTo>
                  <a:lnTo>
                    <a:pt x="2846" y="1797"/>
                  </a:lnTo>
                  <a:lnTo>
                    <a:pt x="2844" y="1796"/>
                  </a:lnTo>
                  <a:lnTo>
                    <a:pt x="2840" y="1795"/>
                  </a:lnTo>
                  <a:lnTo>
                    <a:pt x="2836" y="1795"/>
                  </a:lnTo>
                  <a:lnTo>
                    <a:pt x="2831" y="1789"/>
                  </a:lnTo>
                  <a:lnTo>
                    <a:pt x="2827" y="1784"/>
                  </a:lnTo>
                  <a:lnTo>
                    <a:pt x="2825" y="1778"/>
                  </a:lnTo>
                  <a:lnTo>
                    <a:pt x="2814" y="1778"/>
                  </a:lnTo>
                  <a:lnTo>
                    <a:pt x="2808" y="1772"/>
                  </a:lnTo>
                  <a:lnTo>
                    <a:pt x="2806" y="1767"/>
                  </a:lnTo>
                  <a:lnTo>
                    <a:pt x="2801" y="1760"/>
                  </a:lnTo>
                  <a:lnTo>
                    <a:pt x="2794" y="1753"/>
                  </a:lnTo>
                  <a:lnTo>
                    <a:pt x="2792" y="1750"/>
                  </a:lnTo>
                  <a:lnTo>
                    <a:pt x="2792" y="1735"/>
                  </a:lnTo>
                  <a:lnTo>
                    <a:pt x="2797" y="1731"/>
                  </a:lnTo>
                  <a:lnTo>
                    <a:pt x="2803" y="1729"/>
                  </a:lnTo>
                  <a:lnTo>
                    <a:pt x="2803" y="1695"/>
                  </a:lnTo>
                  <a:lnTo>
                    <a:pt x="2792" y="1690"/>
                  </a:lnTo>
                  <a:lnTo>
                    <a:pt x="2789" y="1684"/>
                  </a:lnTo>
                  <a:lnTo>
                    <a:pt x="2786" y="1679"/>
                  </a:lnTo>
                  <a:lnTo>
                    <a:pt x="2769" y="1679"/>
                  </a:lnTo>
                  <a:lnTo>
                    <a:pt x="2764" y="1673"/>
                  </a:lnTo>
                  <a:lnTo>
                    <a:pt x="2758" y="1668"/>
                  </a:lnTo>
                  <a:lnTo>
                    <a:pt x="2753" y="1662"/>
                  </a:lnTo>
                  <a:lnTo>
                    <a:pt x="2753" y="1654"/>
                  </a:lnTo>
                  <a:lnTo>
                    <a:pt x="2753" y="1645"/>
                  </a:lnTo>
                  <a:lnTo>
                    <a:pt x="2758" y="1640"/>
                  </a:lnTo>
                  <a:lnTo>
                    <a:pt x="2767" y="1637"/>
                  </a:lnTo>
                  <a:lnTo>
                    <a:pt x="2775" y="1634"/>
                  </a:lnTo>
                  <a:lnTo>
                    <a:pt x="2778" y="1628"/>
                  </a:lnTo>
                  <a:lnTo>
                    <a:pt x="2781" y="1623"/>
                  </a:lnTo>
                  <a:lnTo>
                    <a:pt x="2785" y="1622"/>
                  </a:lnTo>
                  <a:lnTo>
                    <a:pt x="2788" y="1620"/>
                  </a:lnTo>
                  <a:lnTo>
                    <a:pt x="2791" y="1616"/>
                  </a:lnTo>
                  <a:lnTo>
                    <a:pt x="2792" y="1612"/>
                  </a:lnTo>
                  <a:lnTo>
                    <a:pt x="2803" y="1612"/>
                  </a:lnTo>
                  <a:lnTo>
                    <a:pt x="2803" y="1601"/>
                  </a:lnTo>
                  <a:lnTo>
                    <a:pt x="2806" y="1601"/>
                  </a:lnTo>
                  <a:lnTo>
                    <a:pt x="2807" y="1597"/>
                  </a:lnTo>
                  <a:lnTo>
                    <a:pt x="2808" y="1594"/>
                  </a:lnTo>
                  <a:lnTo>
                    <a:pt x="2808" y="1591"/>
                  </a:lnTo>
                  <a:lnTo>
                    <a:pt x="2814" y="1587"/>
                  </a:lnTo>
                  <a:lnTo>
                    <a:pt x="2820" y="1585"/>
                  </a:lnTo>
                  <a:lnTo>
                    <a:pt x="2820" y="1574"/>
                  </a:lnTo>
                  <a:lnTo>
                    <a:pt x="2824" y="1573"/>
                  </a:lnTo>
                  <a:lnTo>
                    <a:pt x="2827" y="1570"/>
                  </a:lnTo>
                  <a:lnTo>
                    <a:pt x="2830" y="1566"/>
                  </a:lnTo>
                  <a:lnTo>
                    <a:pt x="2831" y="1563"/>
                  </a:lnTo>
                  <a:lnTo>
                    <a:pt x="2836" y="1557"/>
                  </a:lnTo>
                  <a:lnTo>
                    <a:pt x="2847" y="1557"/>
                  </a:lnTo>
                  <a:lnTo>
                    <a:pt x="2853" y="1551"/>
                  </a:lnTo>
                  <a:lnTo>
                    <a:pt x="2859" y="1546"/>
                  </a:lnTo>
                  <a:lnTo>
                    <a:pt x="2853" y="1540"/>
                  </a:lnTo>
                  <a:lnTo>
                    <a:pt x="2847" y="1529"/>
                  </a:lnTo>
                  <a:lnTo>
                    <a:pt x="2836" y="1529"/>
                  </a:lnTo>
                  <a:lnTo>
                    <a:pt x="2820" y="1518"/>
                  </a:lnTo>
                  <a:lnTo>
                    <a:pt x="2803" y="1507"/>
                  </a:lnTo>
                  <a:lnTo>
                    <a:pt x="2731" y="1507"/>
                  </a:lnTo>
                  <a:lnTo>
                    <a:pt x="2717" y="1499"/>
                  </a:lnTo>
                  <a:lnTo>
                    <a:pt x="2703" y="1490"/>
                  </a:lnTo>
                  <a:lnTo>
                    <a:pt x="2699" y="1490"/>
                  </a:lnTo>
                  <a:lnTo>
                    <a:pt x="2693" y="1488"/>
                  </a:lnTo>
                  <a:lnTo>
                    <a:pt x="2688" y="1485"/>
                  </a:lnTo>
                  <a:lnTo>
                    <a:pt x="2682" y="1481"/>
                  </a:lnTo>
                  <a:lnTo>
                    <a:pt x="2678" y="1477"/>
                  </a:lnTo>
                  <a:lnTo>
                    <a:pt x="2673" y="1471"/>
                  </a:lnTo>
                  <a:lnTo>
                    <a:pt x="2671" y="1467"/>
                  </a:lnTo>
                  <a:lnTo>
                    <a:pt x="2670" y="1462"/>
                  </a:lnTo>
                  <a:lnTo>
                    <a:pt x="2659" y="1462"/>
                  </a:lnTo>
                  <a:lnTo>
                    <a:pt x="2654" y="1461"/>
                  </a:lnTo>
                  <a:lnTo>
                    <a:pt x="2642" y="1460"/>
                  </a:lnTo>
                  <a:lnTo>
                    <a:pt x="2625" y="1459"/>
                  </a:lnTo>
                  <a:lnTo>
                    <a:pt x="2605" y="1458"/>
                  </a:lnTo>
                  <a:lnTo>
                    <a:pt x="2565" y="1458"/>
                  </a:lnTo>
                  <a:lnTo>
                    <a:pt x="2543" y="1457"/>
                  </a:lnTo>
                  <a:lnTo>
                    <a:pt x="2542" y="1460"/>
                  </a:lnTo>
                  <a:lnTo>
                    <a:pt x="2539" y="1462"/>
                  </a:lnTo>
                  <a:lnTo>
                    <a:pt x="2536" y="1462"/>
                  </a:lnTo>
                  <a:lnTo>
                    <a:pt x="2532" y="1462"/>
                  </a:lnTo>
                  <a:lnTo>
                    <a:pt x="2526" y="1468"/>
                  </a:lnTo>
                  <a:lnTo>
                    <a:pt x="2526" y="1479"/>
                  </a:lnTo>
                  <a:lnTo>
                    <a:pt x="2524" y="1480"/>
                  </a:lnTo>
                  <a:lnTo>
                    <a:pt x="2523" y="1482"/>
                  </a:lnTo>
                  <a:lnTo>
                    <a:pt x="2522" y="1487"/>
                  </a:lnTo>
                  <a:lnTo>
                    <a:pt x="2522" y="1491"/>
                  </a:lnTo>
                  <a:lnTo>
                    <a:pt x="2520" y="1500"/>
                  </a:lnTo>
                  <a:lnTo>
                    <a:pt x="2520" y="1507"/>
                  </a:lnTo>
                  <a:lnTo>
                    <a:pt x="2515" y="1512"/>
                  </a:lnTo>
                  <a:lnTo>
                    <a:pt x="2509" y="1518"/>
                  </a:lnTo>
                  <a:lnTo>
                    <a:pt x="2496" y="1517"/>
                  </a:lnTo>
                  <a:lnTo>
                    <a:pt x="2481" y="1516"/>
                  </a:lnTo>
                  <a:lnTo>
                    <a:pt x="2467" y="1514"/>
                  </a:lnTo>
                  <a:lnTo>
                    <a:pt x="2453" y="1512"/>
                  </a:lnTo>
                  <a:lnTo>
                    <a:pt x="2452" y="1509"/>
                  </a:lnTo>
                  <a:lnTo>
                    <a:pt x="2448" y="1506"/>
                  </a:lnTo>
                  <a:lnTo>
                    <a:pt x="2447" y="1505"/>
                  </a:lnTo>
                  <a:lnTo>
                    <a:pt x="2444" y="1502"/>
                  </a:lnTo>
                  <a:lnTo>
                    <a:pt x="2443" y="1499"/>
                  </a:lnTo>
                  <a:lnTo>
                    <a:pt x="2442" y="1496"/>
                  </a:lnTo>
                  <a:lnTo>
                    <a:pt x="2439" y="1495"/>
                  </a:lnTo>
                  <a:lnTo>
                    <a:pt x="2436" y="1492"/>
                  </a:lnTo>
                  <a:lnTo>
                    <a:pt x="2432" y="1489"/>
                  </a:lnTo>
                  <a:lnTo>
                    <a:pt x="2432" y="1485"/>
                  </a:lnTo>
                  <a:lnTo>
                    <a:pt x="2421" y="1485"/>
                  </a:lnTo>
                  <a:lnTo>
                    <a:pt x="2419" y="1469"/>
                  </a:lnTo>
                  <a:lnTo>
                    <a:pt x="2415" y="1448"/>
                  </a:lnTo>
                  <a:lnTo>
                    <a:pt x="2411" y="1424"/>
                  </a:lnTo>
                  <a:lnTo>
                    <a:pt x="2410" y="1402"/>
                  </a:lnTo>
                  <a:lnTo>
                    <a:pt x="2404" y="1396"/>
                  </a:lnTo>
                  <a:lnTo>
                    <a:pt x="2399" y="1393"/>
                  </a:lnTo>
                  <a:lnTo>
                    <a:pt x="2393" y="1391"/>
                  </a:lnTo>
                  <a:lnTo>
                    <a:pt x="2393" y="1380"/>
                  </a:lnTo>
                  <a:lnTo>
                    <a:pt x="2388" y="1374"/>
                  </a:lnTo>
                  <a:lnTo>
                    <a:pt x="2376" y="1374"/>
                  </a:lnTo>
                  <a:lnTo>
                    <a:pt x="2371" y="1363"/>
                  </a:lnTo>
                  <a:lnTo>
                    <a:pt x="2364" y="1363"/>
                  </a:lnTo>
                  <a:lnTo>
                    <a:pt x="2357" y="1361"/>
                  </a:lnTo>
                  <a:lnTo>
                    <a:pt x="2350" y="1358"/>
                  </a:lnTo>
                  <a:lnTo>
                    <a:pt x="2343" y="1354"/>
                  </a:lnTo>
                  <a:lnTo>
                    <a:pt x="2326" y="1345"/>
                  </a:lnTo>
                  <a:lnTo>
                    <a:pt x="2309" y="1335"/>
                  </a:lnTo>
                  <a:lnTo>
                    <a:pt x="2294" y="1325"/>
                  </a:lnTo>
                  <a:lnTo>
                    <a:pt x="2277" y="1316"/>
                  </a:lnTo>
                  <a:lnTo>
                    <a:pt x="2269" y="1313"/>
                  </a:lnTo>
                  <a:lnTo>
                    <a:pt x="2263" y="1310"/>
                  </a:lnTo>
                  <a:lnTo>
                    <a:pt x="2256" y="1308"/>
                  </a:lnTo>
                  <a:lnTo>
                    <a:pt x="2249" y="1307"/>
                  </a:lnTo>
                  <a:lnTo>
                    <a:pt x="2240" y="1303"/>
                  </a:lnTo>
                  <a:lnTo>
                    <a:pt x="2227" y="1297"/>
                  </a:lnTo>
                  <a:lnTo>
                    <a:pt x="2226" y="1294"/>
                  </a:lnTo>
                  <a:lnTo>
                    <a:pt x="2225" y="1291"/>
                  </a:lnTo>
                  <a:lnTo>
                    <a:pt x="2221" y="1289"/>
                  </a:lnTo>
                  <a:lnTo>
                    <a:pt x="2218" y="1286"/>
                  </a:lnTo>
                  <a:lnTo>
                    <a:pt x="2210" y="1281"/>
                  </a:lnTo>
                  <a:lnTo>
                    <a:pt x="2204" y="1280"/>
                  </a:lnTo>
                  <a:lnTo>
                    <a:pt x="2199" y="1275"/>
                  </a:lnTo>
                  <a:lnTo>
                    <a:pt x="2198" y="1269"/>
                  </a:lnTo>
                  <a:lnTo>
                    <a:pt x="2196" y="1265"/>
                  </a:lnTo>
                  <a:lnTo>
                    <a:pt x="2191" y="1259"/>
                  </a:lnTo>
                  <a:lnTo>
                    <a:pt x="2184" y="1255"/>
                  </a:lnTo>
                  <a:lnTo>
                    <a:pt x="2177" y="1250"/>
                  </a:lnTo>
                  <a:lnTo>
                    <a:pt x="2168" y="1246"/>
                  </a:lnTo>
                  <a:lnTo>
                    <a:pt x="2158" y="1242"/>
                  </a:lnTo>
                  <a:lnTo>
                    <a:pt x="2146" y="1238"/>
                  </a:lnTo>
                  <a:lnTo>
                    <a:pt x="2121" y="1230"/>
                  </a:lnTo>
                  <a:lnTo>
                    <a:pt x="2091" y="1223"/>
                  </a:lnTo>
                  <a:lnTo>
                    <a:pt x="2059" y="1218"/>
                  </a:lnTo>
                  <a:lnTo>
                    <a:pt x="2026" y="1212"/>
                  </a:lnTo>
                  <a:lnTo>
                    <a:pt x="1958" y="1203"/>
                  </a:lnTo>
                  <a:lnTo>
                    <a:pt x="1895" y="1197"/>
                  </a:lnTo>
                  <a:lnTo>
                    <a:pt x="1844" y="1192"/>
                  </a:lnTo>
                  <a:lnTo>
                    <a:pt x="1812" y="1191"/>
                  </a:lnTo>
                  <a:lnTo>
                    <a:pt x="1808" y="1188"/>
                  </a:lnTo>
                  <a:lnTo>
                    <a:pt x="1800" y="1184"/>
                  </a:lnTo>
                  <a:lnTo>
                    <a:pt x="1796" y="1182"/>
                  </a:lnTo>
                  <a:lnTo>
                    <a:pt x="1793" y="1179"/>
                  </a:lnTo>
                  <a:lnTo>
                    <a:pt x="1790" y="1174"/>
                  </a:lnTo>
                  <a:lnTo>
                    <a:pt x="1789" y="1169"/>
                  </a:lnTo>
                  <a:lnTo>
                    <a:pt x="1784" y="1163"/>
                  </a:lnTo>
                  <a:lnTo>
                    <a:pt x="1772" y="1163"/>
                  </a:lnTo>
                  <a:lnTo>
                    <a:pt x="1772" y="1158"/>
                  </a:lnTo>
                  <a:lnTo>
                    <a:pt x="1771" y="1151"/>
                  </a:lnTo>
                  <a:lnTo>
                    <a:pt x="1771" y="1147"/>
                  </a:lnTo>
                  <a:lnTo>
                    <a:pt x="1770" y="1144"/>
                  </a:lnTo>
                  <a:lnTo>
                    <a:pt x="1769" y="1142"/>
                  </a:lnTo>
                  <a:lnTo>
                    <a:pt x="1767" y="1142"/>
                  </a:lnTo>
                  <a:lnTo>
                    <a:pt x="1767" y="1125"/>
                  </a:lnTo>
                  <a:lnTo>
                    <a:pt x="1764" y="1124"/>
                  </a:lnTo>
                  <a:lnTo>
                    <a:pt x="1762" y="1122"/>
                  </a:lnTo>
                  <a:lnTo>
                    <a:pt x="1761" y="1117"/>
                  </a:lnTo>
                  <a:lnTo>
                    <a:pt x="1761" y="1114"/>
                  </a:lnTo>
                  <a:lnTo>
                    <a:pt x="1759" y="1112"/>
                  </a:lnTo>
                  <a:lnTo>
                    <a:pt x="1754" y="1107"/>
                  </a:lnTo>
                  <a:lnTo>
                    <a:pt x="1748" y="1102"/>
                  </a:lnTo>
                  <a:lnTo>
                    <a:pt x="1745" y="1097"/>
                  </a:lnTo>
                  <a:lnTo>
                    <a:pt x="1740" y="1095"/>
                  </a:lnTo>
                  <a:lnTo>
                    <a:pt x="1735" y="1091"/>
                  </a:lnTo>
                  <a:lnTo>
                    <a:pt x="1730" y="1085"/>
                  </a:lnTo>
                  <a:lnTo>
                    <a:pt x="1728" y="1080"/>
                  </a:lnTo>
                  <a:lnTo>
                    <a:pt x="1723" y="1079"/>
                  </a:lnTo>
                  <a:lnTo>
                    <a:pt x="1717" y="1075"/>
                  </a:lnTo>
                  <a:lnTo>
                    <a:pt x="1710" y="1070"/>
                  </a:lnTo>
                  <a:lnTo>
                    <a:pt x="1702" y="1064"/>
                  </a:lnTo>
                  <a:lnTo>
                    <a:pt x="1694" y="1058"/>
                  </a:lnTo>
                  <a:lnTo>
                    <a:pt x="1687" y="1053"/>
                  </a:lnTo>
                  <a:lnTo>
                    <a:pt x="1680" y="1049"/>
                  </a:lnTo>
                  <a:lnTo>
                    <a:pt x="1673" y="1047"/>
                  </a:lnTo>
                  <a:lnTo>
                    <a:pt x="1671" y="1044"/>
                  </a:lnTo>
                  <a:lnTo>
                    <a:pt x="1666" y="1039"/>
                  </a:lnTo>
                  <a:lnTo>
                    <a:pt x="1659" y="1033"/>
                  </a:lnTo>
                  <a:lnTo>
                    <a:pt x="1651" y="1026"/>
                  </a:lnTo>
                  <a:lnTo>
                    <a:pt x="1635" y="1014"/>
                  </a:lnTo>
                  <a:lnTo>
                    <a:pt x="1628" y="1008"/>
                  </a:lnTo>
                  <a:lnTo>
                    <a:pt x="1628" y="998"/>
                  </a:lnTo>
                  <a:lnTo>
                    <a:pt x="1626" y="997"/>
                  </a:lnTo>
                  <a:lnTo>
                    <a:pt x="1625" y="993"/>
                  </a:lnTo>
                  <a:lnTo>
                    <a:pt x="1624" y="990"/>
                  </a:lnTo>
                  <a:lnTo>
                    <a:pt x="1624" y="986"/>
                  </a:lnTo>
                  <a:lnTo>
                    <a:pt x="1623" y="977"/>
                  </a:lnTo>
                  <a:lnTo>
                    <a:pt x="1623" y="970"/>
                  </a:lnTo>
                  <a:lnTo>
                    <a:pt x="1628" y="964"/>
                  </a:lnTo>
                  <a:lnTo>
                    <a:pt x="1640" y="964"/>
                  </a:lnTo>
                  <a:lnTo>
                    <a:pt x="1640" y="953"/>
                  </a:lnTo>
                  <a:lnTo>
                    <a:pt x="1651" y="953"/>
                  </a:lnTo>
                  <a:lnTo>
                    <a:pt x="1656" y="948"/>
                  </a:lnTo>
                  <a:lnTo>
                    <a:pt x="1659" y="942"/>
                  </a:lnTo>
                  <a:lnTo>
                    <a:pt x="1662" y="937"/>
                  </a:lnTo>
                  <a:lnTo>
                    <a:pt x="1666" y="935"/>
                  </a:lnTo>
                  <a:lnTo>
                    <a:pt x="1672" y="933"/>
                  </a:lnTo>
                  <a:lnTo>
                    <a:pt x="1674" y="931"/>
                  </a:lnTo>
                  <a:lnTo>
                    <a:pt x="1676" y="930"/>
                  </a:lnTo>
                  <a:lnTo>
                    <a:pt x="1678" y="928"/>
                  </a:lnTo>
                  <a:lnTo>
                    <a:pt x="1679" y="925"/>
                  </a:lnTo>
                  <a:lnTo>
                    <a:pt x="1823" y="903"/>
                  </a:lnTo>
                  <a:lnTo>
                    <a:pt x="1839" y="903"/>
                  </a:lnTo>
                  <a:lnTo>
                    <a:pt x="1842" y="901"/>
                  </a:lnTo>
                  <a:lnTo>
                    <a:pt x="1847" y="897"/>
                  </a:lnTo>
                  <a:lnTo>
                    <a:pt x="1855" y="894"/>
                  </a:lnTo>
                  <a:lnTo>
                    <a:pt x="1865" y="890"/>
                  </a:lnTo>
                  <a:lnTo>
                    <a:pt x="1885" y="884"/>
                  </a:lnTo>
                  <a:lnTo>
                    <a:pt x="1900" y="881"/>
                  </a:lnTo>
                  <a:lnTo>
                    <a:pt x="1911" y="875"/>
                  </a:lnTo>
                  <a:lnTo>
                    <a:pt x="1914" y="870"/>
                  </a:lnTo>
                  <a:lnTo>
                    <a:pt x="1916" y="864"/>
                  </a:lnTo>
                  <a:lnTo>
                    <a:pt x="1928" y="864"/>
                  </a:lnTo>
                  <a:lnTo>
                    <a:pt x="1930" y="858"/>
                  </a:lnTo>
                  <a:lnTo>
                    <a:pt x="1933" y="854"/>
                  </a:lnTo>
                  <a:lnTo>
                    <a:pt x="1949" y="851"/>
                  </a:lnTo>
                  <a:lnTo>
                    <a:pt x="1973" y="844"/>
                  </a:lnTo>
                  <a:lnTo>
                    <a:pt x="1986" y="839"/>
                  </a:lnTo>
                  <a:lnTo>
                    <a:pt x="1996" y="835"/>
                  </a:lnTo>
                  <a:lnTo>
                    <a:pt x="1999" y="833"/>
                  </a:lnTo>
                  <a:lnTo>
                    <a:pt x="2002" y="830"/>
                  </a:lnTo>
                  <a:lnTo>
                    <a:pt x="2005" y="828"/>
                  </a:lnTo>
                  <a:lnTo>
                    <a:pt x="2005" y="826"/>
                  </a:lnTo>
                  <a:lnTo>
                    <a:pt x="2038" y="826"/>
                  </a:lnTo>
                  <a:lnTo>
                    <a:pt x="2040" y="824"/>
                  </a:lnTo>
                  <a:lnTo>
                    <a:pt x="2044" y="820"/>
                  </a:lnTo>
                  <a:lnTo>
                    <a:pt x="2049" y="818"/>
                  </a:lnTo>
                  <a:lnTo>
                    <a:pt x="2056" y="815"/>
                  </a:lnTo>
                  <a:lnTo>
                    <a:pt x="2072" y="810"/>
                  </a:lnTo>
                  <a:lnTo>
                    <a:pt x="2083" y="809"/>
                  </a:lnTo>
                  <a:lnTo>
                    <a:pt x="2084" y="807"/>
                  </a:lnTo>
                  <a:lnTo>
                    <a:pt x="2086" y="804"/>
                  </a:lnTo>
                  <a:lnTo>
                    <a:pt x="2090" y="801"/>
                  </a:lnTo>
                  <a:lnTo>
                    <a:pt x="2094" y="799"/>
                  </a:lnTo>
                  <a:lnTo>
                    <a:pt x="2104" y="795"/>
                  </a:lnTo>
                  <a:lnTo>
                    <a:pt x="2111" y="793"/>
                  </a:lnTo>
                  <a:lnTo>
                    <a:pt x="2113" y="787"/>
                  </a:lnTo>
                  <a:lnTo>
                    <a:pt x="2116" y="781"/>
                  </a:lnTo>
                  <a:lnTo>
                    <a:pt x="2130" y="776"/>
                  </a:lnTo>
                  <a:lnTo>
                    <a:pt x="2144" y="770"/>
                  </a:lnTo>
                  <a:lnTo>
                    <a:pt x="2144" y="759"/>
                  </a:lnTo>
                  <a:lnTo>
                    <a:pt x="2152" y="757"/>
                  </a:lnTo>
                  <a:lnTo>
                    <a:pt x="2165" y="749"/>
                  </a:lnTo>
                  <a:lnTo>
                    <a:pt x="2172" y="746"/>
                  </a:lnTo>
                  <a:lnTo>
                    <a:pt x="2178" y="740"/>
                  </a:lnTo>
                  <a:lnTo>
                    <a:pt x="2181" y="736"/>
                  </a:lnTo>
                  <a:lnTo>
                    <a:pt x="2182" y="731"/>
                  </a:lnTo>
                  <a:lnTo>
                    <a:pt x="2191" y="729"/>
                  </a:lnTo>
                  <a:lnTo>
                    <a:pt x="2199" y="726"/>
                  </a:lnTo>
                  <a:lnTo>
                    <a:pt x="2204" y="720"/>
                  </a:lnTo>
                  <a:lnTo>
                    <a:pt x="2210" y="714"/>
                  </a:lnTo>
                  <a:lnTo>
                    <a:pt x="2216" y="710"/>
                  </a:lnTo>
                  <a:lnTo>
                    <a:pt x="2221" y="704"/>
                  </a:lnTo>
                  <a:lnTo>
                    <a:pt x="2221" y="695"/>
                  </a:lnTo>
                  <a:lnTo>
                    <a:pt x="2222" y="682"/>
                  </a:lnTo>
                  <a:lnTo>
                    <a:pt x="2222" y="676"/>
                  </a:lnTo>
                  <a:lnTo>
                    <a:pt x="2223" y="671"/>
                  </a:lnTo>
                  <a:lnTo>
                    <a:pt x="2225" y="666"/>
                  </a:lnTo>
                  <a:lnTo>
                    <a:pt x="2227" y="665"/>
                  </a:lnTo>
                  <a:lnTo>
                    <a:pt x="2222" y="661"/>
                  </a:lnTo>
                  <a:lnTo>
                    <a:pt x="2219" y="656"/>
                  </a:lnTo>
                  <a:lnTo>
                    <a:pt x="2217" y="651"/>
                  </a:lnTo>
                  <a:lnTo>
                    <a:pt x="2215" y="645"/>
                  </a:lnTo>
                  <a:lnTo>
                    <a:pt x="2211" y="633"/>
                  </a:lnTo>
                  <a:lnTo>
                    <a:pt x="2210" y="621"/>
                  </a:lnTo>
                  <a:lnTo>
                    <a:pt x="2193" y="621"/>
                  </a:lnTo>
                  <a:lnTo>
                    <a:pt x="2192" y="625"/>
                  </a:lnTo>
                  <a:lnTo>
                    <a:pt x="2190" y="628"/>
                  </a:lnTo>
                  <a:lnTo>
                    <a:pt x="2187" y="631"/>
                  </a:lnTo>
                  <a:lnTo>
                    <a:pt x="2182" y="632"/>
                  </a:lnTo>
                  <a:lnTo>
                    <a:pt x="2180" y="637"/>
                  </a:lnTo>
                  <a:lnTo>
                    <a:pt x="2177" y="643"/>
                  </a:lnTo>
                  <a:lnTo>
                    <a:pt x="2173" y="644"/>
                  </a:lnTo>
                  <a:lnTo>
                    <a:pt x="2169" y="646"/>
                  </a:lnTo>
                  <a:lnTo>
                    <a:pt x="2167" y="650"/>
                  </a:lnTo>
                  <a:lnTo>
                    <a:pt x="2165" y="654"/>
                  </a:lnTo>
                  <a:lnTo>
                    <a:pt x="2162" y="655"/>
                  </a:lnTo>
                  <a:lnTo>
                    <a:pt x="2158" y="658"/>
                  </a:lnTo>
                  <a:lnTo>
                    <a:pt x="2154" y="661"/>
                  </a:lnTo>
                  <a:lnTo>
                    <a:pt x="2151" y="665"/>
                  </a:lnTo>
                  <a:lnTo>
                    <a:pt x="2145" y="675"/>
                  </a:lnTo>
                  <a:lnTo>
                    <a:pt x="2144" y="682"/>
                  </a:lnTo>
                  <a:lnTo>
                    <a:pt x="2139" y="688"/>
                  </a:lnTo>
                  <a:lnTo>
                    <a:pt x="2127" y="688"/>
                  </a:lnTo>
                  <a:lnTo>
                    <a:pt x="2124" y="693"/>
                  </a:lnTo>
                  <a:lnTo>
                    <a:pt x="2122" y="699"/>
                  </a:lnTo>
                  <a:lnTo>
                    <a:pt x="2105" y="699"/>
                  </a:lnTo>
                  <a:lnTo>
                    <a:pt x="2104" y="700"/>
                  </a:lnTo>
                  <a:lnTo>
                    <a:pt x="2101" y="702"/>
                  </a:lnTo>
                  <a:lnTo>
                    <a:pt x="2096" y="703"/>
                  </a:lnTo>
                  <a:lnTo>
                    <a:pt x="2091" y="704"/>
                  </a:lnTo>
                  <a:lnTo>
                    <a:pt x="2076" y="707"/>
                  </a:lnTo>
                  <a:lnTo>
                    <a:pt x="2058" y="708"/>
                  </a:lnTo>
                  <a:lnTo>
                    <a:pt x="2023" y="709"/>
                  </a:lnTo>
                  <a:lnTo>
                    <a:pt x="1999" y="710"/>
                  </a:lnTo>
                  <a:lnTo>
                    <a:pt x="1998" y="708"/>
                  </a:lnTo>
                  <a:lnTo>
                    <a:pt x="1995" y="707"/>
                  </a:lnTo>
                  <a:lnTo>
                    <a:pt x="1989" y="705"/>
                  </a:lnTo>
                  <a:lnTo>
                    <a:pt x="1982" y="704"/>
                  </a:lnTo>
                  <a:lnTo>
                    <a:pt x="1969" y="704"/>
                  </a:lnTo>
                  <a:lnTo>
                    <a:pt x="1961" y="704"/>
                  </a:lnTo>
                  <a:lnTo>
                    <a:pt x="1960" y="701"/>
                  </a:lnTo>
                  <a:lnTo>
                    <a:pt x="1958" y="699"/>
                  </a:lnTo>
                  <a:lnTo>
                    <a:pt x="1953" y="699"/>
                  </a:lnTo>
                  <a:lnTo>
                    <a:pt x="1950" y="699"/>
                  </a:lnTo>
                  <a:lnTo>
                    <a:pt x="1889" y="688"/>
                  </a:lnTo>
                  <a:lnTo>
                    <a:pt x="1887" y="684"/>
                  </a:lnTo>
                  <a:lnTo>
                    <a:pt x="1885" y="682"/>
                  </a:lnTo>
                  <a:lnTo>
                    <a:pt x="1882" y="682"/>
                  </a:lnTo>
                  <a:lnTo>
                    <a:pt x="1877" y="682"/>
                  </a:lnTo>
                  <a:lnTo>
                    <a:pt x="1876" y="679"/>
                  </a:lnTo>
                  <a:lnTo>
                    <a:pt x="1874" y="676"/>
                  </a:lnTo>
                  <a:lnTo>
                    <a:pt x="1871" y="676"/>
                  </a:lnTo>
                  <a:lnTo>
                    <a:pt x="1866" y="676"/>
                  </a:lnTo>
                  <a:lnTo>
                    <a:pt x="1866" y="674"/>
                  </a:lnTo>
                  <a:lnTo>
                    <a:pt x="1863" y="673"/>
                  </a:lnTo>
                  <a:lnTo>
                    <a:pt x="1860" y="671"/>
                  </a:lnTo>
                  <a:lnTo>
                    <a:pt x="1855" y="670"/>
                  </a:lnTo>
                  <a:lnTo>
                    <a:pt x="1852" y="669"/>
                  </a:lnTo>
                  <a:lnTo>
                    <a:pt x="1848" y="666"/>
                  </a:lnTo>
                  <a:lnTo>
                    <a:pt x="1845" y="663"/>
                  </a:lnTo>
                  <a:lnTo>
                    <a:pt x="1845" y="660"/>
                  </a:lnTo>
                  <a:lnTo>
                    <a:pt x="1828" y="660"/>
                  </a:lnTo>
                  <a:lnTo>
                    <a:pt x="1820" y="656"/>
                  </a:lnTo>
                  <a:lnTo>
                    <a:pt x="1805" y="649"/>
                  </a:lnTo>
                  <a:lnTo>
                    <a:pt x="1786" y="641"/>
                  </a:lnTo>
                  <a:lnTo>
                    <a:pt x="1772" y="637"/>
                  </a:lnTo>
                  <a:lnTo>
                    <a:pt x="1771" y="634"/>
                  </a:lnTo>
                  <a:lnTo>
                    <a:pt x="1769" y="633"/>
                  </a:lnTo>
                  <a:lnTo>
                    <a:pt x="1766" y="632"/>
                  </a:lnTo>
                  <a:lnTo>
                    <a:pt x="1761" y="632"/>
                  </a:lnTo>
                  <a:lnTo>
                    <a:pt x="1760" y="628"/>
                  </a:lnTo>
                  <a:lnTo>
                    <a:pt x="1758" y="627"/>
                  </a:lnTo>
                  <a:lnTo>
                    <a:pt x="1755" y="626"/>
                  </a:lnTo>
                  <a:lnTo>
                    <a:pt x="1750" y="626"/>
                  </a:lnTo>
                  <a:lnTo>
                    <a:pt x="1749" y="624"/>
                  </a:lnTo>
                  <a:lnTo>
                    <a:pt x="1746" y="622"/>
                  </a:lnTo>
                  <a:lnTo>
                    <a:pt x="1740" y="621"/>
                  </a:lnTo>
                  <a:lnTo>
                    <a:pt x="1733" y="618"/>
                  </a:lnTo>
                  <a:lnTo>
                    <a:pt x="1717" y="614"/>
                  </a:lnTo>
                  <a:lnTo>
                    <a:pt x="1698" y="610"/>
                  </a:lnTo>
                  <a:lnTo>
                    <a:pt x="1679" y="605"/>
                  </a:lnTo>
                  <a:lnTo>
                    <a:pt x="1662" y="602"/>
                  </a:lnTo>
                  <a:lnTo>
                    <a:pt x="1655" y="599"/>
                  </a:lnTo>
                  <a:lnTo>
                    <a:pt x="1650" y="597"/>
                  </a:lnTo>
                  <a:lnTo>
                    <a:pt x="1646" y="595"/>
                  </a:lnTo>
                  <a:lnTo>
                    <a:pt x="1645" y="593"/>
                  </a:lnTo>
                  <a:lnTo>
                    <a:pt x="1628" y="593"/>
                  </a:lnTo>
                  <a:lnTo>
                    <a:pt x="1626" y="591"/>
                  </a:lnTo>
                  <a:lnTo>
                    <a:pt x="1622" y="587"/>
                  </a:lnTo>
                  <a:lnTo>
                    <a:pt x="1615" y="584"/>
                  </a:lnTo>
                  <a:lnTo>
                    <a:pt x="1607" y="580"/>
                  </a:lnTo>
                  <a:lnTo>
                    <a:pt x="1592" y="574"/>
                  </a:lnTo>
                  <a:lnTo>
                    <a:pt x="1578" y="570"/>
                  </a:lnTo>
                  <a:lnTo>
                    <a:pt x="1578" y="569"/>
                  </a:lnTo>
                  <a:lnTo>
                    <a:pt x="1577" y="568"/>
                  </a:lnTo>
                  <a:lnTo>
                    <a:pt x="1575" y="567"/>
                  </a:lnTo>
                  <a:lnTo>
                    <a:pt x="1573" y="566"/>
                  </a:lnTo>
                  <a:lnTo>
                    <a:pt x="1567" y="566"/>
                  </a:lnTo>
                  <a:lnTo>
                    <a:pt x="1561" y="565"/>
                  </a:lnTo>
                  <a:lnTo>
                    <a:pt x="1561" y="564"/>
                  </a:lnTo>
                  <a:lnTo>
                    <a:pt x="1560" y="563"/>
                  </a:lnTo>
                  <a:lnTo>
                    <a:pt x="1558" y="562"/>
                  </a:lnTo>
                  <a:lnTo>
                    <a:pt x="1556" y="560"/>
                  </a:lnTo>
                  <a:lnTo>
                    <a:pt x="1550" y="560"/>
                  </a:lnTo>
                  <a:lnTo>
                    <a:pt x="1546" y="560"/>
                  </a:lnTo>
                  <a:lnTo>
                    <a:pt x="1543" y="555"/>
                  </a:lnTo>
                  <a:lnTo>
                    <a:pt x="1540" y="549"/>
                  </a:lnTo>
                  <a:lnTo>
                    <a:pt x="1522" y="548"/>
                  </a:lnTo>
                  <a:lnTo>
                    <a:pt x="1503" y="546"/>
                  </a:lnTo>
                  <a:lnTo>
                    <a:pt x="1482" y="544"/>
                  </a:lnTo>
                  <a:lnTo>
                    <a:pt x="1462" y="540"/>
                  </a:lnTo>
                  <a:lnTo>
                    <a:pt x="1440" y="537"/>
                  </a:lnTo>
                  <a:lnTo>
                    <a:pt x="1419" y="535"/>
                  </a:lnTo>
                  <a:lnTo>
                    <a:pt x="1399" y="533"/>
                  </a:lnTo>
                  <a:lnTo>
                    <a:pt x="1380" y="533"/>
                  </a:lnTo>
                  <a:lnTo>
                    <a:pt x="1365" y="540"/>
                  </a:lnTo>
                  <a:lnTo>
                    <a:pt x="1352" y="549"/>
                  </a:lnTo>
                  <a:lnTo>
                    <a:pt x="1329" y="549"/>
                  </a:lnTo>
                  <a:lnTo>
                    <a:pt x="1329" y="550"/>
                  </a:lnTo>
                  <a:lnTo>
                    <a:pt x="1327" y="551"/>
                  </a:lnTo>
                  <a:lnTo>
                    <a:pt x="1326" y="553"/>
                  </a:lnTo>
                  <a:lnTo>
                    <a:pt x="1323" y="554"/>
                  </a:lnTo>
                  <a:lnTo>
                    <a:pt x="1318" y="554"/>
                  </a:lnTo>
                  <a:lnTo>
                    <a:pt x="1313" y="555"/>
                  </a:lnTo>
                  <a:lnTo>
                    <a:pt x="1313" y="556"/>
                  </a:lnTo>
                  <a:lnTo>
                    <a:pt x="1311" y="557"/>
                  </a:lnTo>
                  <a:lnTo>
                    <a:pt x="1309" y="558"/>
                  </a:lnTo>
                  <a:lnTo>
                    <a:pt x="1307" y="559"/>
                  </a:lnTo>
                  <a:lnTo>
                    <a:pt x="1301" y="559"/>
                  </a:lnTo>
                  <a:lnTo>
                    <a:pt x="1296" y="560"/>
                  </a:lnTo>
                  <a:lnTo>
                    <a:pt x="1295" y="556"/>
                  </a:lnTo>
                  <a:lnTo>
                    <a:pt x="1290" y="553"/>
                  </a:lnTo>
                  <a:lnTo>
                    <a:pt x="1287" y="549"/>
                  </a:lnTo>
                  <a:lnTo>
                    <a:pt x="1285" y="549"/>
                  </a:lnTo>
                  <a:lnTo>
                    <a:pt x="1285" y="538"/>
                  </a:lnTo>
                  <a:lnTo>
                    <a:pt x="1282" y="537"/>
                  </a:lnTo>
                  <a:lnTo>
                    <a:pt x="1281" y="536"/>
                  </a:lnTo>
                  <a:lnTo>
                    <a:pt x="1279" y="534"/>
                  </a:lnTo>
                  <a:lnTo>
                    <a:pt x="1277" y="531"/>
                  </a:lnTo>
                  <a:lnTo>
                    <a:pt x="1273" y="525"/>
                  </a:lnTo>
                  <a:lnTo>
                    <a:pt x="1270" y="517"/>
                  </a:lnTo>
                  <a:lnTo>
                    <a:pt x="1265" y="500"/>
                  </a:lnTo>
                  <a:lnTo>
                    <a:pt x="1263" y="488"/>
                  </a:lnTo>
                  <a:lnTo>
                    <a:pt x="1261" y="487"/>
                  </a:lnTo>
                  <a:lnTo>
                    <a:pt x="1259" y="486"/>
                  </a:lnTo>
                  <a:lnTo>
                    <a:pt x="1257" y="482"/>
                  </a:lnTo>
                  <a:lnTo>
                    <a:pt x="1256" y="479"/>
                  </a:lnTo>
                  <a:lnTo>
                    <a:pt x="1252" y="471"/>
                  </a:lnTo>
                  <a:lnTo>
                    <a:pt x="1252" y="466"/>
                  </a:lnTo>
                  <a:lnTo>
                    <a:pt x="1250" y="464"/>
                  </a:lnTo>
                  <a:lnTo>
                    <a:pt x="1248" y="462"/>
                  </a:lnTo>
                  <a:lnTo>
                    <a:pt x="1246" y="459"/>
                  </a:lnTo>
                  <a:lnTo>
                    <a:pt x="1244" y="454"/>
                  </a:lnTo>
                  <a:lnTo>
                    <a:pt x="1241" y="444"/>
                  </a:lnTo>
                  <a:lnTo>
                    <a:pt x="1241" y="438"/>
                  </a:lnTo>
                  <a:lnTo>
                    <a:pt x="1239" y="438"/>
                  </a:lnTo>
                  <a:lnTo>
                    <a:pt x="1237" y="437"/>
                  </a:lnTo>
                  <a:lnTo>
                    <a:pt x="1234" y="434"/>
                  </a:lnTo>
                  <a:lnTo>
                    <a:pt x="1232" y="431"/>
                  </a:lnTo>
                  <a:lnTo>
                    <a:pt x="1228" y="424"/>
                  </a:lnTo>
                  <a:lnTo>
                    <a:pt x="1224" y="415"/>
                  </a:lnTo>
                  <a:lnTo>
                    <a:pt x="1220" y="408"/>
                  </a:lnTo>
                  <a:lnTo>
                    <a:pt x="1215" y="401"/>
                  </a:lnTo>
                  <a:lnTo>
                    <a:pt x="1213" y="397"/>
                  </a:lnTo>
                  <a:lnTo>
                    <a:pt x="1212" y="395"/>
                  </a:lnTo>
                  <a:lnTo>
                    <a:pt x="1210" y="394"/>
                  </a:lnTo>
                  <a:lnTo>
                    <a:pt x="1208" y="394"/>
                  </a:lnTo>
                  <a:lnTo>
                    <a:pt x="1208" y="377"/>
                  </a:lnTo>
                  <a:lnTo>
                    <a:pt x="1205" y="376"/>
                  </a:lnTo>
                  <a:lnTo>
                    <a:pt x="1204" y="375"/>
                  </a:lnTo>
                  <a:lnTo>
                    <a:pt x="1202" y="374"/>
                  </a:lnTo>
                  <a:lnTo>
                    <a:pt x="1201" y="372"/>
                  </a:lnTo>
                  <a:lnTo>
                    <a:pt x="1199" y="366"/>
                  </a:lnTo>
                  <a:lnTo>
                    <a:pt x="1198" y="360"/>
                  </a:lnTo>
                  <a:lnTo>
                    <a:pt x="1196" y="344"/>
                  </a:lnTo>
                  <a:lnTo>
                    <a:pt x="1196" y="333"/>
                  </a:lnTo>
                  <a:lnTo>
                    <a:pt x="1185" y="288"/>
                  </a:lnTo>
                  <a:lnTo>
                    <a:pt x="1180" y="286"/>
                  </a:lnTo>
                  <a:lnTo>
                    <a:pt x="1174" y="283"/>
                  </a:lnTo>
                  <a:lnTo>
                    <a:pt x="1174" y="277"/>
                  </a:lnTo>
                  <a:lnTo>
                    <a:pt x="1173" y="271"/>
                  </a:lnTo>
                  <a:lnTo>
                    <a:pt x="1171" y="266"/>
                  </a:lnTo>
                  <a:lnTo>
                    <a:pt x="1169" y="261"/>
                  </a:lnTo>
                  <a:lnTo>
                    <a:pt x="1166" y="256"/>
                  </a:lnTo>
                  <a:lnTo>
                    <a:pt x="1165" y="250"/>
                  </a:lnTo>
                  <a:lnTo>
                    <a:pt x="1164" y="245"/>
                  </a:lnTo>
                  <a:lnTo>
                    <a:pt x="1163" y="239"/>
                  </a:lnTo>
                  <a:lnTo>
                    <a:pt x="1152" y="228"/>
                  </a:lnTo>
                  <a:lnTo>
                    <a:pt x="1152" y="223"/>
                  </a:lnTo>
                  <a:lnTo>
                    <a:pt x="1152" y="220"/>
                  </a:lnTo>
                  <a:lnTo>
                    <a:pt x="1150" y="218"/>
                  </a:lnTo>
                  <a:lnTo>
                    <a:pt x="1146" y="217"/>
                  </a:lnTo>
                  <a:lnTo>
                    <a:pt x="1141" y="200"/>
                  </a:lnTo>
                  <a:lnTo>
                    <a:pt x="1135" y="183"/>
                  </a:lnTo>
                  <a:lnTo>
                    <a:pt x="1129" y="181"/>
                  </a:lnTo>
                  <a:lnTo>
                    <a:pt x="1124" y="178"/>
                  </a:lnTo>
                  <a:lnTo>
                    <a:pt x="1118" y="166"/>
                  </a:lnTo>
                  <a:lnTo>
                    <a:pt x="1114" y="155"/>
                  </a:lnTo>
                  <a:lnTo>
                    <a:pt x="1109" y="152"/>
                  </a:lnTo>
                  <a:lnTo>
                    <a:pt x="1103" y="144"/>
                  </a:lnTo>
                  <a:lnTo>
                    <a:pt x="1095" y="134"/>
                  </a:lnTo>
                  <a:lnTo>
                    <a:pt x="1092" y="127"/>
                  </a:lnTo>
                  <a:lnTo>
                    <a:pt x="1052" y="89"/>
                  </a:lnTo>
                  <a:lnTo>
                    <a:pt x="1047" y="84"/>
                  </a:lnTo>
                  <a:lnTo>
                    <a:pt x="1036" y="84"/>
                  </a:lnTo>
                  <a:lnTo>
                    <a:pt x="1030" y="78"/>
                  </a:lnTo>
                  <a:lnTo>
                    <a:pt x="1028" y="73"/>
                  </a:lnTo>
                  <a:lnTo>
                    <a:pt x="1025" y="67"/>
                  </a:lnTo>
                  <a:lnTo>
                    <a:pt x="1011" y="64"/>
                  </a:lnTo>
                  <a:lnTo>
                    <a:pt x="997" y="62"/>
                  </a:lnTo>
                  <a:lnTo>
                    <a:pt x="993" y="58"/>
                  </a:lnTo>
                  <a:lnTo>
                    <a:pt x="982" y="54"/>
                  </a:lnTo>
                  <a:lnTo>
                    <a:pt x="968" y="48"/>
                  </a:lnTo>
                  <a:lnTo>
                    <a:pt x="950" y="43"/>
                  </a:lnTo>
                  <a:lnTo>
                    <a:pt x="917" y="33"/>
                  </a:lnTo>
                  <a:lnTo>
                    <a:pt x="903" y="28"/>
                  </a:lnTo>
                  <a:lnTo>
                    <a:pt x="900" y="22"/>
                  </a:lnTo>
                  <a:lnTo>
                    <a:pt x="897" y="17"/>
                  </a:lnTo>
                  <a:lnTo>
                    <a:pt x="881" y="17"/>
                  </a:lnTo>
                  <a:lnTo>
                    <a:pt x="867" y="9"/>
                  </a:lnTo>
                  <a:lnTo>
                    <a:pt x="853" y="0"/>
                  </a:lnTo>
                  <a:lnTo>
                    <a:pt x="787" y="0"/>
                  </a:lnTo>
                  <a:lnTo>
                    <a:pt x="786" y="2"/>
                  </a:lnTo>
                  <a:lnTo>
                    <a:pt x="783" y="3"/>
                  </a:lnTo>
                  <a:lnTo>
                    <a:pt x="781" y="5"/>
                  </a:lnTo>
                  <a:lnTo>
                    <a:pt x="778" y="6"/>
                  </a:lnTo>
                  <a:lnTo>
                    <a:pt x="770" y="6"/>
                  </a:lnTo>
                  <a:lnTo>
                    <a:pt x="764" y="6"/>
                  </a:lnTo>
                  <a:lnTo>
                    <a:pt x="763" y="8"/>
                  </a:lnTo>
                  <a:lnTo>
                    <a:pt x="761" y="9"/>
                  </a:lnTo>
                  <a:lnTo>
                    <a:pt x="759" y="10"/>
                  </a:lnTo>
                  <a:lnTo>
                    <a:pt x="756" y="11"/>
                  </a:lnTo>
                  <a:lnTo>
                    <a:pt x="748" y="11"/>
                  </a:lnTo>
                  <a:lnTo>
                    <a:pt x="742" y="11"/>
                  </a:lnTo>
                  <a:lnTo>
                    <a:pt x="741" y="15"/>
                  </a:lnTo>
                  <a:lnTo>
                    <a:pt x="739" y="17"/>
                  </a:lnTo>
                  <a:lnTo>
                    <a:pt x="735" y="17"/>
                  </a:lnTo>
                  <a:lnTo>
                    <a:pt x="731" y="17"/>
                  </a:lnTo>
                  <a:lnTo>
                    <a:pt x="729" y="22"/>
                  </a:lnTo>
                  <a:lnTo>
                    <a:pt x="725" y="28"/>
                  </a:lnTo>
                  <a:lnTo>
                    <a:pt x="720" y="31"/>
                  </a:lnTo>
                  <a:lnTo>
                    <a:pt x="714" y="34"/>
                  </a:lnTo>
                  <a:lnTo>
                    <a:pt x="714" y="45"/>
                  </a:lnTo>
                  <a:lnTo>
                    <a:pt x="713" y="51"/>
                  </a:lnTo>
                  <a:lnTo>
                    <a:pt x="709" y="67"/>
                  </a:lnTo>
                  <a:lnTo>
                    <a:pt x="705" y="85"/>
                  </a:lnTo>
                  <a:lnTo>
                    <a:pt x="703" y="95"/>
                  </a:lnTo>
                  <a:lnTo>
                    <a:pt x="702" y="96"/>
                  </a:lnTo>
                  <a:lnTo>
                    <a:pt x="700" y="98"/>
                  </a:lnTo>
                  <a:lnTo>
                    <a:pt x="699" y="102"/>
                  </a:lnTo>
                  <a:lnTo>
                    <a:pt x="697" y="106"/>
                  </a:lnTo>
                  <a:lnTo>
                    <a:pt x="695" y="110"/>
                  </a:lnTo>
                  <a:lnTo>
                    <a:pt x="693" y="113"/>
                  </a:lnTo>
                  <a:lnTo>
                    <a:pt x="691" y="116"/>
                  </a:lnTo>
                  <a:lnTo>
                    <a:pt x="686" y="117"/>
                  </a:lnTo>
                  <a:lnTo>
                    <a:pt x="686" y="127"/>
                  </a:lnTo>
                  <a:lnTo>
                    <a:pt x="683" y="128"/>
                  </a:lnTo>
                  <a:lnTo>
                    <a:pt x="678" y="132"/>
                  </a:lnTo>
                  <a:lnTo>
                    <a:pt x="675" y="135"/>
                  </a:lnTo>
                  <a:lnTo>
                    <a:pt x="672" y="140"/>
                  </a:lnTo>
                  <a:lnTo>
                    <a:pt x="666" y="149"/>
                  </a:lnTo>
                  <a:lnTo>
                    <a:pt x="665" y="155"/>
                  </a:lnTo>
                  <a:lnTo>
                    <a:pt x="654" y="161"/>
                  </a:lnTo>
                  <a:lnTo>
                    <a:pt x="654" y="172"/>
                  </a:lnTo>
                  <a:lnTo>
                    <a:pt x="648" y="178"/>
                  </a:lnTo>
                  <a:lnTo>
                    <a:pt x="643" y="183"/>
                  </a:lnTo>
                  <a:lnTo>
                    <a:pt x="637" y="187"/>
                  </a:lnTo>
                  <a:lnTo>
                    <a:pt x="632" y="189"/>
                  </a:lnTo>
                  <a:lnTo>
                    <a:pt x="632" y="200"/>
                  </a:lnTo>
                  <a:lnTo>
                    <a:pt x="628" y="203"/>
                  </a:lnTo>
                  <a:lnTo>
                    <a:pt x="626" y="214"/>
                  </a:lnTo>
                  <a:lnTo>
                    <a:pt x="622" y="229"/>
                  </a:lnTo>
                  <a:lnTo>
                    <a:pt x="618" y="247"/>
                  </a:lnTo>
                  <a:lnTo>
                    <a:pt x="612" y="281"/>
                  </a:lnTo>
                  <a:lnTo>
                    <a:pt x="609" y="305"/>
                  </a:lnTo>
                  <a:lnTo>
                    <a:pt x="607" y="330"/>
                  </a:lnTo>
                  <a:lnTo>
                    <a:pt x="604" y="357"/>
                  </a:lnTo>
                  <a:lnTo>
                    <a:pt x="600" y="384"/>
                  </a:lnTo>
                  <a:lnTo>
                    <a:pt x="598" y="411"/>
                  </a:lnTo>
                  <a:lnTo>
                    <a:pt x="605" y="416"/>
                  </a:lnTo>
                  <a:lnTo>
                    <a:pt x="614" y="424"/>
                  </a:lnTo>
                  <a:lnTo>
                    <a:pt x="623" y="432"/>
                  </a:lnTo>
                  <a:lnTo>
                    <a:pt x="626" y="438"/>
                  </a:lnTo>
                  <a:lnTo>
                    <a:pt x="632" y="443"/>
                  </a:lnTo>
                  <a:lnTo>
                    <a:pt x="643" y="443"/>
                  </a:lnTo>
                  <a:lnTo>
                    <a:pt x="645" y="450"/>
                  </a:lnTo>
                  <a:lnTo>
                    <a:pt x="651" y="457"/>
                  </a:lnTo>
                  <a:lnTo>
                    <a:pt x="656" y="463"/>
                  </a:lnTo>
                  <a:lnTo>
                    <a:pt x="660" y="466"/>
                  </a:lnTo>
                  <a:lnTo>
                    <a:pt x="660" y="477"/>
                  </a:lnTo>
                  <a:lnTo>
                    <a:pt x="661" y="478"/>
                  </a:lnTo>
                  <a:lnTo>
                    <a:pt x="662" y="479"/>
                  </a:lnTo>
                  <a:lnTo>
                    <a:pt x="663" y="480"/>
                  </a:lnTo>
                  <a:lnTo>
                    <a:pt x="664" y="483"/>
                  </a:lnTo>
                  <a:lnTo>
                    <a:pt x="664" y="489"/>
                  </a:lnTo>
                  <a:lnTo>
                    <a:pt x="665" y="493"/>
                  </a:lnTo>
                  <a:lnTo>
                    <a:pt x="662" y="495"/>
                  </a:lnTo>
                  <a:lnTo>
                    <a:pt x="660" y="497"/>
                  </a:lnTo>
                  <a:lnTo>
                    <a:pt x="657" y="501"/>
                  </a:lnTo>
                  <a:lnTo>
                    <a:pt x="654" y="506"/>
                  </a:lnTo>
                  <a:lnTo>
                    <a:pt x="649" y="515"/>
                  </a:lnTo>
                  <a:lnTo>
                    <a:pt x="648" y="521"/>
                  </a:lnTo>
                  <a:lnTo>
                    <a:pt x="643" y="527"/>
                  </a:lnTo>
                  <a:lnTo>
                    <a:pt x="623" y="527"/>
                  </a:lnTo>
                  <a:lnTo>
                    <a:pt x="601" y="528"/>
                  </a:lnTo>
                  <a:lnTo>
                    <a:pt x="579" y="528"/>
                  </a:lnTo>
                  <a:lnTo>
                    <a:pt x="556" y="529"/>
                  </a:lnTo>
                  <a:lnTo>
                    <a:pt x="532" y="530"/>
                  </a:lnTo>
                  <a:lnTo>
                    <a:pt x="509" y="531"/>
                  </a:lnTo>
                  <a:lnTo>
                    <a:pt x="486" y="533"/>
                  </a:lnTo>
                  <a:lnTo>
                    <a:pt x="465" y="533"/>
                  </a:lnTo>
                  <a:lnTo>
                    <a:pt x="464" y="534"/>
                  </a:lnTo>
                  <a:lnTo>
                    <a:pt x="463" y="536"/>
                  </a:lnTo>
                  <a:lnTo>
                    <a:pt x="462" y="536"/>
                  </a:lnTo>
                  <a:lnTo>
                    <a:pt x="459" y="537"/>
                  </a:lnTo>
                  <a:lnTo>
                    <a:pt x="453" y="538"/>
                  </a:lnTo>
                  <a:lnTo>
                    <a:pt x="449" y="538"/>
                  </a:lnTo>
                  <a:lnTo>
                    <a:pt x="446" y="544"/>
                  </a:lnTo>
                  <a:lnTo>
                    <a:pt x="443" y="549"/>
                  </a:lnTo>
                  <a:lnTo>
                    <a:pt x="438" y="549"/>
                  </a:lnTo>
                  <a:lnTo>
                    <a:pt x="433" y="549"/>
                  </a:lnTo>
                  <a:lnTo>
                    <a:pt x="431" y="550"/>
                  </a:lnTo>
                  <a:lnTo>
                    <a:pt x="428" y="551"/>
                  </a:lnTo>
                  <a:lnTo>
                    <a:pt x="427" y="553"/>
                  </a:lnTo>
                  <a:lnTo>
                    <a:pt x="426" y="555"/>
                  </a:lnTo>
                  <a:lnTo>
                    <a:pt x="409" y="555"/>
                  </a:lnTo>
                  <a:lnTo>
                    <a:pt x="409" y="556"/>
                  </a:lnTo>
                  <a:lnTo>
                    <a:pt x="407" y="557"/>
                  </a:lnTo>
                  <a:lnTo>
                    <a:pt x="404" y="558"/>
                  </a:lnTo>
                  <a:lnTo>
                    <a:pt x="401" y="559"/>
                  </a:lnTo>
                  <a:lnTo>
                    <a:pt x="394" y="559"/>
                  </a:lnTo>
                  <a:lnTo>
                    <a:pt x="387" y="560"/>
                  </a:lnTo>
                  <a:lnTo>
                    <a:pt x="379" y="563"/>
                  </a:lnTo>
                  <a:lnTo>
                    <a:pt x="358" y="566"/>
                  </a:lnTo>
                  <a:lnTo>
                    <a:pt x="327" y="569"/>
                  </a:lnTo>
                  <a:lnTo>
                    <a:pt x="291" y="573"/>
                  </a:lnTo>
                  <a:lnTo>
                    <a:pt x="254" y="576"/>
                  </a:lnTo>
                  <a:lnTo>
                    <a:pt x="222" y="579"/>
                  </a:lnTo>
                  <a:lnTo>
                    <a:pt x="196" y="582"/>
                  </a:lnTo>
                  <a:lnTo>
                    <a:pt x="183" y="582"/>
                  </a:lnTo>
                  <a:lnTo>
                    <a:pt x="177" y="584"/>
                  </a:lnTo>
                  <a:lnTo>
                    <a:pt x="163" y="586"/>
                  </a:lnTo>
                  <a:lnTo>
                    <a:pt x="143" y="588"/>
                  </a:lnTo>
                  <a:lnTo>
                    <a:pt x="119" y="589"/>
                  </a:lnTo>
                  <a:lnTo>
                    <a:pt x="70" y="592"/>
                  </a:lnTo>
                  <a:lnTo>
                    <a:pt x="39" y="593"/>
                  </a:lnTo>
                  <a:lnTo>
                    <a:pt x="36" y="598"/>
                  </a:lnTo>
                  <a:lnTo>
                    <a:pt x="33" y="604"/>
                  </a:lnTo>
                  <a:lnTo>
                    <a:pt x="22" y="604"/>
                  </a:lnTo>
                  <a:lnTo>
                    <a:pt x="20" y="608"/>
                  </a:lnTo>
                  <a:lnTo>
                    <a:pt x="13" y="618"/>
                  </a:lnTo>
                  <a:lnTo>
                    <a:pt x="10" y="623"/>
                  </a:lnTo>
                  <a:lnTo>
                    <a:pt x="5" y="627"/>
                  </a:lnTo>
                  <a:lnTo>
                    <a:pt x="2" y="631"/>
                  </a:lnTo>
                  <a:lnTo>
                    <a:pt x="0" y="632"/>
                  </a:lnTo>
                  <a:lnTo>
                    <a:pt x="5" y="742"/>
                  </a:lnTo>
                  <a:lnTo>
                    <a:pt x="8" y="743"/>
                  </a:lnTo>
                  <a:lnTo>
                    <a:pt x="9" y="746"/>
                  </a:lnTo>
                  <a:lnTo>
                    <a:pt x="10" y="750"/>
                  </a:lnTo>
                  <a:lnTo>
                    <a:pt x="10" y="755"/>
                  </a:lnTo>
                  <a:lnTo>
                    <a:pt x="11" y="764"/>
                  </a:lnTo>
                  <a:lnTo>
                    <a:pt x="11" y="770"/>
                  </a:lnTo>
                  <a:lnTo>
                    <a:pt x="14" y="771"/>
                  </a:lnTo>
                  <a:lnTo>
                    <a:pt x="17" y="774"/>
                  </a:lnTo>
                  <a:lnTo>
                    <a:pt x="19" y="777"/>
                  </a:lnTo>
                  <a:lnTo>
                    <a:pt x="21" y="781"/>
                  </a:lnTo>
                  <a:lnTo>
                    <a:pt x="23" y="793"/>
                  </a:lnTo>
                  <a:lnTo>
                    <a:pt x="25" y="806"/>
                  </a:lnTo>
                  <a:lnTo>
                    <a:pt x="28" y="834"/>
                  </a:lnTo>
                  <a:lnTo>
                    <a:pt x="28" y="854"/>
                  </a:lnTo>
                  <a:lnTo>
                    <a:pt x="30" y="854"/>
                  </a:lnTo>
                  <a:lnTo>
                    <a:pt x="32" y="855"/>
                  </a:lnTo>
                  <a:lnTo>
                    <a:pt x="33" y="857"/>
                  </a:lnTo>
                  <a:lnTo>
                    <a:pt x="36" y="860"/>
                  </a:lnTo>
                  <a:lnTo>
                    <a:pt x="38" y="865"/>
                  </a:lnTo>
                  <a:lnTo>
                    <a:pt x="39" y="870"/>
                  </a:lnTo>
                  <a:lnTo>
                    <a:pt x="53" y="873"/>
                  </a:lnTo>
                  <a:lnTo>
                    <a:pt x="72" y="875"/>
                  </a:lnTo>
                  <a:lnTo>
                    <a:pt x="84" y="881"/>
                  </a:lnTo>
                  <a:lnTo>
                    <a:pt x="99" y="886"/>
                  </a:lnTo>
                  <a:lnTo>
                    <a:pt x="99" y="897"/>
                  </a:lnTo>
                  <a:lnTo>
                    <a:pt x="101" y="899"/>
                  </a:lnTo>
                  <a:lnTo>
                    <a:pt x="104" y="901"/>
                  </a:lnTo>
                  <a:lnTo>
                    <a:pt x="106" y="903"/>
                  </a:lnTo>
                  <a:lnTo>
                    <a:pt x="107" y="906"/>
                  </a:lnTo>
                  <a:lnTo>
                    <a:pt x="109" y="914"/>
                  </a:lnTo>
                  <a:lnTo>
                    <a:pt x="110" y="920"/>
                  </a:lnTo>
                  <a:lnTo>
                    <a:pt x="121" y="925"/>
                  </a:lnTo>
                  <a:lnTo>
                    <a:pt x="121" y="937"/>
                  </a:lnTo>
                  <a:lnTo>
                    <a:pt x="125" y="943"/>
                  </a:lnTo>
                  <a:lnTo>
                    <a:pt x="130" y="959"/>
                  </a:lnTo>
                  <a:lnTo>
                    <a:pt x="136" y="982"/>
                  </a:lnTo>
                  <a:lnTo>
                    <a:pt x="143" y="1008"/>
                  </a:lnTo>
                  <a:lnTo>
                    <a:pt x="155" y="1058"/>
                  </a:lnTo>
                  <a:lnTo>
                    <a:pt x="161" y="1080"/>
                  </a:lnTo>
                  <a:lnTo>
                    <a:pt x="163" y="1083"/>
                  </a:lnTo>
                  <a:lnTo>
                    <a:pt x="167" y="1088"/>
                  </a:lnTo>
                  <a:lnTo>
                    <a:pt x="172" y="1095"/>
                  </a:lnTo>
                  <a:lnTo>
                    <a:pt x="177" y="1097"/>
                  </a:lnTo>
                  <a:lnTo>
                    <a:pt x="177" y="1114"/>
                  </a:lnTo>
                  <a:lnTo>
                    <a:pt x="178" y="1114"/>
                  </a:lnTo>
                  <a:lnTo>
                    <a:pt x="181" y="1115"/>
                  </a:lnTo>
                  <a:lnTo>
                    <a:pt x="182" y="1117"/>
                  </a:lnTo>
                  <a:lnTo>
                    <a:pt x="182" y="1120"/>
                  </a:lnTo>
                  <a:lnTo>
                    <a:pt x="183" y="1125"/>
                  </a:lnTo>
                  <a:lnTo>
                    <a:pt x="183" y="1131"/>
                  </a:lnTo>
                  <a:lnTo>
                    <a:pt x="188" y="1136"/>
                  </a:lnTo>
                  <a:lnTo>
                    <a:pt x="194" y="1139"/>
                  </a:lnTo>
                  <a:lnTo>
                    <a:pt x="200" y="1142"/>
                  </a:lnTo>
                  <a:lnTo>
                    <a:pt x="200" y="1153"/>
                  </a:lnTo>
                  <a:lnTo>
                    <a:pt x="203" y="1153"/>
                  </a:lnTo>
                  <a:lnTo>
                    <a:pt x="206" y="1156"/>
                  </a:lnTo>
                  <a:lnTo>
                    <a:pt x="210" y="1160"/>
                  </a:lnTo>
                  <a:lnTo>
                    <a:pt x="212" y="1164"/>
                  </a:lnTo>
                  <a:lnTo>
                    <a:pt x="215" y="1173"/>
                  </a:lnTo>
                  <a:lnTo>
                    <a:pt x="216" y="1180"/>
                  </a:lnTo>
                  <a:lnTo>
                    <a:pt x="217" y="1181"/>
                  </a:lnTo>
                  <a:lnTo>
                    <a:pt x="220" y="1182"/>
                  </a:lnTo>
                  <a:lnTo>
                    <a:pt x="222" y="1185"/>
                  </a:lnTo>
                  <a:lnTo>
                    <a:pt x="223" y="1189"/>
                  </a:lnTo>
                  <a:lnTo>
                    <a:pt x="226" y="1198"/>
                  </a:lnTo>
                  <a:lnTo>
                    <a:pt x="229" y="1209"/>
                  </a:lnTo>
                  <a:lnTo>
                    <a:pt x="234" y="1229"/>
                  </a:lnTo>
                  <a:lnTo>
                    <a:pt x="238" y="1241"/>
                  </a:lnTo>
                  <a:lnTo>
                    <a:pt x="238" y="1258"/>
                  </a:lnTo>
                  <a:lnTo>
                    <a:pt x="252" y="1257"/>
                  </a:lnTo>
                  <a:lnTo>
                    <a:pt x="278" y="1255"/>
                  </a:lnTo>
                  <a:lnTo>
                    <a:pt x="307" y="1253"/>
                  </a:lnTo>
                  <a:lnTo>
                    <a:pt x="327" y="1252"/>
                  </a:lnTo>
                  <a:lnTo>
                    <a:pt x="329" y="1259"/>
                  </a:lnTo>
                  <a:lnTo>
                    <a:pt x="332" y="1267"/>
                  </a:lnTo>
                  <a:lnTo>
                    <a:pt x="332" y="1266"/>
                  </a:lnTo>
                  <a:lnTo>
                    <a:pt x="332" y="1264"/>
                  </a:lnTo>
                  <a:lnTo>
                    <a:pt x="344" y="1264"/>
                  </a:lnTo>
                  <a:lnTo>
                    <a:pt x="348" y="1258"/>
                  </a:lnTo>
                  <a:lnTo>
                    <a:pt x="355" y="1252"/>
                  </a:lnTo>
                  <a:lnTo>
                    <a:pt x="360" y="1249"/>
                  </a:lnTo>
                  <a:lnTo>
                    <a:pt x="366" y="1247"/>
                  </a:lnTo>
                  <a:lnTo>
                    <a:pt x="366" y="1252"/>
                  </a:lnTo>
                  <a:lnTo>
                    <a:pt x="382" y="1255"/>
                  </a:lnTo>
                  <a:lnTo>
                    <a:pt x="393" y="1258"/>
                  </a:lnTo>
                  <a:lnTo>
                    <a:pt x="398" y="1264"/>
                  </a:lnTo>
                  <a:lnTo>
                    <a:pt x="398" y="1275"/>
                  </a:lnTo>
                  <a:lnTo>
                    <a:pt x="404" y="1280"/>
                  </a:lnTo>
                  <a:lnTo>
                    <a:pt x="409" y="1281"/>
                  </a:lnTo>
                  <a:lnTo>
                    <a:pt x="415" y="1284"/>
                  </a:lnTo>
                  <a:lnTo>
                    <a:pt x="417" y="1285"/>
                  </a:lnTo>
                  <a:lnTo>
                    <a:pt x="420" y="1287"/>
                  </a:lnTo>
                  <a:lnTo>
                    <a:pt x="421" y="1289"/>
                  </a:lnTo>
                  <a:lnTo>
                    <a:pt x="421" y="1291"/>
                  </a:lnTo>
                  <a:lnTo>
                    <a:pt x="425" y="1291"/>
                  </a:lnTo>
                  <a:lnTo>
                    <a:pt x="428" y="1291"/>
                  </a:lnTo>
                  <a:lnTo>
                    <a:pt x="431" y="1294"/>
                  </a:lnTo>
                  <a:lnTo>
                    <a:pt x="432" y="1297"/>
                  </a:lnTo>
                  <a:lnTo>
                    <a:pt x="437" y="1297"/>
                  </a:lnTo>
                  <a:lnTo>
                    <a:pt x="442" y="1297"/>
                  </a:lnTo>
                  <a:lnTo>
                    <a:pt x="445" y="1298"/>
                  </a:lnTo>
                  <a:lnTo>
                    <a:pt x="446" y="1299"/>
                  </a:lnTo>
                  <a:lnTo>
                    <a:pt x="449" y="1300"/>
                  </a:lnTo>
                  <a:lnTo>
                    <a:pt x="449" y="1301"/>
                  </a:lnTo>
                  <a:lnTo>
                    <a:pt x="456" y="1304"/>
                  </a:lnTo>
                  <a:lnTo>
                    <a:pt x="468" y="1308"/>
                  </a:lnTo>
                  <a:lnTo>
                    <a:pt x="473" y="1310"/>
                  </a:lnTo>
                  <a:lnTo>
                    <a:pt x="478" y="1314"/>
                  </a:lnTo>
                  <a:lnTo>
                    <a:pt x="481" y="1316"/>
                  </a:lnTo>
                  <a:lnTo>
                    <a:pt x="482" y="1318"/>
                  </a:lnTo>
                  <a:lnTo>
                    <a:pt x="493" y="1319"/>
                  </a:lnTo>
                  <a:lnTo>
                    <a:pt x="507" y="1322"/>
                  </a:lnTo>
                  <a:lnTo>
                    <a:pt x="520" y="1324"/>
                  </a:lnTo>
                  <a:lnTo>
                    <a:pt x="536" y="1327"/>
                  </a:lnTo>
                  <a:lnTo>
                    <a:pt x="551" y="1330"/>
                  </a:lnTo>
                  <a:lnTo>
                    <a:pt x="568" y="1333"/>
                  </a:lnTo>
                  <a:lnTo>
                    <a:pt x="584" y="1335"/>
                  </a:lnTo>
                  <a:lnTo>
                    <a:pt x="598" y="1335"/>
                  </a:lnTo>
                  <a:lnTo>
                    <a:pt x="606" y="1327"/>
                  </a:lnTo>
                  <a:lnTo>
                    <a:pt x="615" y="1318"/>
                  </a:lnTo>
                  <a:lnTo>
                    <a:pt x="626" y="1318"/>
                  </a:lnTo>
                  <a:lnTo>
                    <a:pt x="632" y="1313"/>
                  </a:lnTo>
                  <a:lnTo>
                    <a:pt x="632" y="1301"/>
                  </a:lnTo>
                  <a:lnTo>
                    <a:pt x="643" y="1297"/>
                  </a:lnTo>
                  <a:lnTo>
                    <a:pt x="643" y="1291"/>
                  </a:lnTo>
                  <a:lnTo>
                    <a:pt x="643" y="1286"/>
                  </a:lnTo>
                  <a:lnTo>
                    <a:pt x="644" y="1284"/>
                  </a:lnTo>
                  <a:lnTo>
                    <a:pt x="645" y="1281"/>
                  </a:lnTo>
                  <a:lnTo>
                    <a:pt x="646" y="1280"/>
                  </a:lnTo>
                  <a:lnTo>
                    <a:pt x="648" y="1280"/>
                  </a:lnTo>
                  <a:lnTo>
                    <a:pt x="648" y="1264"/>
                  </a:lnTo>
                  <a:lnTo>
                    <a:pt x="649" y="1262"/>
                  </a:lnTo>
                  <a:lnTo>
                    <a:pt x="654" y="1260"/>
                  </a:lnTo>
                  <a:lnTo>
                    <a:pt x="657" y="1256"/>
                  </a:lnTo>
                  <a:lnTo>
                    <a:pt x="660" y="1252"/>
                  </a:lnTo>
                  <a:lnTo>
                    <a:pt x="663" y="1252"/>
                  </a:lnTo>
                  <a:lnTo>
                    <a:pt x="666" y="1251"/>
                  </a:lnTo>
                  <a:lnTo>
                    <a:pt x="670" y="1250"/>
                  </a:lnTo>
                  <a:lnTo>
                    <a:pt x="671" y="1247"/>
                  </a:lnTo>
                  <a:lnTo>
                    <a:pt x="674" y="1247"/>
                  </a:lnTo>
                  <a:lnTo>
                    <a:pt x="677" y="1246"/>
                  </a:lnTo>
                  <a:lnTo>
                    <a:pt x="681" y="1245"/>
                  </a:lnTo>
                  <a:lnTo>
                    <a:pt x="681" y="1241"/>
                  </a:lnTo>
                  <a:lnTo>
                    <a:pt x="685" y="1241"/>
                  </a:lnTo>
                  <a:lnTo>
                    <a:pt x="689" y="1240"/>
                  </a:lnTo>
                  <a:lnTo>
                    <a:pt x="692" y="1239"/>
                  </a:lnTo>
                  <a:lnTo>
                    <a:pt x="692" y="1236"/>
                  </a:lnTo>
                  <a:lnTo>
                    <a:pt x="709" y="1236"/>
                  </a:lnTo>
                  <a:lnTo>
                    <a:pt x="735" y="1235"/>
                  </a:lnTo>
                  <a:lnTo>
                    <a:pt x="748" y="1235"/>
                  </a:lnTo>
                  <a:lnTo>
                    <a:pt x="759" y="1233"/>
                  </a:lnTo>
                  <a:lnTo>
                    <a:pt x="767" y="1232"/>
                  </a:lnTo>
                  <a:lnTo>
                    <a:pt x="770" y="1230"/>
                  </a:lnTo>
                  <a:lnTo>
                    <a:pt x="781" y="1230"/>
                  </a:lnTo>
                  <a:lnTo>
                    <a:pt x="781" y="1226"/>
                  </a:lnTo>
                  <a:lnTo>
                    <a:pt x="781" y="1220"/>
                  </a:lnTo>
                  <a:lnTo>
                    <a:pt x="782" y="1218"/>
                  </a:lnTo>
                  <a:lnTo>
                    <a:pt x="783" y="1216"/>
                  </a:lnTo>
                  <a:lnTo>
                    <a:pt x="785" y="1214"/>
                  </a:lnTo>
                  <a:lnTo>
                    <a:pt x="787" y="1213"/>
                  </a:lnTo>
                  <a:lnTo>
                    <a:pt x="787" y="1202"/>
                  </a:lnTo>
                  <a:lnTo>
                    <a:pt x="788" y="1200"/>
                  </a:lnTo>
                  <a:lnTo>
                    <a:pt x="790" y="1194"/>
                  </a:lnTo>
                  <a:lnTo>
                    <a:pt x="793" y="1191"/>
                  </a:lnTo>
                  <a:lnTo>
                    <a:pt x="796" y="1189"/>
                  </a:lnTo>
                  <a:lnTo>
                    <a:pt x="799" y="1187"/>
                  </a:lnTo>
                  <a:lnTo>
                    <a:pt x="804" y="1185"/>
                  </a:lnTo>
                  <a:lnTo>
                    <a:pt x="809" y="1174"/>
                  </a:lnTo>
                  <a:lnTo>
                    <a:pt x="809" y="1163"/>
                  </a:lnTo>
                  <a:lnTo>
                    <a:pt x="817" y="1164"/>
                  </a:lnTo>
                  <a:lnTo>
                    <a:pt x="830" y="1164"/>
                  </a:lnTo>
                  <a:lnTo>
                    <a:pt x="837" y="1165"/>
                  </a:lnTo>
                  <a:lnTo>
                    <a:pt x="843" y="1166"/>
                  </a:lnTo>
                  <a:lnTo>
                    <a:pt x="846" y="1168"/>
                  </a:lnTo>
                  <a:lnTo>
                    <a:pt x="847" y="1169"/>
                  </a:lnTo>
                  <a:lnTo>
                    <a:pt x="858" y="1169"/>
                  </a:lnTo>
                  <a:lnTo>
                    <a:pt x="864" y="1174"/>
                  </a:lnTo>
                  <a:lnTo>
                    <a:pt x="865" y="1180"/>
                  </a:lnTo>
                  <a:lnTo>
                    <a:pt x="867" y="1185"/>
                  </a:lnTo>
                  <a:lnTo>
                    <a:pt x="869" y="1188"/>
                  </a:lnTo>
                  <a:lnTo>
                    <a:pt x="871" y="1190"/>
                  </a:lnTo>
                  <a:lnTo>
                    <a:pt x="873" y="1191"/>
                  </a:lnTo>
                  <a:lnTo>
                    <a:pt x="875" y="1191"/>
                  </a:lnTo>
                  <a:lnTo>
                    <a:pt x="876" y="1222"/>
                  </a:lnTo>
                  <a:lnTo>
                    <a:pt x="878" y="1255"/>
                  </a:lnTo>
                  <a:lnTo>
                    <a:pt x="879" y="1286"/>
                  </a:lnTo>
                  <a:lnTo>
                    <a:pt x="881" y="1313"/>
                  </a:lnTo>
                  <a:lnTo>
                    <a:pt x="892" y="1324"/>
                  </a:lnTo>
                  <a:lnTo>
                    <a:pt x="892" y="1335"/>
                  </a:lnTo>
                  <a:lnTo>
                    <a:pt x="896" y="1338"/>
                  </a:lnTo>
                  <a:lnTo>
                    <a:pt x="902" y="1344"/>
                  </a:lnTo>
                  <a:lnTo>
                    <a:pt x="906" y="1349"/>
                  </a:lnTo>
                  <a:lnTo>
                    <a:pt x="908" y="1352"/>
                  </a:lnTo>
                  <a:lnTo>
                    <a:pt x="931" y="1352"/>
                  </a:lnTo>
                  <a:lnTo>
                    <a:pt x="954" y="1351"/>
                  </a:lnTo>
                  <a:lnTo>
                    <a:pt x="977" y="1351"/>
                  </a:lnTo>
                  <a:lnTo>
                    <a:pt x="1000" y="1349"/>
                  </a:lnTo>
                  <a:lnTo>
                    <a:pt x="1022" y="1348"/>
                  </a:lnTo>
                  <a:lnTo>
                    <a:pt x="1046" y="1347"/>
                  </a:lnTo>
                  <a:lnTo>
                    <a:pt x="1068" y="1346"/>
                  </a:lnTo>
                  <a:lnTo>
                    <a:pt x="1092" y="1346"/>
                  </a:lnTo>
                  <a:lnTo>
                    <a:pt x="1094" y="1352"/>
                  </a:lnTo>
                  <a:lnTo>
                    <a:pt x="1097" y="1357"/>
                  </a:lnTo>
                  <a:lnTo>
                    <a:pt x="1103" y="1360"/>
                  </a:lnTo>
                  <a:lnTo>
                    <a:pt x="1109" y="1364"/>
                  </a:lnTo>
                  <a:lnTo>
                    <a:pt x="1113" y="1366"/>
                  </a:lnTo>
                  <a:lnTo>
                    <a:pt x="1116" y="1370"/>
                  </a:lnTo>
                  <a:lnTo>
                    <a:pt x="1118" y="1372"/>
                  </a:lnTo>
                  <a:lnTo>
                    <a:pt x="1118" y="1374"/>
                  </a:lnTo>
                  <a:lnTo>
                    <a:pt x="1127" y="1376"/>
                  </a:lnTo>
                  <a:lnTo>
                    <a:pt x="1135" y="1380"/>
                  </a:lnTo>
                  <a:lnTo>
                    <a:pt x="1141" y="1385"/>
                  </a:lnTo>
                  <a:lnTo>
                    <a:pt x="1146" y="1391"/>
                  </a:lnTo>
                  <a:lnTo>
                    <a:pt x="1152" y="1396"/>
                  </a:lnTo>
                  <a:lnTo>
                    <a:pt x="1157" y="1402"/>
                  </a:lnTo>
                  <a:lnTo>
                    <a:pt x="1157" y="1405"/>
                  </a:lnTo>
                  <a:lnTo>
                    <a:pt x="1159" y="1410"/>
                  </a:lnTo>
                  <a:lnTo>
                    <a:pt x="1160" y="1412"/>
                  </a:lnTo>
                  <a:lnTo>
                    <a:pt x="1163" y="1413"/>
                  </a:lnTo>
                  <a:lnTo>
                    <a:pt x="1163" y="1424"/>
                  </a:lnTo>
                  <a:lnTo>
                    <a:pt x="1174" y="1430"/>
                  </a:lnTo>
                  <a:lnTo>
                    <a:pt x="1174" y="1441"/>
                  </a:lnTo>
                  <a:lnTo>
                    <a:pt x="1179" y="1444"/>
                  </a:lnTo>
                  <a:lnTo>
                    <a:pt x="1182" y="1450"/>
                  </a:lnTo>
                  <a:lnTo>
                    <a:pt x="1184" y="1455"/>
                  </a:lnTo>
                  <a:lnTo>
                    <a:pt x="1185" y="1462"/>
                  </a:lnTo>
                  <a:lnTo>
                    <a:pt x="1202" y="1473"/>
                  </a:lnTo>
                  <a:lnTo>
                    <a:pt x="1219" y="1485"/>
                  </a:lnTo>
                  <a:lnTo>
                    <a:pt x="1227" y="1491"/>
                  </a:lnTo>
                  <a:lnTo>
                    <a:pt x="1244" y="1507"/>
                  </a:lnTo>
                  <a:lnTo>
                    <a:pt x="1263" y="1522"/>
                  </a:lnTo>
                  <a:lnTo>
                    <a:pt x="1273" y="1529"/>
                  </a:lnTo>
                  <a:lnTo>
                    <a:pt x="1275" y="1535"/>
                  </a:lnTo>
                  <a:lnTo>
                    <a:pt x="1278" y="1540"/>
                  </a:lnTo>
                  <a:lnTo>
                    <a:pt x="1282" y="1546"/>
                  </a:lnTo>
                  <a:lnTo>
                    <a:pt x="1288" y="1550"/>
                  </a:lnTo>
                  <a:lnTo>
                    <a:pt x="1292" y="1555"/>
                  </a:lnTo>
                  <a:lnTo>
                    <a:pt x="1297" y="1559"/>
                  </a:lnTo>
                  <a:lnTo>
                    <a:pt x="1300" y="1564"/>
                  </a:lnTo>
                  <a:lnTo>
                    <a:pt x="1301" y="1568"/>
                  </a:lnTo>
                  <a:lnTo>
                    <a:pt x="1313" y="1574"/>
                  </a:lnTo>
                  <a:lnTo>
                    <a:pt x="1324" y="1579"/>
                  </a:lnTo>
                  <a:lnTo>
                    <a:pt x="1325" y="1583"/>
                  </a:lnTo>
                  <a:lnTo>
                    <a:pt x="1327" y="1587"/>
                  </a:lnTo>
                  <a:lnTo>
                    <a:pt x="1330" y="1592"/>
                  </a:lnTo>
                  <a:lnTo>
                    <a:pt x="1335" y="1596"/>
                  </a:lnTo>
                  <a:lnTo>
                    <a:pt x="1346" y="1596"/>
                  </a:lnTo>
                  <a:lnTo>
                    <a:pt x="1348" y="1601"/>
                  </a:lnTo>
                  <a:lnTo>
                    <a:pt x="1352" y="1606"/>
                  </a:lnTo>
                  <a:lnTo>
                    <a:pt x="1363" y="1612"/>
                  </a:lnTo>
                  <a:lnTo>
                    <a:pt x="1363" y="1656"/>
                  </a:lnTo>
                  <a:lnTo>
                    <a:pt x="1361" y="1657"/>
                  </a:lnTo>
                  <a:lnTo>
                    <a:pt x="1359" y="1660"/>
                  </a:lnTo>
                  <a:lnTo>
                    <a:pt x="1358" y="1662"/>
                  </a:lnTo>
                  <a:lnTo>
                    <a:pt x="1357" y="1665"/>
                  </a:lnTo>
                  <a:lnTo>
                    <a:pt x="1357" y="1673"/>
                  </a:lnTo>
                  <a:lnTo>
                    <a:pt x="1357" y="1679"/>
                  </a:lnTo>
                  <a:lnTo>
                    <a:pt x="1352" y="1684"/>
                  </a:lnTo>
                  <a:lnTo>
                    <a:pt x="1346" y="1690"/>
                  </a:lnTo>
                  <a:lnTo>
                    <a:pt x="1340" y="1695"/>
                  </a:lnTo>
                  <a:lnTo>
                    <a:pt x="1335" y="1701"/>
                  </a:lnTo>
                  <a:lnTo>
                    <a:pt x="1324" y="1701"/>
                  </a:lnTo>
                  <a:lnTo>
                    <a:pt x="1318" y="1714"/>
                  </a:lnTo>
                  <a:lnTo>
                    <a:pt x="1313" y="1723"/>
                  </a:lnTo>
                  <a:lnTo>
                    <a:pt x="1313" y="1772"/>
                  </a:lnTo>
                  <a:lnTo>
                    <a:pt x="1451" y="1772"/>
                  </a:lnTo>
                  <a:lnTo>
                    <a:pt x="1460" y="1781"/>
                  </a:lnTo>
                  <a:lnTo>
                    <a:pt x="1468" y="1789"/>
                  </a:lnTo>
                  <a:lnTo>
                    <a:pt x="1482" y="1791"/>
                  </a:lnTo>
                  <a:lnTo>
                    <a:pt x="1502" y="1795"/>
                  </a:lnTo>
                  <a:lnTo>
                    <a:pt x="1508" y="1795"/>
                  </a:lnTo>
                  <a:lnTo>
                    <a:pt x="1512" y="1794"/>
                  </a:lnTo>
                  <a:lnTo>
                    <a:pt x="1517" y="1794"/>
                  </a:lnTo>
                  <a:lnTo>
                    <a:pt x="1521" y="1791"/>
                  </a:lnTo>
                  <a:lnTo>
                    <a:pt x="1524" y="1789"/>
                  </a:lnTo>
                  <a:lnTo>
                    <a:pt x="1527" y="1787"/>
                  </a:lnTo>
                  <a:lnTo>
                    <a:pt x="1528" y="1784"/>
                  </a:lnTo>
                  <a:lnTo>
                    <a:pt x="1529" y="1778"/>
                  </a:lnTo>
                  <a:lnTo>
                    <a:pt x="1546" y="1779"/>
                  </a:lnTo>
                  <a:lnTo>
                    <a:pt x="1561" y="1781"/>
                  </a:lnTo>
                  <a:lnTo>
                    <a:pt x="1578" y="1782"/>
                  </a:lnTo>
                  <a:lnTo>
                    <a:pt x="1595" y="1784"/>
                  </a:lnTo>
                  <a:lnTo>
                    <a:pt x="1596" y="1786"/>
                  </a:lnTo>
                  <a:lnTo>
                    <a:pt x="1596" y="1788"/>
                  </a:lnTo>
                  <a:lnTo>
                    <a:pt x="1598" y="1789"/>
                  </a:lnTo>
                  <a:lnTo>
                    <a:pt x="1601" y="1790"/>
                  </a:lnTo>
                  <a:lnTo>
                    <a:pt x="1606" y="1793"/>
                  </a:lnTo>
                  <a:lnTo>
                    <a:pt x="1615" y="1794"/>
                  </a:lnTo>
                  <a:lnTo>
                    <a:pt x="1635" y="1796"/>
                  </a:lnTo>
                  <a:lnTo>
                    <a:pt x="1659" y="1795"/>
                  </a:lnTo>
                  <a:lnTo>
                    <a:pt x="1706" y="1791"/>
                  </a:lnTo>
                  <a:lnTo>
                    <a:pt x="1733" y="1789"/>
                  </a:lnTo>
                  <a:lnTo>
                    <a:pt x="1735" y="1787"/>
                  </a:lnTo>
                  <a:lnTo>
                    <a:pt x="1738" y="1785"/>
                  </a:lnTo>
                  <a:lnTo>
                    <a:pt x="1742" y="1781"/>
                  </a:lnTo>
                  <a:lnTo>
                    <a:pt x="1748" y="1779"/>
                  </a:lnTo>
                  <a:lnTo>
                    <a:pt x="1759" y="1775"/>
                  </a:lnTo>
                  <a:lnTo>
                    <a:pt x="1767" y="1772"/>
                  </a:lnTo>
                  <a:lnTo>
                    <a:pt x="1768" y="1769"/>
                  </a:lnTo>
                  <a:lnTo>
                    <a:pt x="1770" y="1766"/>
                  </a:lnTo>
                  <a:lnTo>
                    <a:pt x="1775" y="1762"/>
                  </a:lnTo>
                  <a:lnTo>
                    <a:pt x="1779" y="1760"/>
                  </a:lnTo>
                  <a:lnTo>
                    <a:pt x="1788" y="1757"/>
                  </a:lnTo>
                  <a:lnTo>
                    <a:pt x="1795" y="1756"/>
                  </a:lnTo>
                  <a:lnTo>
                    <a:pt x="1796" y="1752"/>
                  </a:lnTo>
                  <a:lnTo>
                    <a:pt x="1798" y="1749"/>
                  </a:lnTo>
                  <a:lnTo>
                    <a:pt x="1802" y="1746"/>
                  </a:lnTo>
                  <a:lnTo>
                    <a:pt x="1806" y="1745"/>
                  </a:lnTo>
                  <a:lnTo>
                    <a:pt x="1806" y="1741"/>
                  </a:lnTo>
                  <a:lnTo>
                    <a:pt x="1806" y="1738"/>
                  </a:lnTo>
                  <a:lnTo>
                    <a:pt x="1808" y="1735"/>
                  </a:lnTo>
                  <a:lnTo>
                    <a:pt x="1812" y="1735"/>
                  </a:lnTo>
                  <a:lnTo>
                    <a:pt x="1812" y="1723"/>
                  </a:lnTo>
                  <a:lnTo>
                    <a:pt x="1817" y="1718"/>
                  </a:lnTo>
                  <a:lnTo>
                    <a:pt x="1823" y="1717"/>
                  </a:lnTo>
                  <a:lnTo>
                    <a:pt x="1828" y="1716"/>
                  </a:lnTo>
                  <a:lnTo>
                    <a:pt x="1834" y="1714"/>
                  </a:lnTo>
                  <a:lnTo>
                    <a:pt x="1839" y="1712"/>
                  </a:lnTo>
                  <a:lnTo>
                    <a:pt x="1844" y="1710"/>
                  </a:lnTo>
                  <a:lnTo>
                    <a:pt x="1850" y="1708"/>
                  </a:lnTo>
                  <a:lnTo>
                    <a:pt x="1855" y="1707"/>
                  </a:lnTo>
                  <a:lnTo>
                    <a:pt x="1861" y="1707"/>
                  </a:lnTo>
                  <a:lnTo>
                    <a:pt x="1866" y="1702"/>
                  </a:lnTo>
                  <a:lnTo>
                    <a:pt x="1872" y="1699"/>
                  </a:lnTo>
                  <a:lnTo>
                    <a:pt x="1879" y="1697"/>
                  </a:lnTo>
                  <a:lnTo>
                    <a:pt x="1883" y="1695"/>
                  </a:lnTo>
                  <a:lnTo>
                    <a:pt x="1890" y="1697"/>
                  </a:lnTo>
                  <a:lnTo>
                    <a:pt x="1894" y="1697"/>
                  </a:lnTo>
                  <a:lnTo>
                    <a:pt x="1900" y="1697"/>
                  </a:lnTo>
                  <a:lnTo>
                    <a:pt x="1903" y="1695"/>
                  </a:lnTo>
                  <a:lnTo>
                    <a:pt x="1906" y="1695"/>
                  </a:lnTo>
                  <a:lnTo>
                    <a:pt x="1909" y="1697"/>
                  </a:lnTo>
                  <a:lnTo>
                    <a:pt x="1911" y="1698"/>
                  </a:lnTo>
                  <a:lnTo>
                    <a:pt x="1911" y="1701"/>
                  </a:lnTo>
                  <a:lnTo>
                    <a:pt x="1920" y="1701"/>
                  </a:lnTo>
                  <a:lnTo>
                    <a:pt x="1935" y="1701"/>
                  </a:lnTo>
                  <a:lnTo>
                    <a:pt x="1943" y="1702"/>
                  </a:lnTo>
                  <a:lnTo>
                    <a:pt x="1949" y="1703"/>
                  </a:lnTo>
                  <a:lnTo>
                    <a:pt x="1953" y="1704"/>
                  </a:lnTo>
                  <a:lnTo>
                    <a:pt x="1956" y="1707"/>
                  </a:lnTo>
                  <a:lnTo>
                    <a:pt x="1967" y="1707"/>
                  </a:lnTo>
                  <a:lnTo>
                    <a:pt x="1972" y="1712"/>
                  </a:lnTo>
                  <a:lnTo>
                    <a:pt x="1972" y="1723"/>
                  </a:lnTo>
                  <a:lnTo>
                    <a:pt x="1976" y="1723"/>
                  </a:lnTo>
                  <a:lnTo>
                    <a:pt x="1979" y="1726"/>
                  </a:lnTo>
                  <a:lnTo>
                    <a:pt x="1982" y="1729"/>
                  </a:lnTo>
                  <a:lnTo>
                    <a:pt x="1985" y="1732"/>
                  </a:lnTo>
                  <a:lnTo>
                    <a:pt x="1988" y="1739"/>
                  </a:lnTo>
                  <a:lnTo>
                    <a:pt x="1989" y="1745"/>
                  </a:lnTo>
                  <a:lnTo>
                    <a:pt x="1995" y="1748"/>
                  </a:lnTo>
                  <a:lnTo>
                    <a:pt x="1999" y="1750"/>
                  </a:lnTo>
                  <a:lnTo>
                    <a:pt x="2005" y="1756"/>
                  </a:lnTo>
                  <a:lnTo>
                    <a:pt x="2010" y="1761"/>
                  </a:lnTo>
                  <a:lnTo>
                    <a:pt x="2010" y="1772"/>
                  </a:lnTo>
                  <a:lnTo>
                    <a:pt x="2015" y="1776"/>
                  </a:lnTo>
                  <a:lnTo>
                    <a:pt x="2019" y="1781"/>
                  </a:lnTo>
                  <a:lnTo>
                    <a:pt x="2023" y="1784"/>
                  </a:lnTo>
                  <a:lnTo>
                    <a:pt x="2026" y="1787"/>
                  </a:lnTo>
                  <a:lnTo>
                    <a:pt x="2029" y="1789"/>
                  </a:lnTo>
                  <a:lnTo>
                    <a:pt x="2033" y="1789"/>
                  </a:lnTo>
                  <a:lnTo>
                    <a:pt x="2036" y="1795"/>
                  </a:lnTo>
                  <a:lnTo>
                    <a:pt x="2038" y="1800"/>
                  </a:lnTo>
                  <a:lnTo>
                    <a:pt x="2043" y="1801"/>
                  </a:lnTo>
                  <a:lnTo>
                    <a:pt x="2046" y="1804"/>
                  </a:lnTo>
                  <a:lnTo>
                    <a:pt x="2048" y="1807"/>
                  </a:lnTo>
                  <a:lnTo>
                    <a:pt x="2049" y="1812"/>
                  </a:lnTo>
                  <a:lnTo>
                    <a:pt x="2055" y="1812"/>
                  </a:lnTo>
                  <a:lnTo>
                    <a:pt x="2059" y="1813"/>
                  </a:lnTo>
                  <a:lnTo>
                    <a:pt x="2063" y="1813"/>
                  </a:lnTo>
                  <a:lnTo>
                    <a:pt x="2064" y="1814"/>
                  </a:lnTo>
                  <a:lnTo>
                    <a:pt x="2066" y="1815"/>
                  </a:lnTo>
                  <a:lnTo>
                    <a:pt x="2066" y="1817"/>
                  </a:lnTo>
                  <a:lnTo>
                    <a:pt x="2071" y="1817"/>
                  </a:lnTo>
                  <a:lnTo>
                    <a:pt x="2074" y="1818"/>
                  </a:lnTo>
                  <a:lnTo>
                    <a:pt x="2076" y="1819"/>
                  </a:lnTo>
                  <a:lnTo>
                    <a:pt x="2077" y="1823"/>
                  </a:lnTo>
                  <a:lnTo>
                    <a:pt x="2111" y="1823"/>
                  </a:lnTo>
                  <a:lnTo>
                    <a:pt x="2163" y="1824"/>
                  </a:lnTo>
                  <a:lnTo>
                    <a:pt x="2189" y="1824"/>
                  </a:lnTo>
                  <a:lnTo>
                    <a:pt x="2211" y="1825"/>
                  </a:lnTo>
                  <a:lnTo>
                    <a:pt x="2227" y="1826"/>
                  </a:lnTo>
                  <a:lnTo>
                    <a:pt x="2232" y="1828"/>
                  </a:lnTo>
                  <a:lnTo>
                    <a:pt x="2266" y="1829"/>
                  </a:lnTo>
                  <a:lnTo>
                    <a:pt x="2300" y="1830"/>
                  </a:lnTo>
                  <a:lnTo>
                    <a:pt x="2336" y="1834"/>
                  </a:lnTo>
                  <a:lnTo>
                    <a:pt x="2372" y="1836"/>
                  </a:lnTo>
                  <a:lnTo>
                    <a:pt x="2409" y="1839"/>
                  </a:lnTo>
                  <a:lnTo>
                    <a:pt x="2446" y="1842"/>
                  </a:lnTo>
                  <a:lnTo>
                    <a:pt x="2482" y="1844"/>
                  </a:lnTo>
                  <a:lnTo>
                    <a:pt x="2520" y="1845"/>
                  </a:lnTo>
                  <a:lnTo>
                    <a:pt x="2532" y="1851"/>
                  </a:lnTo>
                  <a:lnTo>
                    <a:pt x="2548" y="1856"/>
                  </a:lnTo>
                  <a:lnTo>
                    <a:pt x="2559" y="1867"/>
                  </a:lnTo>
                  <a:lnTo>
                    <a:pt x="2571" y="1878"/>
                  </a:lnTo>
                  <a:lnTo>
                    <a:pt x="2582" y="1884"/>
                  </a:lnTo>
                  <a:lnTo>
                    <a:pt x="2597" y="1890"/>
                  </a:lnTo>
                  <a:lnTo>
                    <a:pt x="2601" y="1894"/>
                  </a:lnTo>
                  <a:lnTo>
                    <a:pt x="2603" y="1900"/>
                  </a:lnTo>
                  <a:lnTo>
                    <a:pt x="2620" y="1909"/>
                  </a:lnTo>
                  <a:lnTo>
                    <a:pt x="2637" y="1916"/>
                  </a:lnTo>
                  <a:lnTo>
                    <a:pt x="2638" y="1921"/>
                  </a:lnTo>
                  <a:lnTo>
                    <a:pt x="2639" y="1923"/>
                  </a:lnTo>
                  <a:lnTo>
                    <a:pt x="2640" y="1925"/>
                  </a:lnTo>
                  <a:lnTo>
                    <a:pt x="2642" y="1928"/>
                  </a:lnTo>
                  <a:lnTo>
                    <a:pt x="2647" y="1930"/>
                  </a:lnTo>
                  <a:lnTo>
                    <a:pt x="2648" y="1933"/>
                  </a:lnTo>
                  <a:lnTo>
                    <a:pt x="2669" y="1939"/>
                  </a:lnTo>
                  <a:lnTo>
                    <a:pt x="2715" y="1948"/>
                  </a:lnTo>
                  <a:lnTo>
                    <a:pt x="2738" y="1951"/>
                  </a:lnTo>
                  <a:lnTo>
                    <a:pt x="2760" y="1952"/>
                  </a:lnTo>
                  <a:lnTo>
                    <a:pt x="2768" y="1952"/>
                  </a:lnTo>
                  <a:lnTo>
                    <a:pt x="2775" y="1950"/>
                  </a:lnTo>
                  <a:lnTo>
                    <a:pt x="2777" y="1950"/>
                  </a:lnTo>
                  <a:lnTo>
                    <a:pt x="2779" y="1948"/>
                  </a:lnTo>
                  <a:lnTo>
                    <a:pt x="2781" y="1947"/>
                  </a:lnTo>
                  <a:lnTo>
                    <a:pt x="2781" y="1944"/>
                  </a:lnTo>
                  <a:lnTo>
                    <a:pt x="2789" y="1944"/>
                  </a:lnTo>
                  <a:lnTo>
                    <a:pt x="2797" y="1944"/>
                  </a:lnTo>
                  <a:lnTo>
                    <a:pt x="2803" y="1939"/>
                  </a:lnTo>
                  <a:lnTo>
                    <a:pt x="2803" y="1928"/>
                  </a:lnTo>
                  <a:lnTo>
                    <a:pt x="2805" y="1928"/>
                  </a:lnTo>
                  <a:lnTo>
                    <a:pt x="2807" y="1925"/>
                  </a:lnTo>
                  <a:lnTo>
                    <a:pt x="2811" y="1922"/>
                  </a:lnTo>
                  <a:lnTo>
                    <a:pt x="2813" y="1919"/>
                  </a:lnTo>
                  <a:lnTo>
                    <a:pt x="2817" y="1912"/>
                  </a:lnTo>
                  <a:lnTo>
                    <a:pt x="2820" y="1905"/>
                  </a:lnTo>
                  <a:lnTo>
                    <a:pt x="2843" y="1905"/>
                  </a:lnTo>
                  <a:lnTo>
                    <a:pt x="2869" y="1903"/>
                  </a:lnTo>
                  <a:lnTo>
                    <a:pt x="2893" y="1901"/>
                  </a:lnTo>
                  <a:lnTo>
                    <a:pt x="2913" y="1900"/>
                  </a:lnTo>
                  <a:lnTo>
                    <a:pt x="2925" y="1890"/>
                  </a:lnTo>
                  <a:lnTo>
                    <a:pt x="2936" y="1878"/>
                  </a:lnTo>
                  <a:lnTo>
                    <a:pt x="2946" y="1878"/>
                  </a:lnTo>
                  <a:lnTo>
                    <a:pt x="2962" y="1878"/>
                  </a:lnTo>
                  <a:lnTo>
                    <a:pt x="2971" y="1880"/>
                  </a:lnTo>
                  <a:lnTo>
                    <a:pt x="2979" y="1881"/>
                  </a:lnTo>
                  <a:lnTo>
                    <a:pt x="2984" y="1882"/>
                  </a:lnTo>
                  <a:lnTo>
                    <a:pt x="2986" y="1884"/>
                  </a:lnTo>
                  <a:lnTo>
                    <a:pt x="2993" y="1884"/>
                  </a:lnTo>
                  <a:lnTo>
                    <a:pt x="3010" y="188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0" name="Freeform 26"/>
            <p:cNvSpPr>
              <a:spLocks noChangeAspect="1"/>
            </p:cNvSpPr>
            <p:nvPr/>
          </p:nvSpPr>
          <p:spPr bwMode="gray">
            <a:xfrm rot="355651">
              <a:off x="5608120" y="3276600"/>
              <a:ext cx="452805" cy="343868"/>
            </a:xfrm>
            <a:custGeom>
              <a:avLst/>
              <a:gdLst/>
              <a:ahLst/>
              <a:cxnLst>
                <a:cxn ang="0">
                  <a:pos x="1313" y="105"/>
                </a:cxn>
                <a:cxn ang="0">
                  <a:pos x="1311" y="208"/>
                </a:cxn>
                <a:cxn ang="0">
                  <a:pos x="1326" y="300"/>
                </a:cxn>
                <a:cxn ang="0">
                  <a:pos x="1294" y="365"/>
                </a:cxn>
                <a:cxn ang="0">
                  <a:pos x="1482" y="569"/>
                </a:cxn>
                <a:cxn ang="0">
                  <a:pos x="1661" y="702"/>
                </a:cxn>
                <a:cxn ang="0">
                  <a:pos x="1744" y="764"/>
                </a:cxn>
                <a:cxn ang="0">
                  <a:pos x="1764" y="811"/>
                </a:cxn>
                <a:cxn ang="0">
                  <a:pos x="1644" y="863"/>
                </a:cxn>
                <a:cxn ang="0">
                  <a:pos x="1616" y="1013"/>
                </a:cxn>
                <a:cxn ang="0">
                  <a:pos x="1669" y="1123"/>
                </a:cxn>
                <a:cxn ang="0">
                  <a:pos x="1871" y="1201"/>
                </a:cxn>
                <a:cxn ang="0">
                  <a:pos x="2039" y="1219"/>
                </a:cxn>
                <a:cxn ang="0">
                  <a:pos x="2139" y="1155"/>
                </a:cxn>
                <a:cxn ang="0">
                  <a:pos x="2326" y="1134"/>
                </a:cxn>
                <a:cxn ang="0">
                  <a:pos x="2476" y="1082"/>
                </a:cxn>
                <a:cxn ang="0">
                  <a:pos x="2475" y="1116"/>
                </a:cxn>
                <a:cxn ang="0">
                  <a:pos x="2421" y="1162"/>
                </a:cxn>
                <a:cxn ang="0">
                  <a:pos x="2387" y="1331"/>
                </a:cxn>
                <a:cxn ang="0">
                  <a:pos x="2372" y="1368"/>
                </a:cxn>
                <a:cxn ang="0">
                  <a:pos x="2407" y="1556"/>
                </a:cxn>
                <a:cxn ang="0">
                  <a:pos x="2430" y="1701"/>
                </a:cxn>
                <a:cxn ang="0">
                  <a:pos x="2382" y="1740"/>
                </a:cxn>
                <a:cxn ang="0">
                  <a:pos x="2297" y="1782"/>
                </a:cxn>
                <a:cxn ang="0">
                  <a:pos x="2253" y="1815"/>
                </a:cxn>
                <a:cxn ang="0">
                  <a:pos x="2227" y="1842"/>
                </a:cxn>
                <a:cxn ang="0">
                  <a:pos x="2176" y="1910"/>
                </a:cxn>
                <a:cxn ang="0">
                  <a:pos x="2173" y="1984"/>
                </a:cxn>
                <a:cxn ang="0">
                  <a:pos x="2014" y="2003"/>
                </a:cxn>
                <a:cxn ang="0">
                  <a:pos x="1911" y="2091"/>
                </a:cxn>
                <a:cxn ang="0">
                  <a:pos x="1759" y="2024"/>
                </a:cxn>
                <a:cxn ang="0">
                  <a:pos x="1652" y="2044"/>
                </a:cxn>
                <a:cxn ang="0">
                  <a:pos x="1495" y="2118"/>
                </a:cxn>
                <a:cxn ang="0">
                  <a:pos x="1374" y="2137"/>
                </a:cxn>
                <a:cxn ang="0">
                  <a:pos x="1351" y="1996"/>
                </a:cxn>
                <a:cxn ang="0">
                  <a:pos x="1268" y="1971"/>
                </a:cxn>
                <a:cxn ang="0">
                  <a:pos x="1200" y="1817"/>
                </a:cxn>
                <a:cxn ang="0">
                  <a:pos x="1195" y="1597"/>
                </a:cxn>
                <a:cxn ang="0">
                  <a:pos x="1134" y="1616"/>
                </a:cxn>
                <a:cxn ang="0">
                  <a:pos x="1057" y="1676"/>
                </a:cxn>
                <a:cxn ang="0">
                  <a:pos x="1059" y="1917"/>
                </a:cxn>
                <a:cxn ang="0">
                  <a:pos x="955" y="2073"/>
                </a:cxn>
                <a:cxn ang="0">
                  <a:pos x="806" y="2146"/>
                </a:cxn>
                <a:cxn ang="0">
                  <a:pos x="694" y="1963"/>
                </a:cxn>
                <a:cxn ang="0">
                  <a:pos x="646" y="1739"/>
                </a:cxn>
                <a:cxn ang="0">
                  <a:pos x="470" y="1348"/>
                </a:cxn>
                <a:cxn ang="0">
                  <a:pos x="282" y="1137"/>
                </a:cxn>
                <a:cxn ang="0">
                  <a:pos x="59" y="1011"/>
                </a:cxn>
                <a:cxn ang="0">
                  <a:pos x="30" y="894"/>
                </a:cxn>
                <a:cxn ang="0">
                  <a:pos x="1" y="665"/>
                </a:cxn>
                <a:cxn ang="0">
                  <a:pos x="118" y="590"/>
                </a:cxn>
                <a:cxn ang="0">
                  <a:pos x="446" y="554"/>
                </a:cxn>
                <a:cxn ang="0">
                  <a:pos x="593" y="674"/>
                </a:cxn>
                <a:cxn ang="0">
                  <a:pos x="722" y="676"/>
                </a:cxn>
                <a:cxn ang="0">
                  <a:pos x="783" y="569"/>
                </a:cxn>
                <a:cxn ang="0">
                  <a:pos x="746" y="272"/>
                </a:cxn>
                <a:cxn ang="0">
                  <a:pos x="847" y="171"/>
                </a:cxn>
                <a:cxn ang="0">
                  <a:pos x="1080" y="174"/>
                </a:cxn>
                <a:cxn ang="0">
                  <a:pos x="1189" y="85"/>
                </a:cxn>
              </a:cxnLst>
              <a:rect l="0" t="0" r="r" b="b"/>
              <a:pathLst>
                <a:path w="2491" h="2147">
                  <a:moveTo>
                    <a:pt x="1240" y="0"/>
                  </a:moveTo>
                  <a:lnTo>
                    <a:pt x="1246" y="6"/>
                  </a:lnTo>
                  <a:lnTo>
                    <a:pt x="1250" y="13"/>
                  </a:lnTo>
                  <a:lnTo>
                    <a:pt x="1252" y="21"/>
                  </a:lnTo>
                  <a:lnTo>
                    <a:pt x="1255" y="30"/>
                  </a:lnTo>
                  <a:lnTo>
                    <a:pt x="1257" y="38"/>
                  </a:lnTo>
                  <a:lnTo>
                    <a:pt x="1259" y="44"/>
                  </a:lnTo>
                  <a:lnTo>
                    <a:pt x="1261" y="50"/>
                  </a:lnTo>
                  <a:lnTo>
                    <a:pt x="1265" y="56"/>
                  </a:lnTo>
                  <a:lnTo>
                    <a:pt x="1295" y="86"/>
                  </a:lnTo>
                  <a:lnTo>
                    <a:pt x="1313" y="105"/>
                  </a:lnTo>
                  <a:lnTo>
                    <a:pt x="1318" y="111"/>
                  </a:lnTo>
                  <a:lnTo>
                    <a:pt x="1322" y="119"/>
                  </a:lnTo>
                  <a:lnTo>
                    <a:pt x="1323" y="127"/>
                  </a:lnTo>
                  <a:lnTo>
                    <a:pt x="1323" y="138"/>
                  </a:lnTo>
                  <a:lnTo>
                    <a:pt x="1319" y="152"/>
                  </a:lnTo>
                  <a:lnTo>
                    <a:pt x="1311" y="168"/>
                  </a:lnTo>
                  <a:lnTo>
                    <a:pt x="1309" y="178"/>
                  </a:lnTo>
                  <a:lnTo>
                    <a:pt x="1308" y="190"/>
                  </a:lnTo>
                  <a:lnTo>
                    <a:pt x="1308" y="196"/>
                  </a:lnTo>
                  <a:lnTo>
                    <a:pt x="1310" y="202"/>
                  </a:lnTo>
                  <a:lnTo>
                    <a:pt x="1311" y="208"/>
                  </a:lnTo>
                  <a:lnTo>
                    <a:pt x="1315" y="215"/>
                  </a:lnTo>
                  <a:lnTo>
                    <a:pt x="1320" y="227"/>
                  </a:lnTo>
                  <a:lnTo>
                    <a:pt x="1325" y="239"/>
                  </a:lnTo>
                  <a:lnTo>
                    <a:pt x="1328" y="249"/>
                  </a:lnTo>
                  <a:lnTo>
                    <a:pt x="1330" y="259"/>
                  </a:lnTo>
                  <a:lnTo>
                    <a:pt x="1332" y="268"/>
                  </a:lnTo>
                  <a:lnTo>
                    <a:pt x="1332" y="275"/>
                  </a:lnTo>
                  <a:lnTo>
                    <a:pt x="1332" y="282"/>
                  </a:lnTo>
                  <a:lnTo>
                    <a:pt x="1330" y="289"/>
                  </a:lnTo>
                  <a:lnTo>
                    <a:pt x="1328" y="294"/>
                  </a:lnTo>
                  <a:lnTo>
                    <a:pt x="1326" y="300"/>
                  </a:lnTo>
                  <a:lnTo>
                    <a:pt x="1324" y="306"/>
                  </a:lnTo>
                  <a:lnTo>
                    <a:pt x="1320" y="310"/>
                  </a:lnTo>
                  <a:lnTo>
                    <a:pt x="1314" y="319"/>
                  </a:lnTo>
                  <a:lnTo>
                    <a:pt x="1307" y="326"/>
                  </a:lnTo>
                  <a:lnTo>
                    <a:pt x="1301" y="333"/>
                  </a:lnTo>
                  <a:lnTo>
                    <a:pt x="1296" y="341"/>
                  </a:lnTo>
                  <a:lnTo>
                    <a:pt x="1294" y="346"/>
                  </a:lnTo>
                  <a:lnTo>
                    <a:pt x="1293" y="349"/>
                  </a:lnTo>
                  <a:lnTo>
                    <a:pt x="1293" y="355"/>
                  </a:lnTo>
                  <a:lnTo>
                    <a:pt x="1293" y="359"/>
                  </a:lnTo>
                  <a:lnTo>
                    <a:pt x="1294" y="365"/>
                  </a:lnTo>
                  <a:lnTo>
                    <a:pt x="1295" y="370"/>
                  </a:lnTo>
                  <a:lnTo>
                    <a:pt x="1298" y="376"/>
                  </a:lnTo>
                  <a:lnTo>
                    <a:pt x="1303" y="384"/>
                  </a:lnTo>
                  <a:lnTo>
                    <a:pt x="1307" y="390"/>
                  </a:lnTo>
                  <a:lnTo>
                    <a:pt x="1314" y="399"/>
                  </a:lnTo>
                  <a:lnTo>
                    <a:pt x="1323" y="408"/>
                  </a:lnTo>
                  <a:lnTo>
                    <a:pt x="1332" y="418"/>
                  </a:lnTo>
                  <a:lnTo>
                    <a:pt x="1365" y="451"/>
                  </a:lnTo>
                  <a:lnTo>
                    <a:pt x="1408" y="493"/>
                  </a:lnTo>
                  <a:lnTo>
                    <a:pt x="1449" y="535"/>
                  </a:lnTo>
                  <a:lnTo>
                    <a:pt x="1482" y="569"/>
                  </a:lnTo>
                  <a:lnTo>
                    <a:pt x="1504" y="591"/>
                  </a:lnTo>
                  <a:lnTo>
                    <a:pt x="1525" y="614"/>
                  </a:lnTo>
                  <a:lnTo>
                    <a:pt x="1547" y="638"/>
                  </a:lnTo>
                  <a:lnTo>
                    <a:pt x="1572" y="664"/>
                  </a:lnTo>
                  <a:lnTo>
                    <a:pt x="1582" y="674"/>
                  </a:lnTo>
                  <a:lnTo>
                    <a:pt x="1593" y="682"/>
                  </a:lnTo>
                  <a:lnTo>
                    <a:pt x="1604" y="688"/>
                  </a:lnTo>
                  <a:lnTo>
                    <a:pt x="1617" y="693"/>
                  </a:lnTo>
                  <a:lnTo>
                    <a:pt x="1631" y="697"/>
                  </a:lnTo>
                  <a:lnTo>
                    <a:pt x="1645" y="701"/>
                  </a:lnTo>
                  <a:lnTo>
                    <a:pt x="1661" y="702"/>
                  </a:lnTo>
                  <a:lnTo>
                    <a:pt x="1678" y="703"/>
                  </a:lnTo>
                  <a:lnTo>
                    <a:pt x="1681" y="703"/>
                  </a:lnTo>
                  <a:lnTo>
                    <a:pt x="1685" y="705"/>
                  </a:lnTo>
                  <a:lnTo>
                    <a:pt x="1690" y="707"/>
                  </a:lnTo>
                  <a:lnTo>
                    <a:pt x="1693" y="711"/>
                  </a:lnTo>
                  <a:lnTo>
                    <a:pt x="1701" y="719"/>
                  </a:lnTo>
                  <a:lnTo>
                    <a:pt x="1710" y="727"/>
                  </a:lnTo>
                  <a:lnTo>
                    <a:pt x="1718" y="739"/>
                  </a:lnTo>
                  <a:lnTo>
                    <a:pt x="1726" y="749"/>
                  </a:lnTo>
                  <a:lnTo>
                    <a:pt x="1735" y="758"/>
                  </a:lnTo>
                  <a:lnTo>
                    <a:pt x="1744" y="764"/>
                  </a:lnTo>
                  <a:lnTo>
                    <a:pt x="1757" y="773"/>
                  </a:lnTo>
                  <a:lnTo>
                    <a:pt x="1769" y="782"/>
                  </a:lnTo>
                  <a:lnTo>
                    <a:pt x="1774" y="787"/>
                  </a:lnTo>
                  <a:lnTo>
                    <a:pt x="1778" y="791"/>
                  </a:lnTo>
                  <a:lnTo>
                    <a:pt x="1780" y="794"/>
                  </a:lnTo>
                  <a:lnTo>
                    <a:pt x="1781" y="798"/>
                  </a:lnTo>
                  <a:lnTo>
                    <a:pt x="1781" y="801"/>
                  </a:lnTo>
                  <a:lnTo>
                    <a:pt x="1780" y="804"/>
                  </a:lnTo>
                  <a:lnTo>
                    <a:pt x="1777" y="808"/>
                  </a:lnTo>
                  <a:lnTo>
                    <a:pt x="1771" y="810"/>
                  </a:lnTo>
                  <a:lnTo>
                    <a:pt x="1764" y="811"/>
                  </a:lnTo>
                  <a:lnTo>
                    <a:pt x="1755" y="812"/>
                  </a:lnTo>
                  <a:lnTo>
                    <a:pt x="1742" y="813"/>
                  </a:lnTo>
                  <a:lnTo>
                    <a:pt x="1728" y="813"/>
                  </a:lnTo>
                  <a:lnTo>
                    <a:pt x="1714" y="815"/>
                  </a:lnTo>
                  <a:lnTo>
                    <a:pt x="1701" y="818"/>
                  </a:lnTo>
                  <a:lnTo>
                    <a:pt x="1690" y="821"/>
                  </a:lnTo>
                  <a:lnTo>
                    <a:pt x="1679" y="827"/>
                  </a:lnTo>
                  <a:lnTo>
                    <a:pt x="1669" y="835"/>
                  </a:lnTo>
                  <a:lnTo>
                    <a:pt x="1660" y="842"/>
                  </a:lnTo>
                  <a:lnTo>
                    <a:pt x="1652" y="852"/>
                  </a:lnTo>
                  <a:lnTo>
                    <a:pt x="1644" y="863"/>
                  </a:lnTo>
                  <a:lnTo>
                    <a:pt x="1637" y="874"/>
                  </a:lnTo>
                  <a:lnTo>
                    <a:pt x="1632" y="886"/>
                  </a:lnTo>
                  <a:lnTo>
                    <a:pt x="1627" y="899"/>
                  </a:lnTo>
                  <a:lnTo>
                    <a:pt x="1623" y="913"/>
                  </a:lnTo>
                  <a:lnTo>
                    <a:pt x="1620" y="926"/>
                  </a:lnTo>
                  <a:lnTo>
                    <a:pt x="1617" y="941"/>
                  </a:lnTo>
                  <a:lnTo>
                    <a:pt x="1616" y="955"/>
                  </a:lnTo>
                  <a:lnTo>
                    <a:pt x="1615" y="970"/>
                  </a:lnTo>
                  <a:lnTo>
                    <a:pt x="1615" y="984"/>
                  </a:lnTo>
                  <a:lnTo>
                    <a:pt x="1615" y="999"/>
                  </a:lnTo>
                  <a:lnTo>
                    <a:pt x="1616" y="1013"/>
                  </a:lnTo>
                  <a:lnTo>
                    <a:pt x="1618" y="1027"/>
                  </a:lnTo>
                  <a:lnTo>
                    <a:pt x="1621" y="1041"/>
                  </a:lnTo>
                  <a:lnTo>
                    <a:pt x="1624" y="1053"/>
                  </a:lnTo>
                  <a:lnTo>
                    <a:pt x="1627" y="1066"/>
                  </a:lnTo>
                  <a:lnTo>
                    <a:pt x="1632" y="1077"/>
                  </a:lnTo>
                  <a:lnTo>
                    <a:pt x="1636" y="1088"/>
                  </a:lnTo>
                  <a:lnTo>
                    <a:pt x="1642" y="1097"/>
                  </a:lnTo>
                  <a:lnTo>
                    <a:pt x="1648" y="1106"/>
                  </a:lnTo>
                  <a:lnTo>
                    <a:pt x="1654" y="1112"/>
                  </a:lnTo>
                  <a:lnTo>
                    <a:pt x="1662" y="1118"/>
                  </a:lnTo>
                  <a:lnTo>
                    <a:pt x="1669" y="1123"/>
                  </a:lnTo>
                  <a:lnTo>
                    <a:pt x="1678" y="1125"/>
                  </a:lnTo>
                  <a:lnTo>
                    <a:pt x="1685" y="1126"/>
                  </a:lnTo>
                  <a:lnTo>
                    <a:pt x="1696" y="1126"/>
                  </a:lnTo>
                  <a:lnTo>
                    <a:pt x="1704" y="1127"/>
                  </a:lnTo>
                  <a:lnTo>
                    <a:pt x="1714" y="1129"/>
                  </a:lnTo>
                  <a:lnTo>
                    <a:pt x="1723" y="1131"/>
                  </a:lnTo>
                  <a:lnTo>
                    <a:pt x="1744" y="1138"/>
                  </a:lnTo>
                  <a:lnTo>
                    <a:pt x="1762" y="1147"/>
                  </a:lnTo>
                  <a:lnTo>
                    <a:pt x="1804" y="1168"/>
                  </a:lnTo>
                  <a:lnTo>
                    <a:pt x="1847" y="1190"/>
                  </a:lnTo>
                  <a:lnTo>
                    <a:pt x="1871" y="1201"/>
                  </a:lnTo>
                  <a:lnTo>
                    <a:pt x="1895" y="1210"/>
                  </a:lnTo>
                  <a:lnTo>
                    <a:pt x="1909" y="1213"/>
                  </a:lnTo>
                  <a:lnTo>
                    <a:pt x="1922" y="1216"/>
                  </a:lnTo>
                  <a:lnTo>
                    <a:pt x="1936" y="1220"/>
                  </a:lnTo>
                  <a:lnTo>
                    <a:pt x="1949" y="1222"/>
                  </a:lnTo>
                  <a:lnTo>
                    <a:pt x="1962" y="1223"/>
                  </a:lnTo>
                  <a:lnTo>
                    <a:pt x="1977" y="1224"/>
                  </a:lnTo>
                  <a:lnTo>
                    <a:pt x="1992" y="1224"/>
                  </a:lnTo>
                  <a:lnTo>
                    <a:pt x="2008" y="1223"/>
                  </a:lnTo>
                  <a:lnTo>
                    <a:pt x="2024" y="1222"/>
                  </a:lnTo>
                  <a:lnTo>
                    <a:pt x="2039" y="1219"/>
                  </a:lnTo>
                  <a:lnTo>
                    <a:pt x="2056" y="1215"/>
                  </a:lnTo>
                  <a:lnTo>
                    <a:pt x="2073" y="1210"/>
                  </a:lnTo>
                  <a:lnTo>
                    <a:pt x="2085" y="1206"/>
                  </a:lnTo>
                  <a:lnTo>
                    <a:pt x="2094" y="1202"/>
                  </a:lnTo>
                  <a:lnTo>
                    <a:pt x="2101" y="1197"/>
                  </a:lnTo>
                  <a:lnTo>
                    <a:pt x="2106" y="1193"/>
                  </a:lnTo>
                  <a:lnTo>
                    <a:pt x="2114" y="1182"/>
                  </a:lnTo>
                  <a:lnTo>
                    <a:pt x="2122" y="1169"/>
                  </a:lnTo>
                  <a:lnTo>
                    <a:pt x="2126" y="1165"/>
                  </a:lnTo>
                  <a:lnTo>
                    <a:pt x="2132" y="1159"/>
                  </a:lnTo>
                  <a:lnTo>
                    <a:pt x="2139" y="1155"/>
                  </a:lnTo>
                  <a:lnTo>
                    <a:pt x="2146" y="1150"/>
                  </a:lnTo>
                  <a:lnTo>
                    <a:pt x="2158" y="1147"/>
                  </a:lnTo>
                  <a:lnTo>
                    <a:pt x="2171" y="1145"/>
                  </a:lnTo>
                  <a:lnTo>
                    <a:pt x="2188" y="1143"/>
                  </a:lnTo>
                  <a:lnTo>
                    <a:pt x="2208" y="1143"/>
                  </a:lnTo>
                  <a:lnTo>
                    <a:pt x="2234" y="1143"/>
                  </a:lnTo>
                  <a:lnTo>
                    <a:pt x="2256" y="1142"/>
                  </a:lnTo>
                  <a:lnTo>
                    <a:pt x="2276" y="1140"/>
                  </a:lnTo>
                  <a:lnTo>
                    <a:pt x="2294" y="1138"/>
                  </a:lnTo>
                  <a:lnTo>
                    <a:pt x="2311" y="1136"/>
                  </a:lnTo>
                  <a:lnTo>
                    <a:pt x="2326" y="1134"/>
                  </a:lnTo>
                  <a:lnTo>
                    <a:pt x="2340" y="1130"/>
                  </a:lnTo>
                  <a:lnTo>
                    <a:pt x="2352" y="1127"/>
                  </a:lnTo>
                  <a:lnTo>
                    <a:pt x="2363" y="1123"/>
                  </a:lnTo>
                  <a:lnTo>
                    <a:pt x="2373" y="1118"/>
                  </a:lnTo>
                  <a:lnTo>
                    <a:pt x="2383" y="1114"/>
                  </a:lnTo>
                  <a:lnTo>
                    <a:pt x="2393" y="1108"/>
                  </a:lnTo>
                  <a:lnTo>
                    <a:pt x="2411" y="1098"/>
                  </a:lnTo>
                  <a:lnTo>
                    <a:pt x="2430" y="1086"/>
                  </a:lnTo>
                  <a:lnTo>
                    <a:pt x="2447" y="1085"/>
                  </a:lnTo>
                  <a:lnTo>
                    <a:pt x="2462" y="1083"/>
                  </a:lnTo>
                  <a:lnTo>
                    <a:pt x="2476" y="1082"/>
                  </a:lnTo>
                  <a:lnTo>
                    <a:pt x="2486" y="1082"/>
                  </a:lnTo>
                  <a:lnTo>
                    <a:pt x="2488" y="1089"/>
                  </a:lnTo>
                  <a:lnTo>
                    <a:pt x="2491" y="1097"/>
                  </a:lnTo>
                  <a:lnTo>
                    <a:pt x="2489" y="1099"/>
                  </a:lnTo>
                  <a:lnTo>
                    <a:pt x="2488" y="1099"/>
                  </a:lnTo>
                  <a:lnTo>
                    <a:pt x="2486" y="1100"/>
                  </a:lnTo>
                  <a:lnTo>
                    <a:pt x="2486" y="1105"/>
                  </a:lnTo>
                  <a:lnTo>
                    <a:pt x="2481" y="1106"/>
                  </a:lnTo>
                  <a:lnTo>
                    <a:pt x="2478" y="1108"/>
                  </a:lnTo>
                  <a:lnTo>
                    <a:pt x="2476" y="1111"/>
                  </a:lnTo>
                  <a:lnTo>
                    <a:pt x="2475" y="1116"/>
                  </a:lnTo>
                  <a:lnTo>
                    <a:pt x="2464" y="1121"/>
                  </a:lnTo>
                  <a:lnTo>
                    <a:pt x="2464" y="1131"/>
                  </a:lnTo>
                  <a:lnTo>
                    <a:pt x="2458" y="1135"/>
                  </a:lnTo>
                  <a:lnTo>
                    <a:pt x="2452" y="1137"/>
                  </a:lnTo>
                  <a:lnTo>
                    <a:pt x="2452" y="1148"/>
                  </a:lnTo>
                  <a:lnTo>
                    <a:pt x="2447" y="1154"/>
                  </a:lnTo>
                  <a:lnTo>
                    <a:pt x="2436" y="1154"/>
                  </a:lnTo>
                  <a:lnTo>
                    <a:pt x="2435" y="1156"/>
                  </a:lnTo>
                  <a:lnTo>
                    <a:pt x="2431" y="1158"/>
                  </a:lnTo>
                  <a:lnTo>
                    <a:pt x="2427" y="1160"/>
                  </a:lnTo>
                  <a:lnTo>
                    <a:pt x="2421" y="1162"/>
                  </a:lnTo>
                  <a:lnTo>
                    <a:pt x="2410" y="1164"/>
                  </a:lnTo>
                  <a:lnTo>
                    <a:pt x="2402" y="1165"/>
                  </a:lnTo>
                  <a:lnTo>
                    <a:pt x="2397" y="1171"/>
                  </a:lnTo>
                  <a:lnTo>
                    <a:pt x="2397" y="1175"/>
                  </a:lnTo>
                  <a:lnTo>
                    <a:pt x="2397" y="1178"/>
                  </a:lnTo>
                  <a:lnTo>
                    <a:pt x="2394" y="1181"/>
                  </a:lnTo>
                  <a:lnTo>
                    <a:pt x="2391" y="1182"/>
                  </a:lnTo>
                  <a:lnTo>
                    <a:pt x="2391" y="1217"/>
                  </a:lnTo>
                  <a:lnTo>
                    <a:pt x="2389" y="1256"/>
                  </a:lnTo>
                  <a:lnTo>
                    <a:pt x="2387" y="1296"/>
                  </a:lnTo>
                  <a:lnTo>
                    <a:pt x="2387" y="1331"/>
                  </a:lnTo>
                  <a:lnTo>
                    <a:pt x="2384" y="1332"/>
                  </a:lnTo>
                  <a:lnTo>
                    <a:pt x="2383" y="1335"/>
                  </a:lnTo>
                  <a:lnTo>
                    <a:pt x="2382" y="1337"/>
                  </a:lnTo>
                  <a:lnTo>
                    <a:pt x="2381" y="1340"/>
                  </a:lnTo>
                  <a:lnTo>
                    <a:pt x="2381" y="1348"/>
                  </a:lnTo>
                  <a:lnTo>
                    <a:pt x="2381" y="1354"/>
                  </a:lnTo>
                  <a:lnTo>
                    <a:pt x="2379" y="1354"/>
                  </a:lnTo>
                  <a:lnTo>
                    <a:pt x="2376" y="1356"/>
                  </a:lnTo>
                  <a:lnTo>
                    <a:pt x="2375" y="1358"/>
                  </a:lnTo>
                  <a:lnTo>
                    <a:pt x="2374" y="1360"/>
                  </a:lnTo>
                  <a:lnTo>
                    <a:pt x="2372" y="1368"/>
                  </a:lnTo>
                  <a:lnTo>
                    <a:pt x="2371" y="1379"/>
                  </a:lnTo>
                  <a:lnTo>
                    <a:pt x="2371" y="1405"/>
                  </a:lnTo>
                  <a:lnTo>
                    <a:pt x="2372" y="1435"/>
                  </a:lnTo>
                  <a:lnTo>
                    <a:pt x="2378" y="1492"/>
                  </a:lnTo>
                  <a:lnTo>
                    <a:pt x="2381" y="1520"/>
                  </a:lnTo>
                  <a:lnTo>
                    <a:pt x="2387" y="1522"/>
                  </a:lnTo>
                  <a:lnTo>
                    <a:pt x="2391" y="1525"/>
                  </a:lnTo>
                  <a:lnTo>
                    <a:pt x="2394" y="1537"/>
                  </a:lnTo>
                  <a:lnTo>
                    <a:pt x="2397" y="1548"/>
                  </a:lnTo>
                  <a:lnTo>
                    <a:pt x="2401" y="1550"/>
                  </a:lnTo>
                  <a:lnTo>
                    <a:pt x="2407" y="1556"/>
                  </a:lnTo>
                  <a:lnTo>
                    <a:pt x="2409" y="1559"/>
                  </a:lnTo>
                  <a:lnTo>
                    <a:pt x="2412" y="1561"/>
                  </a:lnTo>
                  <a:lnTo>
                    <a:pt x="2416" y="1563"/>
                  </a:lnTo>
                  <a:lnTo>
                    <a:pt x="2419" y="1565"/>
                  </a:lnTo>
                  <a:lnTo>
                    <a:pt x="2422" y="1590"/>
                  </a:lnTo>
                  <a:lnTo>
                    <a:pt x="2428" y="1624"/>
                  </a:lnTo>
                  <a:lnTo>
                    <a:pt x="2430" y="1642"/>
                  </a:lnTo>
                  <a:lnTo>
                    <a:pt x="2433" y="1659"/>
                  </a:lnTo>
                  <a:lnTo>
                    <a:pt x="2436" y="1676"/>
                  </a:lnTo>
                  <a:lnTo>
                    <a:pt x="2436" y="1692"/>
                  </a:lnTo>
                  <a:lnTo>
                    <a:pt x="2430" y="1701"/>
                  </a:lnTo>
                  <a:lnTo>
                    <a:pt x="2424" y="1714"/>
                  </a:lnTo>
                  <a:lnTo>
                    <a:pt x="2421" y="1714"/>
                  </a:lnTo>
                  <a:lnTo>
                    <a:pt x="2417" y="1717"/>
                  </a:lnTo>
                  <a:lnTo>
                    <a:pt x="2414" y="1721"/>
                  </a:lnTo>
                  <a:lnTo>
                    <a:pt x="2413" y="1724"/>
                  </a:lnTo>
                  <a:lnTo>
                    <a:pt x="2408" y="1730"/>
                  </a:lnTo>
                  <a:lnTo>
                    <a:pt x="2397" y="1730"/>
                  </a:lnTo>
                  <a:lnTo>
                    <a:pt x="2395" y="1734"/>
                  </a:lnTo>
                  <a:lnTo>
                    <a:pt x="2392" y="1736"/>
                  </a:lnTo>
                  <a:lnTo>
                    <a:pt x="2388" y="1739"/>
                  </a:lnTo>
                  <a:lnTo>
                    <a:pt x="2382" y="1740"/>
                  </a:lnTo>
                  <a:lnTo>
                    <a:pt x="2371" y="1741"/>
                  </a:lnTo>
                  <a:lnTo>
                    <a:pt x="2364" y="1741"/>
                  </a:lnTo>
                  <a:lnTo>
                    <a:pt x="2356" y="1745"/>
                  </a:lnTo>
                  <a:lnTo>
                    <a:pt x="2339" y="1755"/>
                  </a:lnTo>
                  <a:lnTo>
                    <a:pt x="2320" y="1764"/>
                  </a:lnTo>
                  <a:lnTo>
                    <a:pt x="2308" y="1769"/>
                  </a:lnTo>
                  <a:lnTo>
                    <a:pt x="2303" y="1774"/>
                  </a:lnTo>
                  <a:lnTo>
                    <a:pt x="2303" y="1777"/>
                  </a:lnTo>
                  <a:lnTo>
                    <a:pt x="2301" y="1779"/>
                  </a:lnTo>
                  <a:lnTo>
                    <a:pt x="2299" y="1781"/>
                  </a:lnTo>
                  <a:lnTo>
                    <a:pt x="2297" y="1782"/>
                  </a:lnTo>
                  <a:lnTo>
                    <a:pt x="2292" y="1784"/>
                  </a:lnTo>
                  <a:lnTo>
                    <a:pt x="2286" y="1785"/>
                  </a:lnTo>
                  <a:lnTo>
                    <a:pt x="2284" y="1790"/>
                  </a:lnTo>
                  <a:lnTo>
                    <a:pt x="2280" y="1793"/>
                  </a:lnTo>
                  <a:lnTo>
                    <a:pt x="2276" y="1798"/>
                  </a:lnTo>
                  <a:lnTo>
                    <a:pt x="2272" y="1801"/>
                  </a:lnTo>
                  <a:lnTo>
                    <a:pt x="2267" y="1803"/>
                  </a:lnTo>
                  <a:lnTo>
                    <a:pt x="2263" y="1806"/>
                  </a:lnTo>
                  <a:lnTo>
                    <a:pt x="2257" y="1807"/>
                  </a:lnTo>
                  <a:lnTo>
                    <a:pt x="2253" y="1808"/>
                  </a:lnTo>
                  <a:lnTo>
                    <a:pt x="2253" y="1815"/>
                  </a:lnTo>
                  <a:lnTo>
                    <a:pt x="2253" y="1818"/>
                  </a:lnTo>
                  <a:lnTo>
                    <a:pt x="2251" y="1820"/>
                  </a:lnTo>
                  <a:lnTo>
                    <a:pt x="2250" y="1820"/>
                  </a:lnTo>
                  <a:lnTo>
                    <a:pt x="2249" y="1820"/>
                  </a:lnTo>
                  <a:lnTo>
                    <a:pt x="2248" y="1820"/>
                  </a:lnTo>
                  <a:lnTo>
                    <a:pt x="2248" y="1821"/>
                  </a:lnTo>
                  <a:lnTo>
                    <a:pt x="2247" y="1825"/>
                  </a:lnTo>
                  <a:lnTo>
                    <a:pt x="2239" y="1827"/>
                  </a:lnTo>
                  <a:lnTo>
                    <a:pt x="2231" y="1830"/>
                  </a:lnTo>
                  <a:lnTo>
                    <a:pt x="2231" y="1841"/>
                  </a:lnTo>
                  <a:lnTo>
                    <a:pt x="2227" y="1842"/>
                  </a:lnTo>
                  <a:lnTo>
                    <a:pt x="2224" y="1845"/>
                  </a:lnTo>
                  <a:lnTo>
                    <a:pt x="2221" y="1848"/>
                  </a:lnTo>
                  <a:lnTo>
                    <a:pt x="2220" y="1852"/>
                  </a:lnTo>
                  <a:lnTo>
                    <a:pt x="2216" y="1852"/>
                  </a:lnTo>
                  <a:lnTo>
                    <a:pt x="2212" y="1856"/>
                  </a:lnTo>
                  <a:lnTo>
                    <a:pt x="2210" y="1859"/>
                  </a:lnTo>
                  <a:lnTo>
                    <a:pt x="2209" y="1864"/>
                  </a:lnTo>
                  <a:lnTo>
                    <a:pt x="2195" y="1877"/>
                  </a:lnTo>
                  <a:lnTo>
                    <a:pt x="2181" y="1890"/>
                  </a:lnTo>
                  <a:lnTo>
                    <a:pt x="2176" y="1896"/>
                  </a:lnTo>
                  <a:lnTo>
                    <a:pt x="2176" y="1910"/>
                  </a:lnTo>
                  <a:lnTo>
                    <a:pt x="2176" y="1924"/>
                  </a:lnTo>
                  <a:lnTo>
                    <a:pt x="2187" y="1929"/>
                  </a:lnTo>
                  <a:lnTo>
                    <a:pt x="2189" y="1935"/>
                  </a:lnTo>
                  <a:lnTo>
                    <a:pt x="2192" y="1941"/>
                  </a:lnTo>
                  <a:lnTo>
                    <a:pt x="2213" y="1941"/>
                  </a:lnTo>
                  <a:lnTo>
                    <a:pt x="2207" y="1951"/>
                  </a:lnTo>
                  <a:lnTo>
                    <a:pt x="2201" y="1961"/>
                  </a:lnTo>
                  <a:lnTo>
                    <a:pt x="2193" y="1970"/>
                  </a:lnTo>
                  <a:lnTo>
                    <a:pt x="2184" y="1977"/>
                  </a:lnTo>
                  <a:lnTo>
                    <a:pt x="2179" y="1981"/>
                  </a:lnTo>
                  <a:lnTo>
                    <a:pt x="2173" y="1984"/>
                  </a:lnTo>
                  <a:lnTo>
                    <a:pt x="2167" y="1987"/>
                  </a:lnTo>
                  <a:lnTo>
                    <a:pt x="2160" y="1990"/>
                  </a:lnTo>
                  <a:lnTo>
                    <a:pt x="2152" y="1991"/>
                  </a:lnTo>
                  <a:lnTo>
                    <a:pt x="2143" y="1993"/>
                  </a:lnTo>
                  <a:lnTo>
                    <a:pt x="2134" y="1993"/>
                  </a:lnTo>
                  <a:lnTo>
                    <a:pt x="2124" y="1994"/>
                  </a:lnTo>
                  <a:lnTo>
                    <a:pt x="2078" y="1994"/>
                  </a:lnTo>
                  <a:lnTo>
                    <a:pt x="2045" y="1996"/>
                  </a:lnTo>
                  <a:lnTo>
                    <a:pt x="2033" y="1998"/>
                  </a:lnTo>
                  <a:lnTo>
                    <a:pt x="2023" y="2001"/>
                  </a:lnTo>
                  <a:lnTo>
                    <a:pt x="2014" y="2003"/>
                  </a:lnTo>
                  <a:lnTo>
                    <a:pt x="2006" y="2008"/>
                  </a:lnTo>
                  <a:lnTo>
                    <a:pt x="1999" y="2012"/>
                  </a:lnTo>
                  <a:lnTo>
                    <a:pt x="1992" y="2018"/>
                  </a:lnTo>
                  <a:lnTo>
                    <a:pt x="1986" y="2024"/>
                  </a:lnTo>
                  <a:lnTo>
                    <a:pt x="1979" y="2033"/>
                  </a:lnTo>
                  <a:lnTo>
                    <a:pt x="1962" y="2052"/>
                  </a:lnTo>
                  <a:lnTo>
                    <a:pt x="1939" y="2078"/>
                  </a:lnTo>
                  <a:lnTo>
                    <a:pt x="1932" y="2083"/>
                  </a:lnTo>
                  <a:lnTo>
                    <a:pt x="1925" y="2088"/>
                  </a:lnTo>
                  <a:lnTo>
                    <a:pt x="1919" y="2090"/>
                  </a:lnTo>
                  <a:lnTo>
                    <a:pt x="1911" y="2091"/>
                  </a:lnTo>
                  <a:lnTo>
                    <a:pt x="1903" y="2092"/>
                  </a:lnTo>
                  <a:lnTo>
                    <a:pt x="1895" y="2091"/>
                  </a:lnTo>
                  <a:lnTo>
                    <a:pt x="1888" y="2089"/>
                  </a:lnTo>
                  <a:lnTo>
                    <a:pt x="1880" y="2087"/>
                  </a:lnTo>
                  <a:lnTo>
                    <a:pt x="1863" y="2080"/>
                  </a:lnTo>
                  <a:lnTo>
                    <a:pt x="1845" y="2070"/>
                  </a:lnTo>
                  <a:lnTo>
                    <a:pt x="1826" y="2060"/>
                  </a:lnTo>
                  <a:lnTo>
                    <a:pt x="1808" y="2049"/>
                  </a:lnTo>
                  <a:lnTo>
                    <a:pt x="1788" y="2038"/>
                  </a:lnTo>
                  <a:lnTo>
                    <a:pt x="1769" y="2028"/>
                  </a:lnTo>
                  <a:lnTo>
                    <a:pt x="1759" y="2024"/>
                  </a:lnTo>
                  <a:lnTo>
                    <a:pt x="1749" y="2021"/>
                  </a:lnTo>
                  <a:lnTo>
                    <a:pt x="1740" y="2018"/>
                  </a:lnTo>
                  <a:lnTo>
                    <a:pt x="1730" y="2017"/>
                  </a:lnTo>
                  <a:lnTo>
                    <a:pt x="1720" y="2015"/>
                  </a:lnTo>
                  <a:lnTo>
                    <a:pt x="1710" y="2015"/>
                  </a:lnTo>
                  <a:lnTo>
                    <a:pt x="1700" y="2017"/>
                  </a:lnTo>
                  <a:lnTo>
                    <a:pt x="1691" y="2020"/>
                  </a:lnTo>
                  <a:lnTo>
                    <a:pt x="1681" y="2023"/>
                  </a:lnTo>
                  <a:lnTo>
                    <a:pt x="1671" y="2029"/>
                  </a:lnTo>
                  <a:lnTo>
                    <a:pt x="1661" y="2035"/>
                  </a:lnTo>
                  <a:lnTo>
                    <a:pt x="1652" y="2044"/>
                  </a:lnTo>
                  <a:lnTo>
                    <a:pt x="1629" y="2070"/>
                  </a:lnTo>
                  <a:lnTo>
                    <a:pt x="1605" y="2095"/>
                  </a:lnTo>
                  <a:lnTo>
                    <a:pt x="1600" y="2100"/>
                  </a:lnTo>
                  <a:lnTo>
                    <a:pt x="1592" y="2105"/>
                  </a:lnTo>
                  <a:lnTo>
                    <a:pt x="1584" y="2109"/>
                  </a:lnTo>
                  <a:lnTo>
                    <a:pt x="1576" y="2112"/>
                  </a:lnTo>
                  <a:lnTo>
                    <a:pt x="1567" y="2116"/>
                  </a:lnTo>
                  <a:lnTo>
                    <a:pt x="1557" y="2118"/>
                  </a:lnTo>
                  <a:lnTo>
                    <a:pt x="1546" y="2119"/>
                  </a:lnTo>
                  <a:lnTo>
                    <a:pt x="1534" y="2120"/>
                  </a:lnTo>
                  <a:lnTo>
                    <a:pt x="1495" y="2118"/>
                  </a:lnTo>
                  <a:lnTo>
                    <a:pt x="1441" y="2116"/>
                  </a:lnTo>
                  <a:lnTo>
                    <a:pt x="1428" y="2116"/>
                  </a:lnTo>
                  <a:lnTo>
                    <a:pt x="1415" y="2117"/>
                  </a:lnTo>
                  <a:lnTo>
                    <a:pt x="1404" y="2118"/>
                  </a:lnTo>
                  <a:lnTo>
                    <a:pt x="1394" y="2120"/>
                  </a:lnTo>
                  <a:lnTo>
                    <a:pt x="1385" y="2123"/>
                  </a:lnTo>
                  <a:lnTo>
                    <a:pt x="1380" y="2127"/>
                  </a:lnTo>
                  <a:lnTo>
                    <a:pt x="1377" y="2129"/>
                  </a:lnTo>
                  <a:lnTo>
                    <a:pt x="1375" y="2131"/>
                  </a:lnTo>
                  <a:lnTo>
                    <a:pt x="1374" y="2134"/>
                  </a:lnTo>
                  <a:lnTo>
                    <a:pt x="1374" y="2137"/>
                  </a:lnTo>
                  <a:lnTo>
                    <a:pt x="1374" y="2119"/>
                  </a:lnTo>
                  <a:lnTo>
                    <a:pt x="1374" y="2097"/>
                  </a:lnTo>
                  <a:lnTo>
                    <a:pt x="1374" y="2073"/>
                  </a:lnTo>
                  <a:lnTo>
                    <a:pt x="1373" y="2050"/>
                  </a:lnTo>
                  <a:lnTo>
                    <a:pt x="1372" y="2039"/>
                  </a:lnTo>
                  <a:lnTo>
                    <a:pt x="1370" y="2028"/>
                  </a:lnTo>
                  <a:lnTo>
                    <a:pt x="1366" y="2019"/>
                  </a:lnTo>
                  <a:lnTo>
                    <a:pt x="1363" y="2010"/>
                  </a:lnTo>
                  <a:lnTo>
                    <a:pt x="1358" y="2003"/>
                  </a:lnTo>
                  <a:lnTo>
                    <a:pt x="1354" y="1998"/>
                  </a:lnTo>
                  <a:lnTo>
                    <a:pt x="1351" y="1996"/>
                  </a:lnTo>
                  <a:lnTo>
                    <a:pt x="1347" y="1995"/>
                  </a:lnTo>
                  <a:lnTo>
                    <a:pt x="1344" y="1994"/>
                  </a:lnTo>
                  <a:lnTo>
                    <a:pt x="1341" y="1994"/>
                  </a:lnTo>
                  <a:lnTo>
                    <a:pt x="1329" y="1993"/>
                  </a:lnTo>
                  <a:lnTo>
                    <a:pt x="1319" y="1992"/>
                  </a:lnTo>
                  <a:lnTo>
                    <a:pt x="1309" y="1990"/>
                  </a:lnTo>
                  <a:lnTo>
                    <a:pt x="1300" y="1987"/>
                  </a:lnTo>
                  <a:lnTo>
                    <a:pt x="1291" y="1984"/>
                  </a:lnTo>
                  <a:lnTo>
                    <a:pt x="1282" y="1981"/>
                  </a:lnTo>
                  <a:lnTo>
                    <a:pt x="1275" y="1976"/>
                  </a:lnTo>
                  <a:lnTo>
                    <a:pt x="1268" y="1971"/>
                  </a:lnTo>
                  <a:lnTo>
                    <a:pt x="1261" y="1965"/>
                  </a:lnTo>
                  <a:lnTo>
                    <a:pt x="1255" y="1960"/>
                  </a:lnTo>
                  <a:lnTo>
                    <a:pt x="1249" y="1953"/>
                  </a:lnTo>
                  <a:lnTo>
                    <a:pt x="1243" y="1946"/>
                  </a:lnTo>
                  <a:lnTo>
                    <a:pt x="1232" y="1931"/>
                  </a:lnTo>
                  <a:lnTo>
                    <a:pt x="1224" y="1914"/>
                  </a:lnTo>
                  <a:lnTo>
                    <a:pt x="1217" y="1896"/>
                  </a:lnTo>
                  <a:lnTo>
                    <a:pt x="1211" y="1877"/>
                  </a:lnTo>
                  <a:lnTo>
                    <a:pt x="1207" y="1857"/>
                  </a:lnTo>
                  <a:lnTo>
                    <a:pt x="1202" y="1837"/>
                  </a:lnTo>
                  <a:lnTo>
                    <a:pt x="1200" y="1817"/>
                  </a:lnTo>
                  <a:lnTo>
                    <a:pt x="1198" y="1797"/>
                  </a:lnTo>
                  <a:lnTo>
                    <a:pt x="1198" y="1777"/>
                  </a:lnTo>
                  <a:lnTo>
                    <a:pt x="1197" y="1758"/>
                  </a:lnTo>
                  <a:lnTo>
                    <a:pt x="1199" y="1722"/>
                  </a:lnTo>
                  <a:lnTo>
                    <a:pt x="1202" y="1675"/>
                  </a:lnTo>
                  <a:lnTo>
                    <a:pt x="1203" y="1652"/>
                  </a:lnTo>
                  <a:lnTo>
                    <a:pt x="1202" y="1630"/>
                  </a:lnTo>
                  <a:lnTo>
                    <a:pt x="1201" y="1620"/>
                  </a:lnTo>
                  <a:lnTo>
                    <a:pt x="1200" y="1611"/>
                  </a:lnTo>
                  <a:lnTo>
                    <a:pt x="1198" y="1604"/>
                  </a:lnTo>
                  <a:lnTo>
                    <a:pt x="1195" y="1597"/>
                  </a:lnTo>
                  <a:lnTo>
                    <a:pt x="1193" y="1594"/>
                  </a:lnTo>
                  <a:lnTo>
                    <a:pt x="1190" y="1591"/>
                  </a:lnTo>
                  <a:lnTo>
                    <a:pt x="1188" y="1590"/>
                  </a:lnTo>
                  <a:lnTo>
                    <a:pt x="1184" y="1589"/>
                  </a:lnTo>
                  <a:lnTo>
                    <a:pt x="1181" y="1588"/>
                  </a:lnTo>
                  <a:lnTo>
                    <a:pt x="1178" y="1588"/>
                  </a:lnTo>
                  <a:lnTo>
                    <a:pt x="1173" y="1589"/>
                  </a:lnTo>
                  <a:lnTo>
                    <a:pt x="1169" y="1591"/>
                  </a:lnTo>
                  <a:lnTo>
                    <a:pt x="1159" y="1597"/>
                  </a:lnTo>
                  <a:lnTo>
                    <a:pt x="1146" y="1605"/>
                  </a:lnTo>
                  <a:lnTo>
                    <a:pt x="1134" y="1616"/>
                  </a:lnTo>
                  <a:lnTo>
                    <a:pt x="1119" y="1629"/>
                  </a:lnTo>
                  <a:lnTo>
                    <a:pt x="1111" y="1637"/>
                  </a:lnTo>
                  <a:lnTo>
                    <a:pt x="1102" y="1643"/>
                  </a:lnTo>
                  <a:lnTo>
                    <a:pt x="1092" y="1648"/>
                  </a:lnTo>
                  <a:lnTo>
                    <a:pt x="1083" y="1653"/>
                  </a:lnTo>
                  <a:lnTo>
                    <a:pt x="1074" y="1657"/>
                  </a:lnTo>
                  <a:lnTo>
                    <a:pt x="1067" y="1663"/>
                  </a:lnTo>
                  <a:lnTo>
                    <a:pt x="1064" y="1666"/>
                  </a:lnTo>
                  <a:lnTo>
                    <a:pt x="1060" y="1668"/>
                  </a:lnTo>
                  <a:lnTo>
                    <a:pt x="1058" y="1672"/>
                  </a:lnTo>
                  <a:lnTo>
                    <a:pt x="1057" y="1676"/>
                  </a:lnTo>
                  <a:lnTo>
                    <a:pt x="1055" y="1683"/>
                  </a:lnTo>
                  <a:lnTo>
                    <a:pt x="1053" y="1691"/>
                  </a:lnTo>
                  <a:lnTo>
                    <a:pt x="1051" y="1698"/>
                  </a:lnTo>
                  <a:lnTo>
                    <a:pt x="1051" y="1706"/>
                  </a:lnTo>
                  <a:lnTo>
                    <a:pt x="1053" y="1724"/>
                  </a:lnTo>
                  <a:lnTo>
                    <a:pt x="1054" y="1742"/>
                  </a:lnTo>
                  <a:lnTo>
                    <a:pt x="1059" y="1780"/>
                  </a:lnTo>
                  <a:lnTo>
                    <a:pt x="1061" y="1817"/>
                  </a:lnTo>
                  <a:lnTo>
                    <a:pt x="1061" y="1865"/>
                  </a:lnTo>
                  <a:lnTo>
                    <a:pt x="1060" y="1902"/>
                  </a:lnTo>
                  <a:lnTo>
                    <a:pt x="1059" y="1917"/>
                  </a:lnTo>
                  <a:lnTo>
                    <a:pt x="1058" y="1932"/>
                  </a:lnTo>
                  <a:lnTo>
                    <a:pt x="1056" y="1944"/>
                  </a:lnTo>
                  <a:lnTo>
                    <a:pt x="1053" y="1956"/>
                  </a:lnTo>
                  <a:lnTo>
                    <a:pt x="1048" y="1966"/>
                  </a:lnTo>
                  <a:lnTo>
                    <a:pt x="1044" y="1976"/>
                  </a:lnTo>
                  <a:lnTo>
                    <a:pt x="1037" y="1986"/>
                  </a:lnTo>
                  <a:lnTo>
                    <a:pt x="1030" y="1996"/>
                  </a:lnTo>
                  <a:lnTo>
                    <a:pt x="1011" y="2019"/>
                  </a:lnTo>
                  <a:lnTo>
                    <a:pt x="986" y="2044"/>
                  </a:lnTo>
                  <a:lnTo>
                    <a:pt x="974" y="2057"/>
                  </a:lnTo>
                  <a:lnTo>
                    <a:pt x="955" y="2073"/>
                  </a:lnTo>
                  <a:lnTo>
                    <a:pt x="944" y="2082"/>
                  </a:lnTo>
                  <a:lnTo>
                    <a:pt x="932" y="2092"/>
                  </a:lnTo>
                  <a:lnTo>
                    <a:pt x="920" y="2101"/>
                  </a:lnTo>
                  <a:lnTo>
                    <a:pt x="906" y="2109"/>
                  </a:lnTo>
                  <a:lnTo>
                    <a:pt x="890" y="2118"/>
                  </a:lnTo>
                  <a:lnTo>
                    <a:pt x="873" y="2126"/>
                  </a:lnTo>
                  <a:lnTo>
                    <a:pt x="857" y="2133"/>
                  </a:lnTo>
                  <a:lnTo>
                    <a:pt x="843" y="2138"/>
                  </a:lnTo>
                  <a:lnTo>
                    <a:pt x="820" y="2145"/>
                  </a:lnTo>
                  <a:lnTo>
                    <a:pt x="809" y="2147"/>
                  </a:lnTo>
                  <a:lnTo>
                    <a:pt x="806" y="2146"/>
                  </a:lnTo>
                  <a:lnTo>
                    <a:pt x="801" y="2145"/>
                  </a:lnTo>
                  <a:lnTo>
                    <a:pt x="797" y="2142"/>
                  </a:lnTo>
                  <a:lnTo>
                    <a:pt x="792" y="2137"/>
                  </a:lnTo>
                  <a:lnTo>
                    <a:pt x="782" y="2125"/>
                  </a:lnTo>
                  <a:lnTo>
                    <a:pt x="770" y="2109"/>
                  </a:lnTo>
                  <a:lnTo>
                    <a:pt x="758" y="2090"/>
                  </a:lnTo>
                  <a:lnTo>
                    <a:pt x="744" y="2068"/>
                  </a:lnTo>
                  <a:lnTo>
                    <a:pt x="732" y="2043"/>
                  </a:lnTo>
                  <a:lnTo>
                    <a:pt x="719" y="2018"/>
                  </a:lnTo>
                  <a:lnTo>
                    <a:pt x="705" y="1991"/>
                  </a:lnTo>
                  <a:lnTo>
                    <a:pt x="694" y="1963"/>
                  </a:lnTo>
                  <a:lnTo>
                    <a:pt x="683" y="1935"/>
                  </a:lnTo>
                  <a:lnTo>
                    <a:pt x="673" y="1907"/>
                  </a:lnTo>
                  <a:lnTo>
                    <a:pt x="665" y="1880"/>
                  </a:lnTo>
                  <a:lnTo>
                    <a:pt x="658" y="1856"/>
                  </a:lnTo>
                  <a:lnTo>
                    <a:pt x="656" y="1844"/>
                  </a:lnTo>
                  <a:lnTo>
                    <a:pt x="655" y="1832"/>
                  </a:lnTo>
                  <a:lnTo>
                    <a:pt x="654" y="1822"/>
                  </a:lnTo>
                  <a:lnTo>
                    <a:pt x="653" y="1812"/>
                  </a:lnTo>
                  <a:lnTo>
                    <a:pt x="653" y="1788"/>
                  </a:lnTo>
                  <a:lnTo>
                    <a:pt x="650" y="1762"/>
                  </a:lnTo>
                  <a:lnTo>
                    <a:pt x="646" y="1739"/>
                  </a:lnTo>
                  <a:lnTo>
                    <a:pt x="641" y="1714"/>
                  </a:lnTo>
                  <a:lnTo>
                    <a:pt x="635" y="1691"/>
                  </a:lnTo>
                  <a:lnTo>
                    <a:pt x="627" y="1667"/>
                  </a:lnTo>
                  <a:lnTo>
                    <a:pt x="618" y="1645"/>
                  </a:lnTo>
                  <a:lnTo>
                    <a:pt x="609" y="1621"/>
                  </a:lnTo>
                  <a:lnTo>
                    <a:pt x="589" y="1577"/>
                  </a:lnTo>
                  <a:lnTo>
                    <a:pt x="568" y="1533"/>
                  </a:lnTo>
                  <a:lnTo>
                    <a:pt x="545" y="1491"/>
                  </a:lnTo>
                  <a:lnTo>
                    <a:pt x="523" y="1448"/>
                  </a:lnTo>
                  <a:lnTo>
                    <a:pt x="497" y="1398"/>
                  </a:lnTo>
                  <a:lnTo>
                    <a:pt x="470" y="1348"/>
                  </a:lnTo>
                  <a:lnTo>
                    <a:pt x="456" y="1325"/>
                  </a:lnTo>
                  <a:lnTo>
                    <a:pt x="442" y="1301"/>
                  </a:lnTo>
                  <a:lnTo>
                    <a:pt x="427" y="1279"/>
                  </a:lnTo>
                  <a:lnTo>
                    <a:pt x="412" y="1258"/>
                  </a:lnTo>
                  <a:lnTo>
                    <a:pt x="396" y="1237"/>
                  </a:lnTo>
                  <a:lnTo>
                    <a:pt x="379" y="1217"/>
                  </a:lnTo>
                  <a:lnTo>
                    <a:pt x="363" y="1200"/>
                  </a:lnTo>
                  <a:lnTo>
                    <a:pt x="344" y="1182"/>
                  </a:lnTo>
                  <a:lnTo>
                    <a:pt x="325" y="1166"/>
                  </a:lnTo>
                  <a:lnTo>
                    <a:pt x="305" y="1150"/>
                  </a:lnTo>
                  <a:lnTo>
                    <a:pt x="282" y="1137"/>
                  </a:lnTo>
                  <a:lnTo>
                    <a:pt x="260" y="1125"/>
                  </a:lnTo>
                  <a:lnTo>
                    <a:pt x="230" y="1111"/>
                  </a:lnTo>
                  <a:lnTo>
                    <a:pt x="195" y="1097"/>
                  </a:lnTo>
                  <a:lnTo>
                    <a:pt x="177" y="1088"/>
                  </a:lnTo>
                  <a:lnTo>
                    <a:pt x="158" y="1079"/>
                  </a:lnTo>
                  <a:lnTo>
                    <a:pt x="139" y="1070"/>
                  </a:lnTo>
                  <a:lnTo>
                    <a:pt x="122" y="1059"/>
                  </a:lnTo>
                  <a:lnTo>
                    <a:pt x="104" y="1048"/>
                  </a:lnTo>
                  <a:lnTo>
                    <a:pt x="87" y="1037"/>
                  </a:lnTo>
                  <a:lnTo>
                    <a:pt x="72" y="1024"/>
                  </a:lnTo>
                  <a:lnTo>
                    <a:pt x="59" y="1011"/>
                  </a:lnTo>
                  <a:lnTo>
                    <a:pt x="53" y="1004"/>
                  </a:lnTo>
                  <a:lnTo>
                    <a:pt x="49" y="996"/>
                  </a:lnTo>
                  <a:lnTo>
                    <a:pt x="44" y="990"/>
                  </a:lnTo>
                  <a:lnTo>
                    <a:pt x="41" y="982"/>
                  </a:lnTo>
                  <a:lnTo>
                    <a:pt x="38" y="974"/>
                  </a:lnTo>
                  <a:lnTo>
                    <a:pt x="36" y="965"/>
                  </a:lnTo>
                  <a:lnTo>
                    <a:pt x="34" y="957"/>
                  </a:lnTo>
                  <a:lnTo>
                    <a:pt x="33" y="948"/>
                  </a:lnTo>
                  <a:lnTo>
                    <a:pt x="33" y="929"/>
                  </a:lnTo>
                  <a:lnTo>
                    <a:pt x="32" y="912"/>
                  </a:lnTo>
                  <a:lnTo>
                    <a:pt x="30" y="894"/>
                  </a:lnTo>
                  <a:lnTo>
                    <a:pt x="29" y="876"/>
                  </a:lnTo>
                  <a:lnTo>
                    <a:pt x="23" y="841"/>
                  </a:lnTo>
                  <a:lnTo>
                    <a:pt x="17" y="808"/>
                  </a:lnTo>
                  <a:lnTo>
                    <a:pt x="11" y="774"/>
                  </a:lnTo>
                  <a:lnTo>
                    <a:pt x="5" y="743"/>
                  </a:lnTo>
                  <a:lnTo>
                    <a:pt x="3" y="726"/>
                  </a:lnTo>
                  <a:lnTo>
                    <a:pt x="1" y="711"/>
                  </a:lnTo>
                  <a:lnTo>
                    <a:pt x="0" y="695"/>
                  </a:lnTo>
                  <a:lnTo>
                    <a:pt x="0" y="679"/>
                  </a:lnTo>
                  <a:lnTo>
                    <a:pt x="0" y="672"/>
                  </a:lnTo>
                  <a:lnTo>
                    <a:pt x="1" y="665"/>
                  </a:lnTo>
                  <a:lnTo>
                    <a:pt x="3" y="658"/>
                  </a:lnTo>
                  <a:lnTo>
                    <a:pt x="5" y="652"/>
                  </a:lnTo>
                  <a:lnTo>
                    <a:pt x="8" y="646"/>
                  </a:lnTo>
                  <a:lnTo>
                    <a:pt x="12" y="640"/>
                  </a:lnTo>
                  <a:lnTo>
                    <a:pt x="17" y="636"/>
                  </a:lnTo>
                  <a:lnTo>
                    <a:pt x="21" y="631"/>
                  </a:lnTo>
                  <a:lnTo>
                    <a:pt x="33" y="623"/>
                  </a:lnTo>
                  <a:lnTo>
                    <a:pt x="48" y="615"/>
                  </a:lnTo>
                  <a:lnTo>
                    <a:pt x="67" y="607"/>
                  </a:lnTo>
                  <a:lnTo>
                    <a:pt x="87" y="599"/>
                  </a:lnTo>
                  <a:lnTo>
                    <a:pt x="118" y="590"/>
                  </a:lnTo>
                  <a:lnTo>
                    <a:pt x="153" y="581"/>
                  </a:lnTo>
                  <a:lnTo>
                    <a:pt x="188" y="572"/>
                  </a:lnTo>
                  <a:lnTo>
                    <a:pt x="226" y="565"/>
                  </a:lnTo>
                  <a:lnTo>
                    <a:pt x="264" y="558"/>
                  </a:lnTo>
                  <a:lnTo>
                    <a:pt x="301" y="553"/>
                  </a:lnTo>
                  <a:lnTo>
                    <a:pt x="337" y="549"/>
                  </a:lnTo>
                  <a:lnTo>
                    <a:pt x="369" y="547"/>
                  </a:lnTo>
                  <a:lnTo>
                    <a:pt x="394" y="547"/>
                  </a:lnTo>
                  <a:lnTo>
                    <a:pt x="414" y="548"/>
                  </a:lnTo>
                  <a:lnTo>
                    <a:pt x="432" y="550"/>
                  </a:lnTo>
                  <a:lnTo>
                    <a:pt x="446" y="554"/>
                  </a:lnTo>
                  <a:lnTo>
                    <a:pt x="459" y="560"/>
                  </a:lnTo>
                  <a:lnTo>
                    <a:pt x="469" y="567"/>
                  </a:lnTo>
                  <a:lnTo>
                    <a:pt x="478" y="573"/>
                  </a:lnTo>
                  <a:lnTo>
                    <a:pt x="487" y="582"/>
                  </a:lnTo>
                  <a:lnTo>
                    <a:pt x="502" y="601"/>
                  </a:lnTo>
                  <a:lnTo>
                    <a:pt x="521" y="624"/>
                  </a:lnTo>
                  <a:lnTo>
                    <a:pt x="532" y="635"/>
                  </a:lnTo>
                  <a:lnTo>
                    <a:pt x="547" y="646"/>
                  </a:lnTo>
                  <a:lnTo>
                    <a:pt x="564" y="658"/>
                  </a:lnTo>
                  <a:lnTo>
                    <a:pt x="583" y="669"/>
                  </a:lnTo>
                  <a:lnTo>
                    <a:pt x="593" y="674"/>
                  </a:lnTo>
                  <a:lnTo>
                    <a:pt x="603" y="678"/>
                  </a:lnTo>
                  <a:lnTo>
                    <a:pt x="614" y="681"/>
                  </a:lnTo>
                  <a:lnTo>
                    <a:pt x="626" y="684"/>
                  </a:lnTo>
                  <a:lnTo>
                    <a:pt x="638" y="685"/>
                  </a:lnTo>
                  <a:lnTo>
                    <a:pt x="651" y="686"/>
                  </a:lnTo>
                  <a:lnTo>
                    <a:pt x="663" y="686"/>
                  </a:lnTo>
                  <a:lnTo>
                    <a:pt x="675" y="686"/>
                  </a:lnTo>
                  <a:lnTo>
                    <a:pt x="687" y="684"/>
                  </a:lnTo>
                  <a:lnTo>
                    <a:pt x="700" y="683"/>
                  </a:lnTo>
                  <a:lnTo>
                    <a:pt x="711" y="679"/>
                  </a:lnTo>
                  <a:lnTo>
                    <a:pt x="722" y="676"/>
                  </a:lnTo>
                  <a:lnTo>
                    <a:pt x="732" y="672"/>
                  </a:lnTo>
                  <a:lnTo>
                    <a:pt x="742" y="666"/>
                  </a:lnTo>
                  <a:lnTo>
                    <a:pt x="751" y="660"/>
                  </a:lnTo>
                  <a:lnTo>
                    <a:pt x="759" y="654"/>
                  </a:lnTo>
                  <a:lnTo>
                    <a:pt x="766" y="645"/>
                  </a:lnTo>
                  <a:lnTo>
                    <a:pt x="771" y="635"/>
                  </a:lnTo>
                  <a:lnTo>
                    <a:pt x="776" y="624"/>
                  </a:lnTo>
                  <a:lnTo>
                    <a:pt x="779" y="611"/>
                  </a:lnTo>
                  <a:lnTo>
                    <a:pt x="781" y="598"/>
                  </a:lnTo>
                  <a:lnTo>
                    <a:pt x="782" y="585"/>
                  </a:lnTo>
                  <a:lnTo>
                    <a:pt x="783" y="569"/>
                  </a:lnTo>
                  <a:lnTo>
                    <a:pt x="782" y="553"/>
                  </a:lnTo>
                  <a:lnTo>
                    <a:pt x="780" y="520"/>
                  </a:lnTo>
                  <a:lnTo>
                    <a:pt x="775" y="484"/>
                  </a:lnTo>
                  <a:lnTo>
                    <a:pt x="769" y="447"/>
                  </a:lnTo>
                  <a:lnTo>
                    <a:pt x="762" y="409"/>
                  </a:lnTo>
                  <a:lnTo>
                    <a:pt x="756" y="373"/>
                  </a:lnTo>
                  <a:lnTo>
                    <a:pt x="750" y="338"/>
                  </a:lnTo>
                  <a:lnTo>
                    <a:pt x="748" y="320"/>
                  </a:lnTo>
                  <a:lnTo>
                    <a:pt x="747" y="303"/>
                  </a:lnTo>
                  <a:lnTo>
                    <a:pt x="746" y="288"/>
                  </a:lnTo>
                  <a:lnTo>
                    <a:pt x="746" y="272"/>
                  </a:lnTo>
                  <a:lnTo>
                    <a:pt x="747" y="259"/>
                  </a:lnTo>
                  <a:lnTo>
                    <a:pt x="748" y="245"/>
                  </a:lnTo>
                  <a:lnTo>
                    <a:pt x="751" y="233"/>
                  </a:lnTo>
                  <a:lnTo>
                    <a:pt x="754" y="222"/>
                  </a:lnTo>
                  <a:lnTo>
                    <a:pt x="760" y="212"/>
                  </a:lnTo>
                  <a:lnTo>
                    <a:pt x="767" y="203"/>
                  </a:lnTo>
                  <a:lnTo>
                    <a:pt x="775" y="196"/>
                  </a:lnTo>
                  <a:lnTo>
                    <a:pt x="783" y="191"/>
                  </a:lnTo>
                  <a:lnTo>
                    <a:pt x="805" y="182"/>
                  </a:lnTo>
                  <a:lnTo>
                    <a:pt x="826" y="175"/>
                  </a:lnTo>
                  <a:lnTo>
                    <a:pt x="847" y="171"/>
                  </a:lnTo>
                  <a:lnTo>
                    <a:pt x="867" y="167"/>
                  </a:lnTo>
                  <a:lnTo>
                    <a:pt x="887" y="166"/>
                  </a:lnTo>
                  <a:lnTo>
                    <a:pt x="906" y="166"/>
                  </a:lnTo>
                  <a:lnTo>
                    <a:pt x="925" y="166"/>
                  </a:lnTo>
                  <a:lnTo>
                    <a:pt x="944" y="168"/>
                  </a:lnTo>
                  <a:lnTo>
                    <a:pt x="980" y="172"/>
                  </a:lnTo>
                  <a:lnTo>
                    <a:pt x="1015" y="176"/>
                  </a:lnTo>
                  <a:lnTo>
                    <a:pt x="1031" y="177"/>
                  </a:lnTo>
                  <a:lnTo>
                    <a:pt x="1048" y="177"/>
                  </a:lnTo>
                  <a:lnTo>
                    <a:pt x="1065" y="176"/>
                  </a:lnTo>
                  <a:lnTo>
                    <a:pt x="1080" y="174"/>
                  </a:lnTo>
                  <a:lnTo>
                    <a:pt x="1090" y="171"/>
                  </a:lnTo>
                  <a:lnTo>
                    <a:pt x="1101" y="167"/>
                  </a:lnTo>
                  <a:lnTo>
                    <a:pt x="1112" y="163"/>
                  </a:lnTo>
                  <a:lnTo>
                    <a:pt x="1121" y="156"/>
                  </a:lnTo>
                  <a:lnTo>
                    <a:pt x="1131" y="149"/>
                  </a:lnTo>
                  <a:lnTo>
                    <a:pt x="1141" y="142"/>
                  </a:lnTo>
                  <a:lnTo>
                    <a:pt x="1151" y="133"/>
                  </a:lnTo>
                  <a:lnTo>
                    <a:pt x="1160" y="123"/>
                  </a:lnTo>
                  <a:lnTo>
                    <a:pt x="1170" y="111"/>
                  </a:lnTo>
                  <a:lnTo>
                    <a:pt x="1180" y="98"/>
                  </a:lnTo>
                  <a:lnTo>
                    <a:pt x="1189" y="85"/>
                  </a:lnTo>
                  <a:lnTo>
                    <a:pt x="1199" y="70"/>
                  </a:lnTo>
                  <a:lnTo>
                    <a:pt x="1219" y="38"/>
                  </a:lnTo>
                  <a:lnTo>
                    <a:pt x="124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1" name="Freeform 27"/>
            <p:cNvSpPr>
              <a:spLocks noChangeAspect="1"/>
            </p:cNvSpPr>
            <p:nvPr/>
          </p:nvSpPr>
          <p:spPr bwMode="gray">
            <a:xfrm rot="355651">
              <a:off x="5416550" y="3557588"/>
              <a:ext cx="199954" cy="172465"/>
            </a:xfrm>
            <a:custGeom>
              <a:avLst/>
              <a:gdLst/>
              <a:ahLst/>
              <a:cxnLst>
                <a:cxn ang="0">
                  <a:pos x="489" y="57"/>
                </a:cxn>
                <a:cxn ang="0">
                  <a:pos x="461" y="102"/>
                </a:cxn>
                <a:cxn ang="0">
                  <a:pos x="451" y="207"/>
                </a:cxn>
                <a:cxn ang="0">
                  <a:pos x="411" y="290"/>
                </a:cxn>
                <a:cxn ang="0">
                  <a:pos x="289" y="319"/>
                </a:cxn>
                <a:cxn ang="0">
                  <a:pos x="246" y="360"/>
                </a:cxn>
                <a:cxn ang="0">
                  <a:pos x="238" y="380"/>
                </a:cxn>
                <a:cxn ang="0">
                  <a:pos x="198" y="401"/>
                </a:cxn>
                <a:cxn ang="0">
                  <a:pos x="179" y="415"/>
                </a:cxn>
                <a:cxn ang="0">
                  <a:pos x="156" y="431"/>
                </a:cxn>
                <a:cxn ang="0">
                  <a:pos x="129" y="454"/>
                </a:cxn>
                <a:cxn ang="0">
                  <a:pos x="104" y="469"/>
                </a:cxn>
                <a:cxn ang="0">
                  <a:pos x="83" y="482"/>
                </a:cxn>
                <a:cxn ang="0">
                  <a:pos x="31" y="532"/>
                </a:cxn>
                <a:cxn ang="0">
                  <a:pos x="17" y="575"/>
                </a:cxn>
                <a:cxn ang="0">
                  <a:pos x="41" y="583"/>
                </a:cxn>
                <a:cxn ang="0">
                  <a:pos x="65" y="603"/>
                </a:cxn>
                <a:cxn ang="0">
                  <a:pos x="94" y="670"/>
                </a:cxn>
                <a:cxn ang="0">
                  <a:pos x="105" y="718"/>
                </a:cxn>
                <a:cxn ang="0">
                  <a:pos x="128" y="773"/>
                </a:cxn>
                <a:cxn ang="0">
                  <a:pos x="162" y="819"/>
                </a:cxn>
                <a:cxn ang="0">
                  <a:pos x="203" y="827"/>
                </a:cxn>
                <a:cxn ang="0">
                  <a:pos x="322" y="831"/>
                </a:cxn>
                <a:cxn ang="0">
                  <a:pos x="339" y="756"/>
                </a:cxn>
                <a:cxn ang="0">
                  <a:pos x="382" y="697"/>
                </a:cxn>
                <a:cxn ang="0">
                  <a:pos x="398" y="673"/>
                </a:cxn>
                <a:cxn ang="0">
                  <a:pos x="413" y="663"/>
                </a:cxn>
                <a:cxn ang="0">
                  <a:pos x="450" y="678"/>
                </a:cxn>
                <a:cxn ang="0">
                  <a:pos x="466" y="694"/>
                </a:cxn>
                <a:cxn ang="0">
                  <a:pos x="484" y="723"/>
                </a:cxn>
                <a:cxn ang="0">
                  <a:pos x="511" y="755"/>
                </a:cxn>
                <a:cxn ang="0">
                  <a:pos x="527" y="766"/>
                </a:cxn>
                <a:cxn ang="0">
                  <a:pos x="555" y="783"/>
                </a:cxn>
                <a:cxn ang="0">
                  <a:pos x="655" y="830"/>
                </a:cxn>
                <a:cxn ang="0">
                  <a:pos x="732" y="886"/>
                </a:cxn>
                <a:cxn ang="0">
                  <a:pos x="781" y="932"/>
                </a:cxn>
                <a:cxn ang="0">
                  <a:pos x="835" y="974"/>
                </a:cxn>
                <a:cxn ang="0">
                  <a:pos x="883" y="1007"/>
                </a:cxn>
                <a:cxn ang="0">
                  <a:pos x="923" y="1034"/>
                </a:cxn>
                <a:cxn ang="0">
                  <a:pos x="1000" y="1057"/>
                </a:cxn>
                <a:cxn ang="0">
                  <a:pos x="1030" y="1027"/>
                </a:cxn>
                <a:cxn ang="0">
                  <a:pos x="1041" y="1008"/>
                </a:cxn>
                <a:cxn ang="0">
                  <a:pos x="1075" y="966"/>
                </a:cxn>
                <a:cxn ang="0">
                  <a:pos x="1104" y="936"/>
                </a:cxn>
                <a:cxn ang="0">
                  <a:pos x="1080" y="889"/>
                </a:cxn>
                <a:cxn ang="0">
                  <a:pos x="1039" y="859"/>
                </a:cxn>
                <a:cxn ang="0">
                  <a:pos x="1039" y="790"/>
                </a:cxn>
                <a:cxn ang="0">
                  <a:pos x="1027" y="719"/>
                </a:cxn>
                <a:cxn ang="0">
                  <a:pos x="1000" y="698"/>
                </a:cxn>
                <a:cxn ang="0">
                  <a:pos x="940" y="667"/>
                </a:cxn>
                <a:cxn ang="0">
                  <a:pos x="894" y="641"/>
                </a:cxn>
                <a:cxn ang="0">
                  <a:pos x="883" y="630"/>
                </a:cxn>
                <a:cxn ang="0">
                  <a:pos x="863" y="602"/>
                </a:cxn>
                <a:cxn ang="0">
                  <a:pos x="834" y="563"/>
                </a:cxn>
                <a:cxn ang="0">
                  <a:pos x="827" y="550"/>
                </a:cxn>
                <a:cxn ang="0">
                  <a:pos x="790" y="540"/>
                </a:cxn>
                <a:cxn ang="0">
                  <a:pos x="702" y="498"/>
                </a:cxn>
                <a:cxn ang="0">
                  <a:pos x="664" y="360"/>
                </a:cxn>
                <a:cxn ang="0">
                  <a:pos x="645" y="320"/>
                </a:cxn>
                <a:cxn ang="0">
                  <a:pos x="634" y="306"/>
                </a:cxn>
                <a:cxn ang="0">
                  <a:pos x="594" y="11"/>
                </a:cxn>
              </a:cxnLst>
              <a:rect l="0" t="0" r="r" b="b"/>
              <a:pathLst>
                <a:path w="1105" h="1057">
                  <a:moveTo>
                    <a:pt x="536" y="0"/>
                  </a:moveTo>
                  <a:lnTo>
                    <a:pt x="522" y="13"/>
                  </a:lnTo>
                  <a:lnTo>
                    <a:pt x="507" y="28"/>
                  </a:lnTo>
                  <a:lnTo>
                    <a:pt x="500" y="37"/>
                  </a:lnTo>
                  <a:lnTo>
                    <a:pt x="493" y="45"/>
                  </a:lnTo>
                  <a:lnTo>
                    <a:pt x="491" y="50"/>
                  </a:lnTo>
                  <a:lnTo>
                    <a:pt x="490" y="54"/>
                  </a:lnTo>
                  <a:lnTo>
                    <a:pt x="489" y="57"/>
                  </a:lnTo>
                  <a:lnTo>
                    <a:pt x="488" y="62"/>
                  </a:lnTo>
                  <a:lnTo>
                    <a:pt x="482" y="64"/>
                  </a:lnTo>
                  <a:lnTo>
                    <a:pt x="478" y="66"/>
                  </a:lnTo>
                  <a:lnTo>
                    <a:pt x="475" y="67"/>
                  </a:lnTo>
                  <a:lnTo>
                    <a:pt x="474" y="70"/>
                  </a:lnTo>
                  <a:lnTo>
                    <a:pt x="471" y="74"/>
                  </a:lnTo>
                  <a:lnTo>
                    <a:pt x="461" y="82"/>
                  </a:lnTo>
                  <a:lnTo>
                    <a:pt x="461" y="102"/>
                  </a:lnTo>
                  <a:lnTo>
                    <a:pt x="459" y="105"/>
                  </a:lnTo>
                  <a:lnTo>
                    <a:pt x="457" y="113"/>
                  </a:lnTo>
                  <a:lnTo>
                    <a:pt x="455" y="124"/>
                  </a:lnTo>
                  <a:lnTo>
                    <a:pt x="455" y="138"/>
                  </a:lnTo>
                  <a:lnTo>
                    <a:pt x="454" y="166"/>
                  </a:lnTo>
                  <a:lnTo>
                    <a:pt x="454" y="184"/>
                  </a:lnTo>
                  <a:lnTo>
                    <a:pt x="453" y="195"/>
                  </a:lnTo>
                  <a:lnTo>
                    <a:pt x="451" y="207"/>
                  </a:lnTo>
                  <a:lnTo>
                    <a:pt x="447" y="220"/>
                  </a:lnTo>
                  <a:lnTo>
                    <a:pt x="444" y="233"/>
                  </a:lnTo>
                  <a:lnTo>
                    <a:pt x="437" y="256"/>
                  </a:lnTo>
                  <a:lnTo>
                    <a:pt x="434" y="272"/>
                  </a:lnTo>
                  <a:lnTo>
                    <a:pt x="427" y="278"/>
                  </a:lnTo>
                  <a:lnTo>
                    <a:pt x="421" y="285"/>
                  </a:lnTo>
                  <a:lnTo>
                    <a:pt x="415" y="286"/>
                  </a:lnTo>
                  <a:lnTo>
                    <a:pt x="411" y="290"/>
                  </a:lnTo>
                  <a:lnTo>
                    <a:pt x="408" y="294"/>
                  </a:lnTo>
                  <a:lnTo>
                    <a:pt x="407" y="298"/>
                  </a:lnTo>
                  <a:lnTo>
                    <a:pt x="379" y="301"/>
                  </a:lnTo>
                  <a:lnTo>
                    <a:pt x="338" y="305"/>
                  </a:lnTo>
                  <a:lnTo>
                    <a:pt x="318" y="309"/>
                  </a:lnTo>
                  <a:lnTo>
                    <a:pt x="301" y="313"/>
                  </a:lnTo>
                  <a:lnTo>
                    <a:pt x="294" y="316"/>
                  </a:lnTo>
                  <a:lnTo>
                    <a:pt x="289" y="319"/>
                  </a:lnTo>
                  <a:lnTo>
                    <a:pt x="286" y="322"/>
                  </a:lnTo>
                  <a:lnTo>
                    <a:pt x="284" y="326"/>
                  </a:lnTo>
                  <a:lnTo>
                    <a:pt x="271" y="326"/>
                  </a:lnTo>
                  <a:lnTo>
                    <a:pt x="264" y="333"/>
                  </a:lnTo>
                  <a:lnTo>
                    <a:pt x="258" y="340"/>
                  </a:lnTo>
                  <a:lnTo>
                    <a:pt x="258" y="353"/>
                  </a:lnTo>
                  <a:lnTo>
                    <a:pt x="251" y="360"/>
                  </a:lnTo>
                  <a:lnTo>
                    <a:pt x="246" y="360"/>
                  </a:lnTo>
                  <a:lnTo>
                    <a:pt x="245" y="361"/>
                  </a:lnTo>
                  <a:lnTo>
                    <a:pt x="244" y="362"/>
                  </a:lnTo>
                  <a:lnTo>
                    <a:pt x="244" y="363"/>
                  </a:lnTo>
                  <a:lnTo>
                    <a:pt x="244" y="364"/>
                  </a:lnTo>
                  <a:lnTo>
                    <a:pt x="243" y="365"/>
                  </a:lnTo>
                  <a:lnTo>
                    <a:pt x="241" y="367"/>
                  </a:lnTo>
                  <a:lnTo>
                    <a:pt x="238" y="367"/>
                  </a:lnTo>
                  <a:lnTo>
                    <a:pt x="238" y="380"/>
                  </a:lnTo>
                  <a:lnTo>
                    <a:pt x="224" y="383"/>
                  </a:lnTo>
                  <a:lnTo>
                    <a:pt x="210" y="387"/>
                  </a:lnTo>
                  <a:lnTo>
                    <a:pt x="203" y="393"/>
                  </a:lnTo>
                  <a:lnTo>
                    <a:pt x="203" y="398"/>
                  </a:lnTo>
                  <a:lnTo>
                    <a:pt x="202" y="400"/>
                  </a:lnTo>
                  <a:lnTo>
                    <a:pt x="201" y="400"/>
                  </a:lnTo>
                  <a:lnTo>
                    <a:pt x="200" y="400"/>
                  </a:lnTo>
                  <a:lnTo>
                    <a:pt x="198" y="401"/>
                  </a:lnTo>
                  <a:lnTo>
                    <a:pt x="197" y="401"/>
                  </a:lnTo>
                  <a:lnTo>
                    <a:pt x="197" y="403"/>
                  </a:lnTo>
                  <a:lnTo>
                    <a:pt x="196" y="408"/>
                  </a:lnTo>
                  <a:lnTo>
                    <a:pt x="183" y="408"/>
                  </a:lnTo>
                  <a:lnTo>
                    <a:pt x="183" y="411"/>
                  </a:lnTo>
                  <a:lnTo>
                    <a:pt x="182" y="413"/>
                  </a:lnTo>
                  <a:lnTo>
                    <a:pt x="181" y="413"/>
                  </a:lnTo>
                  <a:lnTo>
                    <a:pt x="179" y="415"/>
                  </a:lnTo>
                  <a:lnTo>
                    <a:pt x="178" y="415"/>
                  </a:lnTo>
                  <a:lnTo>
                    <a:pt x="177" y="415"/>
                  </a:lnTo>
                  <a:lnTo>
                    <a:pt x="176" y="417"/>
                  </a:lnTo>
                  <a:lnTo>
                    <a:pt x="176" y="421"/>
                  </a:lnTo>
                  <a:lnTo>
                    <a:pt x="172" y="421"/>
                  </a:lnTo>
                  <a:lnTo>
                    <a:pt x="166" y="425"/>
                  </a:lnTo>
                  <a:lnTo>
                    <a:pt x="161" y="427"/>
                  </a:lnTo>
                  <a:lnTo>
                    <a:pt x="156" y="431"/>
                  </a:lnTo>
                  <a:lnTo>
                    <a:pt x="150" y="435"/>
                  </a:lnTo>
                  <a:lnTo>
                    <a:pt x="146" y="438"/>
                  </a:lnTo>
                  <a:lnTo>
                    <a:pt x="140" y="440"/>
                  </a:lnTo>
                  <a:lnTo>
                    <a:pt x="136" y="441"/>
                  </a:lnTo>
                  <a:lnTo>
                    <a:pt x="135" y="446"/>
                  </a:lnTo>
                  <a:lnTo>
                    <a:pt x="134" y="449"/>
                  </a:lnTo>
                  <a:lnTo>
                    <a:pt x="131" y="451"/>
                  </a:lnTo>
                  <a:lnTo>
                    <a:pt x="129" y="454"/>
                  </a:lnTo>
                  <a:lnTo>
                    <a:pt x="126" y="456"/>
                  </a:lnTo>
                  <a:lnTo>
                    <a:pt x="124" y="457"/>
                  </a:lnTo>
                  <a:lnTo>
                    <a:pt x="123" y="459"/>
                  </a:lnTo>
                  <a:lnTo>
                    <a:pt x="123" y="461"/>
                  </a:lnTo>
                  <a:lnTo>
                    <a:pt x="108" y="461"/>
                  </a:lnTo>
                  <a:lnTo>
                    <a:pt x="108" y="464"/>
                  </a:lnTo>
                  <a:lnTo>
                    <a:pt x="106" y="467"/>
                  </a:lnTo>
                  <a:lnTo>
                    <a:pt x="104" y="469"/>
                  </a:lnTo>
                  <a:lnTo>
                    <a:pt x="101" y="470"/>
                  </a:lnTo>
                  <a:lnTo>
                    <a:pt x="95" y="474"/>
                  </a:lnTo>
                  <a:lnTo>
                    <a:pt x="88" y="475"/>
                  </a:lnTo>
                  <a:lnTo>
                    <a:pt x="88" y="479"/>
                  </a:lnTo>
                  <a:lnTo>
                    <a:pt x="87" y="482"/>
                  </a:lnTo>
                  <a:lnTo>
                    <a:pt x="86" y="482"/>
                  </a:lnTo>
                  <a:lnTo>
                    <a:pt x="85" y="482"/>
                  </a:lnTo>
                  <a:lnTo>
                    <a:pt x="83" y="482"/>
                  </a:lnTo>
                  <a:lnTo>
                    <a:pt x="82" y="483"/>
                  </a:lnTo>
                  <a:lnTo>
                    <a:pt x="81" y="485"/>
                  </a:lnTo>
                  <a:lnTo>
                    <a:pt x="81" y="488"/>
                  </a:lnTo>
                  <a:lnTo>
                    <a:pt x="75" y="490"/>
                  </a:lnTo>
                  <a:lnTo>
                    <a:pt x="67" y="496"/>
                  </a:lnTo>
                  <a:lnTo>
                    <a:pt x="58" y="504"/>
                  </a:lnTo>
                  <a:lnTo>
                    <a:pt x="48" y="513"/>
                  </a:lnTo>
                  <a:lnTo>
                    <a:pt x="31" y="532"/>
                  </a:lnTo>
                  <a:lnTo>
                    <a:pt x="20" y="543"/>
                  </a:lnTo>
                  <a:lnTo>
                    <a:pt x="10" y="546"/>
                  </a:lnTo>
                  <a:lnTo>
                    <a:pt x="0" y="550"/>
                  </a:lnTo>
                  <a:lnTo>
                    <a:pt x="0" y="570"/>
                  </a:lnTo>
                  <a:lnTo>
                    <a:pt x="13" y="570"/>
                  </a:lnTo>
                  <a:lnTo>
                    <a:pt x="14" y="572"/>
                  </a:lnTo>
                  <a:lnTo>
                    <a:pt x="14" y="574"/>
                  </a:lnTo>
                  <a:lnTo>
                    <a:pt x="17" y="575"/>
                  </a:lnTo>
                  <a:lnTo>
                    <a:pt x="18" y="576"/>
                  </a:lnTo>
                  <a:lnTo>
                    <a:pt x="22" y="576"/>
                  </a:lnTo>
                  <a:lnTo>
                    <a:pt x="27" y="576"/>
                  </a:lnTo>
                  <a:lnTo>
                    <a:pt x="28" y="579"/>
                  </a:lnTo>
                  <a:lnTo>
                    <a:pt x="29" y="581"/>
                  </a:lnTo>
                  <a:lnTo>
                    <a:pt x="32" y="582"/>
                  </a:lnTo>
                  <a:lnTo>
                    <a:pt x="34" y="583"/>
                  </a:lnTo>
                  <a:lnTo>
                    <a:pt x="41" y="583"/>
                  </a:lnTo>
                  <a:lnTo>
                    <a:pt x="48" y="583"/>
                  </a:lnTo>
                  <a:lnTo>
                    <a:pt x="48" y="586"/>
                  </a:lnTo>
                  <a:lnTo>
                    <a:pt x="50" y="590"/>
                  </a:lnTo>
                  <a:lnTo>
                    <a:pt x="52" y="593"/>
                  </a:lnTo>
                  <a:lnTo>
                    <a:pt x="56" y="596"/>
                  </a:lnTo>
                  <a:lnTo>
                    <a:pt x="58" y="599"/>
                  </a:lnTo>
                  <a:lnTo>
                    <a:pt x="62" y="602"/>
                  </a:lnTo>
                  <a:lnTo>
                    <a:pt x="65" y="603"/>
                  </a:lnTo>
                  <a:lnTo>
                    <a:pt x="68" y="604"/>
                  </a:lnTo>
                  <a:lnTo>
                    <a:pt x="75" y="618"/>
                  </a:lnTo>
                  <a:lnTo>
                    <a:pt x="75" y="631"/>
                  </a:lnTo>
                  <a:lnTo>
                    <a:pt x="88" y="644"/>
                  </a:lnTo>
                  <a:lnTo>
                    <a:pt x="88" y="665"/>
                  </a:lnTo>
                  <a:lnTo>
                    <a:pt x="90" y="666"/>
                  </a:lnTo>
                  <a:lnTo>
                    <a:pt x="92" y="667"/>
                  </a:lnTo>
                  <a:lnTo>
                    <a:pt x="94" y="670"/>
                  </a:lnTo>
                  <a:lnTo>
                    <a:pt x="95" y="673"/>
                  </a:lnTo>
                  <a:lnTo>
                    <a:pt x="95" y="682"/>
                  </a:lnTo>
                  <a:lnTo>
                    <a:pt x="96" y="692"/>
                  </a:lnTo>
                  <a:lnTo>
                    <a:pt x="97" y="701"/>
                  </a:lnTo>
                  <a:lnTo>
                    <a:pt x="99" y="710"/>
                  </a:lnTo>
                  <a:lnTo>
                    <a:pt x="100" y="714"/>
                  </a:lnTo>
                  <a:lnTo>
                    <a:pt x="102" y="717"/>
                  </a:lnTo>
                  <a:lnTo>
                    <a:pt x="105" y="718"/>
                  </a:lnTo>
                  <a:lnTo>
                    <a:pt x="108" y="719"/>
                  </a:lnTo>
                  <a:lnTo>
                    <a:pt x="109" y="727"/>
                  </a:lnTo>
                  <a:lnTo>
                    <a:pt x="111" y="734"/>
                  </a:lnTo>
                  <a:lnTo>
                    <a:pt x="115" y="742"/>
                  </a:lnTo>
                  <a:lnTo>
                    <a:pt x="118" y="749"/>
                  </a:lnTo>
                  <a:lnTo>
                    <a:pt x="123" y="757"/>
                  </a:lnTo>
                  <a:lnTo>
                    <a:pt x="126" y="765"/>
                  </a:lnTo>
                  <a:lnTo>
                    <a:pt x="128" y="773"/>
                  </a:lnTo>
                  <a:lnTo>
                    <a:pt x="129" y="779"/>
                  </a:lnTo>
                  <a:lnTo>
                    <a:pt x="143" y="794"/>
                  </a:lnTo>
                  <a:lnTo>
                    <a:pt x="143" y="807"/>
                  </a:lnTo>
                  <a:lnTo>
                    <a:pt x="148" y="809"/>
                  </a:lnTo>
                  <a:lnTo>
                    <a:pt x="155" y="812"/>
                  </a:lnTo>
                  <a:lnTo>
                    <a:pt x="158" y="813"/>
                  </a:lnTo>
                  <a:lnTo>
                    <a:pt x="161" y="815"/>
                  </a:lnTo>
                  <a:lnTo>
                    <a:pt x="162" y="819"/>
                  </a:lnTo>
                  <a:lnTo>
                    <a:pt x="163" y="821"/>
                  </a:lnTo>
                  <a:lnTo>
                    <a:pt x="183" y="821"/>
                  </a:lnTo>
                  <a:lnTo>
                    <a:pt x="184" y="823"/>
                  </a:lnTo>
                  <a:lnTo>
                    <a:pt x="185" y="824"/>
                  </a:lnTo>
                  <a:lnTo>
                    <a:pt x="187" y="825"/>
                  </a:lnTo>
                  <a:lnTo>
                    <a:pt x="191" y="826"/>
                  </a:lnTo>
                  <a:lnTo>
                    <a:pt x="197" y="827"/>
                  </a:lnTo>
                  <a:lnTo>
                    <a:pt x="203" y="827"/>
                  </a:lnTo>
                  <a:lnTo>
                    <a:pt x="217" y="841"/>
                  </a:lnTo>
                  <a:lnTo>
                    <a:pt x="242" y="842"/>
                  </a:lnTo>
                  <a:lnTo>
                    <a:pt x="268" y="844"/>
                  </a:lnTo>
                  <a:lnTo>
                    <a:pt x="293" y="846"/>
                  </a:lnTo>
                  <a:lnTo>
                    <a:pt x="319" y="848"/>
                  </a:lnTo>
                  <a:lnTo>
                    <a:pt x="319" y="834"/>
                  </a:lnTo>
                  <a:lnTo>
                    <a:pt x="321" y="833"/>
                  </a:lnTo>
                  <a:lnTo>
                    <a:pt x="322" y="831"/>
                  </a:lnTo>
                  <a:lnTo>
                    <a:pt x="325" y="826"/>
                  </a:lnTo>
                  <a:lnTo>
                    <a:pt x="326" y="822"/>
                  </a:lnTo>
                  <a:lnTo>
                    <a:pt x="328" y="809"/>
                  </a:lnTo>
                  <a:lnTo>
                    <a:pt x="329" y="794"/>
                  </a:lnTo>
                  <a:lnTo>
                    <a:pt x="331" y="778"/>
                  </a:lnTo>
                  <a:lnTo>
                    <a:pt x="335" y="766"/>
                  </a:lnTo>
                  <a:lnTo>
                    <a:pt x="337" y="761"/>
                  </a:lnTo>
                  <a:lnTo>
                    <a:pt x="339" y="756"/>
                  </a:lnTo>
                  <a:lnTo>
                    <a:pt x="342" y="754"/>
                  </a:lnTo>
                  <a:lnTo>
                    <a:pt x="346" y="753"/>
                  </a:lnTo>
                  <a:lnTo>
                    <a:pt x="346" y="739"/>
                  </a:lnTo>
                  <a:lnTo>
                    <a:pt x="353" y="726"/>
                  </a:lnTo>
                  <a:lnTo>
                    <a:pt x="358" y="721"/>
                  </a:lnTo>
                  <a:lnTo>
                    <a:pt x="369" y="710"/>
                  </a:lnTo>
                  <a:lnTo>
                    <a:pt x="376" y="704"/>
                  </a:lnTo>
                  <a:lnTo>
                    <a:pt x="382" y="697"/>
                  </a:lnTo>
                  <a:lnTo>
                    <a:pt x="385" y="691"/>
                  </a:lnTo>
                  <a:lnTo>
                    <a:pt x="386" y="685"/>
                  </a:lnTo>
                  <a:lnTo>
                    <a:pt x="388" y="685"/>
                  </a:lnTo>
                  <a:lnTo>
                    <a:pt x="390" y="684"/>
                  </a:lnTo>
                  <a:lnTo>
                    <a:pt x="393" y="681"/>
                  </a:lnTo>
                  <a:lnTo>
                    <a:pt x="394" y="678"/>
                  </a:lnTo>
                  <a:lnTo>
                    <a:pt x="396" y="676"/>
                  </a:lnTo>
                  <a:lnTo>
                    <a:pt x="398" y="673"/>
                  </a:lnTo>
                  <a:lnTo>
                    <a:pt x="402" y="672"/>
                  </a:lnTo>
                  <a:lnTo>
                    <a:pt x="407" y="671"/>
                  </a:lnTo>
                  <a:lnTo>
                    <a:pt x="407" y="668"/>
                  </a:lnTo>
                  <a:lnTo>
                    <a:pt x="407" y="666"/>
                  </a:lnTo>
                  <a:lnTo>
                    <a:pt x="408" y="665"/>
                  </a:lnTo>
                  <a:lnTo>
                    <a:pt x="411" y="665"/>
                  </a:lnTo>
                  <a:lnTo>
                    <a:pt x="412" y="665"/>
                  </a:lnTo>
                  <a:lnTo>
                    <a:pt x="413" y="663"/>
                  </a:lnTo>
                  <a:lnTo>
                    <a:pt x="413" y="662"/>
                  </a:lnTo>
                  <a:lnTo>
                    <a:pt x="414" y="658"/>
                  </a:lnTo>
                  <a:lnTo>
                    <a:pt x="427" y="661"/>
                  </a:lnTo>
                  <a:lnTo>
                    <a:pt x="441" y="665"/>
                  </a:lnTo>
                  <a:lnTo>
                    <a:pt x="447" y="671"/>
                  </a:lnTo>
                  <a:lnTo>
                    <a:pt x="447" y="676"/>
                  </a:lnTo>
                  <a:lnTo>
                    <a:pt x="449" y="678"/>
                  </a:lnTo>
                  <a:lnTo>
                    <a:pt x="450" y="678"/>
                  </a:lnTo>
                  <a:lnTo>
                    <a:pt x="451" y="678"/>
                  </a:lnTo>
                  <a:lnTo>
                    <a:pt x="452" y="678"/>
                  </a:lnTo>
                  <a:lnTo>
                    <a:pt x="453" y="679"/>
                  </a:lnTo>
                  <a:lnTo>
                    <a:pt x="454" y="681"/>
                  </a:lnTo>
                  <a:lnTo>
                    <a:pt x="454" y="685"/>
                  </a:lnTo>
                  <a:lnTo>
                    <a:pt x="459" y="686"/>
                  </a:lnTo>
                  <a:lnTo>
                    <a:pt x="463" y="689"/>
                  </a:lnTo>
                  <a:lnTo>
                    <a:pt x="466" y="694"/>
                  </a:lnTo>
                  <a:lnTo>
                    <a:pt x="467" y="699"/>
                  </a:lnTo>
                  <a:lnTo>
                    <a:pt x="470" y="699"/>
                  </a:lnTo>
                  <a:lnTo>
                    <a:pt x="473" y="701"/>
                  </a:lnTo>
                  <a:lnTo>
                    <a:pt x="475" y="704"/>
                  </a:lnTo>
                  <a:lnTo>
                    <a:pt x="476" y="706"/>
                  </a:lnTo>
                  <a:lnTo>
                    <a:pt x="480" y="713"/>
                  </a:lnTo>
                  <a:lnTo>
                    <a:pt x="481" y="719"/>
                  </a:lnTo>
                  <a:lnTo>
                    <a:pt x="484" y="723"/>
                  </a:lnTo>
                  <a:lnTo>
                    <a:pt x="491" y="730"/>
                  </a:lnTo>
                  <a:lnTo>
                    <a:pt x="499" y="739"/>
                  </a:lnTo>
                  <a:lnTo>
                    <a:pt x="502" y="746"/>
                  </a:lnTo>
                  <a:lnTo>
                    <a:pt x="504" y="747"/>
                  </a:lnTo>
                  <a:lnTo>
                    <a:pt x="505" y="748"/>
                  </a:lnTo>
                  <a:lnTo>
                    <a:pt x="508" y="750"/>
                  </a:lnTo>
                  <a:lnTo>
                    <a:pt x="509" y="753"/>
                  </a:lnTo>
                  <a:lnTo>
                    <a:pt x="511" y="755"/>
                  </a:lnTo>
                  <a:lnTo>
                    <a:pt x="514" y="757"/>
                  </a:lnTo>
                  <a:lnTo>
                    <a:pt x="518" y="759"/>
                  </a:lnTo>
                  <a:lnTo>
                    <a:pt x="522" y="759"/>
                  </a:lnTo>
                  <a:lnTo>
                    <a:pt x="522" y="764"/>
                  </a:lnTo>
                  <a:lnTo>
                    <a:pt x="523" y="766"/>
                  </a:lnTo>
                  <a:lnTo>
                    <a:pt x="524" y="766"/>
                  </a:lnTo>
                  <a:lnTo>
                    <a:pt x="526" y="766"/>
                  </a:lnTo>
                  <a:lnTo>
                    <a:pt x="527" y="766"/>
                  </a:lnTo>
                  <a:lnTo>
                    <a:pt x="528" y="767"/>
                  </a:lnTo>
                  <a:lnTo>
                    <a:pt x="529" y="769"/>
                  </a:lnTo>
                  <a:lnTo>
                    <a:pt x="529" y="773"/>
                  </a:lnTo>
                  <a:lnTo>
                    <a:pt x="533" y="774"/>
                  </a:lnTo>
                  <a:lnTo>
                    <a:pt x="539" y="775"/>
                  </a:lnTo>
                  <a:lnTo>
                    <a:pt x="543" y="777"/>
                  </a:lnTo>
                  <a:lnTo>
                    <a:pt x="549" y="779"/>
                  </a:lnTo>
                  <a:lnTo>
                    <a:pt x="555" y="783"/>
                  </a:lnTo>
                  <a:lnTo>
                    <a:pt x="559" y="785"/>
                  </a:lnTo>
                  <a:lnTo>
                    <a:pt x="565" y="786"/>
                  </a:lnTo>
                  <a:lnTo>
                    <a:pt x="569" y="787"/>
                  </a:lnTo>
                  <a:lnTo>
                    <a:pt x="576" y="792"/>
                  </a:lnTo>
                  <a:lnTo>
                    <a:pt x="590" y="800"/>
                  </a:lnTo>
                  <a:lnTo>
                    <a:pt x="609" y="809"/>
                  </a:lnTo>
                  <a:lnTo>
                    <a:pt x="632" y="820"/>
                  </a:lnTo>
                  <a:lnTo>
                    <a:pt x="655" y="830"/>
                  </a:lnTo>
                  <a:lnTo>
                    <a:pt x="676" y="839"/>
                  </a:lnTo>
                  <a:lnTo>
                    <a:pt x="693" y="845"/>
                  </a:lnTo>
                  <a:lnTo>
                    <a:pt x="705" y="848"/>
                  </a:lnTo>
                  <a:lnTo>
                    <a:pt x="712" y="854"/>
                  </a:lnTo>
                  <a:lnTo>
                    <a:pt x="713" y="861"/>
                  </a:lnTo>
                  <a:lnTo>
                    <a:pt x="718" y="868"/>
                  </a:lnTo>
                  <a:lnTo>
                    <a:pt x="724" y="877"/>
                  </a:lnTo>
                  <a:lnTo>
                    <a:pt x="732" y="886"/>
                  </a:lnTo>
                  <a:lnTo>
                    <a:pt x="740" y="893"/>
                  </a:lnTo>
                  <a:lnTo>
                    <a:pt x="745" y="902"/>
                  </a:lnTo>
                  <a:lnTo>
                    <a:pt x="751" y="910"/>
                  </a:lnTo>
                  <a:lnTo>
                    <a:pt x="752" y="916"/>
                  </a:lnTo>
                  <a:lnTo>
                    <a:pt x="759" y="922"/>
                  </a:lnTo>
                  <a:lnTo>
                    <a:pt x="769" y="926"/>
                  </a:lnTo>
                  <a:lnTo>
                    <a:pt x="779" y="929"/>
                  </a:lnTo>
                  <a:lnTo>
                    <a:pt x="781" y="932"/>
                  </a:lnTo>
                  <a:lnTo>
                    <a:pt x="787" y="938"/>
                  </a:lnTo>
                  <a:lnTo>
                    <a:pt x="795" y="945"/>
                  </a:lnTo>
                  <a:lnTo>
                    <a:pt x="804" y="952"/>
                  </a:lnTo>
                  <a:lnTo>
                    <a:pt x="814" y="959"/>
                  </a:lnTo>
                  <a:lnTo>
                    <a:pt x="822" y="965"/>
                  </a:lnTo>
                  <a:lnTo>
                    <a:pt x="829" y="968"/>
                  </a:lnTo>
                  <a:lnTo>
                    <a:pt x="834" y="969"/>
                  </a:lnTo>
                  <a:lnTo>
                    <a:pt x="835" y="974"/>
                  </a:lnTo>
                  <a:lnTo>
                    <a:pt x="839" y="978"/>
                  </a:lnTo>
                  <a:lnTo>
                    <a:pt x="845" y="984"/>
                  </a:lnTo>
                  <a:lnTo>
                    <a:pt x="853" y="989"/>
                  </a:lnTo>
                  <a:lnTo>
                    <a:pt x="860" y="995"/>
                  </a:lnTo>
                  <a:lnTo>
                    <a:pt x="868" y="999"/>
                  </a:lnTo>
                  <a:lnTo>
                    <a:pt x="875" y="1003"/>
                  </a:lnTo>
                  <a:lnTo>
                    <a:pt x="882" y="1004"/>
                  </a:lnTo>
                  <a:lnTo>
                    <a:pt x="883" y="1007"/>
                  </a:lnTo>
                  <a:lnTo>
                    <a:pt x="885" y="1011"/>
                  </a:lnTo>
                  <a:lnTo>
                    <a:pt x="891" y="1015"/>
                  </a:lnTo>
                  <a:lnTo>
                    <a:pt x="896" y="1019"/>
                  </a:lnTo>
                  <a:lnTo>
                    <a:pt x="903" y="1024"/>
                  </a:lnTo>
                  <a:lnTo>
                    <a:pt x="910" y="1027"/>
                  </a:lnTo>
                  <a:lnTo>
                    <a:pt x="916" y="1029"/>
                  </a:lnTo>
                  <a:lnTo>
                    <a:pt x="922" y="1031"/>
                  </a:lnTo>
                  <a:lnTo>
                    <a:pt x="923" y="1034"/>
                  </a:lnTo>
                  <a:lnTo>
                    <a:pt x="925" y="1037"/>
                  </a:lnTo>
                  <a:lnTo>
                    <a:pt x="929" y="1041"/>
                  </a:lnTo>
                  <a:lnTo>
                    <a:pt x="933" y="1044"/>
                  </a:lnTo>
                  <a:lnTo>
                    <a:pt x="944" y="1048"/>
                  </a:lnTo>
                  <a:lnTo>
                    <a:pt x="959" y="1052"/>
                  </a:lnTo>
                  <a:lnTo>
                    <a:pt x="973" y="1055"/>
                  </a:lnTo>
                  <a:lnTo>
                    <a:pt x="988" y="1056"/>
                  </a:lnTo>
                  <a:lnTo>
                    <a:pt x="1000" y="1057"/>
                  </a:lnTo>
                  <a:lnTo>
                    <a:pt x="1010" y="1057"/>
                  </a:lnTo>
                  <a:lnTo>
                    <a:pt x="1017" y="1051"/>
                  </a:lnTo>
                  <a:lnTo>
                    <a:pt x="1020" y="1041"/>
                  </a:lnTo>
                  <a:lnTo>
                    <a:pt x="1023" y="1031"/>
                  </a:lnTo>
                  <a:lnTo>
                    <a:pt x="1028" y="1031"/>
                  </a:lnTo>
                  <a:lnTo>
                    <a:pt x="1029" y="1029"/>
                  </a:lnTo>
                  <a:lnTo>
                    <a:pt x="1030" y="1028"/>
                  </a:lnTo>
                  <a:lnTo>
                    <a:pt x="1030" y="1027"/>
                  </a:lnTo>
                  <a:lnTo>
                    <a:pt x="1030" y="1026"/>
                  </a:lnTo>
                  <a:lnTo>
                    <a:pt x="1031" y="1025"/>
                  </a:lnTo>
                  <a:lnTo>
                    <a:pt x="1033" y="1024"/>
                  </a:lnTo>
                  <a:lnTo>
                    <a:pt x="1037" y="1024"/>
                  </a:lnTo>
                  <a:lnTo>
                    <a:pt x="1037" y="1019"/>
                  </a:lnTo>
                  <a:lnTo>
                    <a:pt x="1038" y="1015"/>
                  </a:lnTo>
                  <a:lnTo>
                    <a:pt x="1039" y="1012"/>
                  </a:lnTo>
                  <a:lnTo>
                    <a:pt x="1041" y="1008"/>
                  </a:lnTo>
                  <a:lnTo>
                    <a:pt x="1046" y="1002"/>
                  </a:lnTo>
                  <a:lnTo>
                    <a:pt x="1050" y="997"/>
                  </a:lnTo>
                  <a:lnTo>
                    <a:pt x="1050" y="984"/>
                  </a:lnTo>
                  <a:lnTo>
                    <a:pt x="1057" y="977"/>
                  </a:lnTo>
                  <a:lnTo>
                    <a:pt x="1071" y="977"/>
                  </a:lnTo>
                  <a:lnTo>
                    <a:pt x="1071" y="973"/>
                  </a:lnTo>
                  <a:lnTo>
                    <a:pt x="1073" y="968"/>
                  </a:lnTo>
                  <a:lnTo>
                    <a:pt x="1075" y="966"/>
                  </a:lnTo>
                  <a:lnTo>
                    <a:pt x="1078" y="964"/>
                  </a:lnTo>
                  <a:lnTo>
                    <a:pt x="1080" y="963"/>
                  </a:lnTo>
                  <a:lnTo>
                    <a:pt x="1083" y="960"/>
                  </a:lnTo>
                  <a:lnTo>
                    <a:pt x="1084" y="958"/>
                  </a:lnTo>
                  <a:lnTo>
                    <a:pt x="1085" y="956"/>
                  </a:lnTo>
                  <a:lnTo>
                    <a:pt x="1098" y="956"/>
                  </a:lnTo>
                  <a:lnTo>
                    <a:pt x="1105" y="949"/>
                  </a:lnTo>
                  <a:lnTo>
                    <a:pt x="1104" y="936"/>
                  </a:lnTo>
                  <a:lnTo>
                    <a:pt x="1102" y="920"/>
                  </a:lnTo>
                  <a:lnTo>
                    <a:pt x="1099" y="904"/>
                  </a:lnTo>
                  <a:lnTo>
                    <a:pt x="1098" y="896"/>
                  </a:lnTo>
                  <a:lnTo>
                    <a:pt x="1085" y="896"/>
                  </a:lnTo>
                  <a:lnTo>
                    <a:pt x="1084" y="893"/>
                  </a:lnTo>
                  <a:lnTo>
                    <a:pt x="1084" y="891"/>
                  </a:lnTo>
                  <a:lnTo>
                    <a:pt x="1081" y="890"/>
                  </a:lnTo>
                  <a:lnTo>
                    <a:pt x="1080" y="889"/>
                  </a:lnTo>
                  <a:lnTo>
                    <a:pt x="1076" y="889"/>
                  </a:lnTo>
                  <a:lnTo>
                    <a:pt x="1071" y="889"/>
                  </a:lnTo>
                  <a:lnTo>
                    <a:pt x="1069" y="886"/>
                  </a:lnTo>
                  <a:lnTo>
                    <a:pt x="1066" y="880"/>
                  </a:lnTo>
                  <a:lnTo>
                    <a:pt x="1060" y="874"/>
                  </a:lnTo>
                  <a:lnTo>
                    <a:pt x="1054" y="869"/>
                  </a:lnTo>
                  <a:lnTo>
                    <a:pt x="1046" y="863"/>
                  </a:lnTo>
                  <a:lnTo>
                    <a:pt x="1039" y="859"/>
                  </a:lnTo>
                  <a:lnTo>
                    <a:pt x="1033" y="855"/>
                  </a:lnTo>
                  <a:lnTo>
                    <a:pt x="1030" y="854"/>
                  </a:lnTo>
                  <a:lnTo>
                    <a:pt x="1030" y="839"/>
                  </a:lnTo>
                  <a:lnTo>
                    <a:pt x="1032" y="815"/>
                  </a:lnTo>
                  <a:lnTo>
                    <a:pt x="1033" y="805"/>
                  </a:lnTo>
                  <a:lnTo>
                    <a:pt x="1036" y="795"/>
                  </a:lnTo>
                  <a:lnTo>
                    <a:pt x="1038" y="792"/>
                  </a:lnTo>
                  <a:lnTo>
                    <a:pt x="1039" y="790"/>
                  </a:lnTo>
                  <a:lnTo>
                    <a:pt x="1041" y="787"/>
                  </a:lnTo>
                  <a:lnTo>
                    <a:pt x="1044" y="787"/>
                  </a:lnTo>
                  <a:lnTo>
                    <a:pt x="1044" y="733"/>
                  </a:lnTo>
                  <a:lnTo>
                    <a:pt x="1030" y="726"/>
                  </a:lnTo>
                  <a:lnTo>
                    <a:pt x="1030" y="721"/>
                  </a:lnTo>
                  <a:lnTo>
                    <a:pt x="1029" y="720"/>
                  </a:lnTo>
                  <a:lnTo>
                    <a:pt x="1028" y="719"/>
                  </a:lnTo>
                  <a:lnTo>
                    <a:pt x="1027" y="719"/>
                  </a:lnTo>
                  <a:lnTo>
                    <a:pt x="1026" y="719"/>
                  </a:lnTo>
                  <a:lnTo>
                    <a:pt x="1025" y="718"/>
                  </a:lnTo>
                  <a:lnTo>
                    <a:pt x="1023" y="716"/>
                  </a:lnTo>
                  <a:lnTo>
                    <a:pt x="1023" y="713"/>
                  </a:lnTo>
                  <a:lnTo>
                    <a:pt x="1017" y="710"/>
                  </a:lnTo>
                  <a:lnTo>
                    <a:pt x="1008" y="705"/>
                  </a:lnTo>
                  <a:lnTo>
                    <a:pt x="1003" y="701"/>
                  </a:lnTo>
                  <a:lnTo>
                    <a:pt x="1000" y="698"/>
                  </a:lnTo>
                  <a:lnTo>
                    <a:pt x="997" y="695"/>
                  </a:lnTo>
                  <a:lnTo>
                    <a:pt x="997" y="692"/>
                  </a:lnTo>
                  <a:lnTo>
                    <a:pt x="983" y="685"/>
                  </a:lnTo>
                  <a:lnTo>
                    <a:pt x="974" y="684"/>
                  </a:lnTo>
                  <a:lnTo>
                    <a:pt x="966" y="681"/>
                  </a:lnTo>
                  <a:lnTo>
                    <a:pt x="958" y="677"/>
                  </a:lnTo>
                  <a:lnTo>
                    <a:pt x="949" y="671"/>
                  </a:lnTo>
                  <a:lnTo>
                    <a:pt x="940" y="667"/>
                  </a:lnTo>
                  <a:lnTo>
                    <a:pt x="931" y="662"/>
                  </a:lnTo>
                  <a:lnTo>
                    <a:pt x="923" y="659"/>
                  </a:lnTo>
                  <a:lnTo>
                    <a:pt x="915" y="658"/>
                  </a:lnTo>
                  <a:lnTo>
                    <a:pt x="910" y="653"/>
                  </a:lnTo>
                  <a:lnTo>
                    <a:pt x="905" y="649"/>
                  </a:lnTo>
                  <a:lnTo>
                    <a:pt x="900" y="646"/>
                  </a:lnTo>
                  <a:lnTo>
                    <a:pt x="895" y="644"/>
                  </a:lnTo>
                  <a:lnTo>
                    <a:pt x="894" y="641"/>
                  </a:lnTo>
                  <a:lnTo>
                    <a:pt x="894" y="639"/>
                  </a:lnTo>
                  <a:lnTo>
                    <a:pt x="893" y="638"/>
                  </a:lnTo>
                  <a:lnTo>
                    <a:pt x="892" y="638"/>
                  </a:lnTo>
                  <a:lnTo>
                    <a:pt x="889" y="638"/>
                  </a:lnTo>
                  <a:lnTo>
                    <a:pt x="889" y="637"/>
                  </a:lnTo>
                  <a:lnTo>
                    <a:pt x="888" y="634"/>
                  </a:lnTo>
                  <a:lnTo>
                    <a:pt x="888" y="631"/>
                  </a:lnTo>
                  <a:lnTo>
                    <a:pt x="883" y="630"/>
                  </a:lnTo>
                  <a:lnTo>
                    <a:pt x="878" y="627"/>
                  </a:lnTo>
                  <a:lnTo>
                    <a:pt x="875" y="622"/>
                  </a:lnTo>
                  <a:lnTo>
                    <a:pt x="874" y="618"/>
                  </a:lnTo>
                  <a:lnTo>
                    <a:pt x="872" y="617"/>
                  </a:lnTo>
                  <a:lnTo>
                    <a:pt x="869" y="615"/>
                  </a:lnTo>
                  <a:lnTo>
                    <a:pt x="868" y="613"/>
                  </a:lnTo>
                  <a:lnTo>
                    <a:pt x="866" y="610"/>
                  </a:lnTo>
                  <a:lnTo>
                    <a:pt x="863" y="602"/>
                  </a:lnTo>
                  <a:lnTo>
                    <a:pt x="860" y="593"/>
                  </a:lnTo>
                  <a:lnTo>
                    <a:pt x="856" y="585"/>
                  </a:lnTo>
                  <a:lnTo>
                    <a:pt x="853" y="577"/>
                  </a:lnTo>
                  <a:lnTo>
                    <a:pt x="850" y="574"/>
                  </a:lnTo>
                  <a:lnTo>
                    <a:pt x="847" y="572"/>
                  </a:lnTo>
                  <a:lnTo>
                    <a:pt x="844" y="571"/>
                  </a:lnTo>
                  <a:lnTo>
                    <a:pt x="840" y="570"/>
                  </a:lnTo>
                  <a:lnTo>
                    <a:pt x="834" y="563"/>
                  </a:lnTo>
                  <a:lnTo>
                    <a:pt x="834" y="560"/>
                  </a:lnTo>
                  <a:lnTo>
                    <a:pt x="833" y="557"/>
                  </a:lnTo>
                  <a:lnTo>
                    <a:pt x="831" y="556"/>
                  </a:lnTo>
                  <a:lnTo>
                    <a:pt x="830" y="556"/>
                  </a:lnTo>
                  <a:lnTo>
                    <a:pt x="829" y="556"/>
                  </a:lnTo>
                  <a:lnTo>
                    <a:pt x="828" y="555"/>
                  </a:lnTo>
                  <a:lnTo>
                    <a:pt x="827" y="554"/>
                  </a:lnTo>
                  <a:lnTo>
                    <a:pt x="827" y="550"/>
                  </a:lnTo>
                  <a:lnTo>
                    <a:pt x="814" y="550"/>
                  </a:lnTo>
                  <a:lnTo>
                    <a:pt x="812" y="547"/>
                  </a:lnTo>
                  <a:lnTo>
                    <a:pt x="811" y="546"/>
                  </a:lnTo>
                  <a:lnTo>
                    <a:pt x="809" y="544"/>
                  </a:lnTo>
                  <a:lnTo>
                    <a:pt x="806" y="544"/>
                  </a:lnTo>
                  <a:lnTo>
                    <a:pt x="799" y="543"/>
                  </a:lnTo>
                  <a:lnTo>
                    <a:pt x="793" y="543"/>
                  </a:lnTo>
                  <a:lnTo>
                    <a:pt x="790" y="540"/>
                  </a:lnTo>
                  <a:lnTo>
                    <a:pt x="782" y="536"/>
                  </a:lnTo>
                  <a:lnTo>
                    <a:pt x="771" y="532"/>
                  </a:lnTo>
                  <a:lnTo>
                    <a:pt x="758" y="527"/>
                  </a:lnTo>
                  <a:lnTo>
                    <a:pt x="730" y="519"/>
                  </a:lnTo>
                  <a:lnTo>
                    <a:pt x="712" y="516"/>
                  </a:lnTo>
                  <a:lnTo>
                    <a:pt x="712" y="503"/>
                  </a:lnTo>
                  <a:lnTo>
                    <a:pt x="706" y="500"/>
                  </a:lnTo>
                  <a:lnTo>
                    <a:pt x="702" y="498"/>
                  </a:lnTo>
                  <a:lnTo>
                    <a:pt x="700" y="494"/>
                  </a:lnTo>
                  <a:lnTo>
                    <a:pt x="699" y="488"/>
                  </a:lnTo>
                  <a:lnTo>
                    <a:pt x="684" y="475"/>
                  </a:lnTo>
                  <a:lnTo>
                    <a:pt x="671" y="461"/>
                  </a:lnTo>
                  <a:lnTo>
                    <a:pt x="671" y="367"/>
                  </a:lnTo>
                  <a:lnTo>
                    <a:pt x="668" y="365"/>
                  </a:lnTo>
                  <a:lnTo>
                    <a:pt x="666" y="363"/>
                  </a:lnTo>
                  <a:lnTo>
                    <a:pt x="664" y="360"/>
                  </a:lnTo>
                  <a:lnTo>
                    <a:pt x="662" y="355"/>
                  </a:lnTo>
                  <a:lnTo>
                    <a:pt x="658" y="346"/>
                  </a:lnTo>
                  <a:lnTo>
                    <a:pt x="657" y="340"/>
                  </a:lnTo>
                  <a:lnTo>
                    <a:pt x="655" y="339"/>
                  </a:lnTo>
                  <a:lnTo>
                    <a:pt x="653" y="336"/>
                  </a:lnTo>
                  <a:lnTo>
                    <a:pt x="651" y="333"/>
                  </a:lnTo>
                  <a:lnTo>
                    <a:pt x="648" y="329"/>
                  </a:lnTo>
                  <a:lnTo>
                    <a:pt x="645" y="320"/>
                  </a:lnTo>
                  <a:lnTo>
                    <a:pt x="644" y="313"/>
                  </a:lnTo>
                  <a:lnTo>
                    <a:pt x="639" y="312"/>
                  </a:lnTo>
                  <a:lnTo>
                    <a:pt x="638" y="312"/>
                  </a:lnTo>
                  <a:lnTo>
                    <a:pt x="637" y="311"/>
                  </a:lnTo>
                  <a:lnTo>
                    <a:pt x="637" y="309"/>
                  </a:lnTo>
                  <a:lnTo>
                    <a:pt x="637" y="307"/>
                  </a:lnTo>
                  <a:lnTo>
                    <a:pt x="636" y="306"/>
                  </a:lnTo>
                  <a:lnTo>
                    <a:pt x="634" y="306"/>
                  </a:lnTo>
                  <a:lnTo>
                    <a:pt x="630" y="305"/>
                  </a:lnTo>
                  <a:lnTo>
                    <a:pt x="630" y="28"/>
                  </a:lnTo>
                  <a:lnTo>
                    <a:pt x="617" y="28"/>
                  </a:lnTo>
                  <a:lnTo>
                    <a:pt x="617" y="14"/>
                  </a:lnTo>
                  <a:lnTo>
                    <a:pt x="607" y="14"/>
                  </a:lnTo>
                  <a:lnTo>
                    <a:pt x="597" y="14"/>
                  </a:lnTo>
                  <a:lnTo>
                    <a:pt x="596" y="12"/>
                  </a:lnTo>
                  <a:lnTo>
                    <a:pt x="594" y="11"/>
                  </a:lnTo>
                  <a:lnTo>
                    <a:pt x="589" y="9"/>
                  </a:lnTo>
                  <a:lnTo>
                    <a:pt x="586" y="8"/>
                  </a:lnTo>
                  <a:lnTo>
                    <a:pt x="577" y="7"/>
                  </a:lnTo>
                  <a:lnTo>
                    <a:pt x="569" y="7"/>
                  </a:lnTo>
                  <a:lnTo>
                    <a:pt x="53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2" name="Freeform 28"/>
            <p:cNvSpPr>
              <a:spLocks noChangeAspect="1"/>
            </p:cNvSpPr>
            <p:nvPr/>
          </p:nvSpPr>
          <p:spPr bwMode="gray">
            <a:xfrm rot="355651">
              <a:off x="5549900" y="3573463"/>
              <a:ext cx="47609" cy="74522"/>
            </a:xfrm>
            <a:custGeom>
              <a:avLst/>
              <a:gdLst/>
              <a:ahLst/>
              <a:cxnLst>
                <a:cxn ang="0">
                  <a:pos x="12" y="42"/>
                </a:cxn>
                <a:cxn ang="0">
                  <a:pos x="0" y="65"/>
                </a:cxn>
                <a:cxn ang="0">
                  <a:pos x="0" y="93"/>
                </a:cxn>
                <a:cxn ang="0">
                  <a:pos x="13" y="122"/>
                </a:cxn>
                <a:cxn ang="0">
                  <a:pos x="20" y="133"/>
                </a:cxn>
                <a:cxn ang="0">
                  <a:pos x="27" y="166"/>
                </a:cxn>
                <a:cxn ang="0">
                  <a:pos x="27" y="211"/>
                </a:cxn>
                <a:cxn ang="0">
                  <a:pos x="44" y="254"/>
                </a:cxn>
                <a:cxn ang="0">
                  <a:pos x="54" y="276"/>
                </a:cxn>
                <a:cxn ang="0">
                  <a:pos x="75" y="309"/>
                </a:cxn>
                <a:cxn ang="0">
                  <a:pos x="81" y="313"/>
                </a:cxn>
                <a:cxn ang="0">
                  <a:pos x="88" y="316"/>
                </a:cxn>
                <a:cxn ang="0">
                  <a:pos x="122" y="356"/>
                </a:cxn>
                <a:cxn ang="0">
                  <a:pos x="137" y="383"/>
                </a:cxn>
                <a:cxn ang="0">
                  <a:pos x="148" y="397"/>
                </a:cxn>
                <a:cxn ang="0">
                  <a:pos x="173" y="420"/>
                </a:cxn>
                <a:cxn ang="0">
                  <a:pos x="185" y="429"/>
                </a:cxn>
                <a:cxn ang="0">
                  <a:pos x="194" y="436"/>
                </a:cxn>
                <a:cxn ang="0">
                  <a:pos x="213" y="448"/>
                </a:cxn>
                <a:cxn ang="0">
                  <a:pos x="230" y="459"/>
                </a:cxn>
                <a:cxn ang="0">
                  <a:pos x="278" y="444"/>
                </a:cxn>
                <a:cxn ang="0">
                  <a:pos x="278" y="421"/>
                </a:cxn>
                <a:cxn ang="0">
                  <a:pos x="278" y="404"/>
                </a:cxn>
                <a:cxn ang="0">
                  <a:pos x="278" y="384"/>
                </a:cxn>
                <a:cxn ang="0">
                  <a:pos x="278" y="367"/>
                </a:cxn>
                <a:cxn ang="0">
                  <a:pos x="278" y="349"/>
                </a:cxn>
                <a:cxn ang="0">
                  <a:pos x="278" y="302"/>
                </a:cxn>
                <a:cxn ang="0">
                  <a:pos x="278" y="261"/>
                </a:cxn>
                <a:cxn ang="0">
                  <a:pos x="278" y="234"/>
                </a:cxn>
                <a:cxn ang="0">
                  <a:pos x="269" y="206"/>
                </a:cxn>
                <a:cxn ang="0">
                  <a:pos x="265" y="193"/>
                </a:cxn>
                <a:cxn ang="0">
                  <a:pos x="258" y="185"/>
                </a:cxn>
                <a:cxn ang="0">
                  <a:pos x="254" y="181"/>
                </a:cxn>
                <a:cxn ang="0">
                  <a:pos x="241" y="156"/>
                </a:cxn>
                <a:cxn ang="0">
                  <a:pos x="228" y="142"/>
                </a:cxn>
                <a:cxn ang="0">
                  <a:pos x="218" y="132"/>
                </a:cxn>
                <a:cxn ang="0">
                  <a:pos x="215" y="127"/>
                </a:cxn>
                <a:cxn ang="0">
                  <a:pos x="205" y="113"/>
                </a:cxn>
                <a:cxn ang="0">
                  <a:pos x="203" y="108"/>
                </a:cxn>
                <a:cxn ang="0">
                  <a:pos x="196" y="96"/>
                </a:cxn>
                <a:cxn ang="0">
                  <a:pos x="175" y="77"/>
                </a:cxn>
                <a:cxn ang="0">
                  <a:pos x="166" y="69"/>
                </a:cxn>
                <a:cxn ang="0">
                  <a:pos x="155" y="51"/>
                </a:cxn>
                <a:cxn ang="0">
                  <a:pos x="122" y="45"/>
                </a:cxn>
                <a:cxn ang="0">
                  <a:pos x="118" y="38"/>
                </a:cxn>
                <a:cxn ang="0">
                  <a:pos x="115" y="31"/>
                </a:cxn>
                <a:cxn ang="0">
                  <a:pos x="99" y="25"/>
                </a:cxn>
                <a:cxn ang="0">
                  <a:pos x="95" y="21"/>
                </a:cxn>
                <a:cxn ang="0">
                  <a:pos x="78" y="10"/>
                </a:cxn>
                <a:cxn ang="0">
                  <a:pos x="40" y="0"/>
                </a:cxn>
              </a:cxnLst>
              <a:rect l="0" t="0" r="r" b="b"/>
              <a:pathLst>
                <a:path w="278" h="459">
                  <a:moveTo>
                    <a:pt x="40" y="0"/>
                  </a:moveTo>
                  <a:lnTo>
                    <a:pt x="30" y="13"/>
                  </a:lnTo>
                  <a:lnTo>
                    <a:pt x="21" y="29"/>
                  </a:lnTo>
                  <a:lnTo>
                    <a:pt x="12" y="42"/>
                  </a:lnTo>
                  <a:lnTo>
                    <a:pt x="7" y="51"/>
                  </a:lnTo>
                  <a:lnTo>
                    <a:pt x="7" y="65"/>
                  </a:lnTo>
                  <a:lnTo>
                    <a:pt x="3" y="65"/>
                  </a:lnTo>
                  <a:lnTo>
                    <a:pt x="0" y="65"/>
                  </a:lnTo>
                  <a:lnTo>
                    <a:pt x="0" y="71"/>
                  </a:lnTo>
                  <a:lnTo>
                    <a:pt x="0" y="75"/>
                  </a:lnTo>
                  <a:lnTo>
                    <a:pt x="0" y="79"/>
                  </a:lnTo>
                  <a:lnTo>
                    <a:pt x="0" y="93"/>
                  </a:lnTo>
                  <a:lnTo>
                    <a:pt x="0" y="106"/>
                  </a:lnTo>
                  <a:lnTo>
                    <a:pt x="7" y="106"/>
                  </a:lnTo>
                  <a:lnTo>
                    <a:pt x="10" y="113"/>
                  </a:lnTo>
                  <a:lnTo>
                    <a:pt x="13" y="122"/>
                  </a:lnTo>
                  <a:lnTo>
                    <a:pt x="14" y="126"/>
                  </a:lnTo>
                  <a:lnTo>
                    <a:pt x="16" y="129"/>
                  </a:lnTo>
                  <a:lnTo>
                    <a:pt x="18" y="132"/>
                  </a:lnTo>
                  <a:lnTo>
                    <a:pt x="20" y="133"/>
                  </a:lnTo>
                  <a:lnTo>
                    <a:pt x="20" y="146"/>
                  </a:lnTo>
                  <a:lnTo>
                    <a:pt x="20" y="160"/>
                  </a:lnTo>
                  <a:lnTo>
                    <a:pt x="27" y="160"/>
                  </a:lnTo>
                  <a:lnTo>
                    <a:pt x="27" y="166"/>
                  </a:lnTo>
                  <a:lnTo>
                    <a:pt x="27" y="174"/>
                  </a:lnTo>
                  <a:lnTo>
                    <a:pt x="27" y="188"/>
                  </a:lnTo>
                  <a:lnTo>
                    <a:pt x="27" y="201"/>
                  </a:lnTo>
                  <a:lnTo>
                    <a:pt x="27" y="211"/>
                  </a:lnTo>
                  <a:lnTo>
                    <a:pt x="27" y="221"/>
                  </a:lnTo>
                  <a:lnTo>
                    <a:pt x="33" y="234"/>
                  </a:lnTo>
                  <a:lnTo>
                    <a:pt x="40" y="248"/>
                  </a:lnTo>
                  <a:lnTo>
                    <a:pt x="44" y="254"/>
                  </a:lnTo>
                  <a:lnTo>
                    <a:pt x="47" y="261"/>
                  </a:lnTo>
                  <a:lnTo>
                    <a:pt x="47" y="269"/>
                  </a:lnTo>
                  <a:lnTo>
                    <a:pt x="50" y="272"/>
                  </a:lnTo>
                  <a:lnTo>
                    <a:pt x="54" y="276"/>
                  </a:lnTo>
                  <a:lnTo>
                    <a:pt x="60" y="282"/>
                  </a:lnTo>
                  <a:lnTo>
                    <a:pt x="67" y="289"/>
                  </a:lnTo>
                  <a:lnTo>
                    <a:pt x="70" y="299"/>
                  </a:lnTo>
                  <a:lnTo>
                    <a:pt x="75" y="309"/>
                  </a:lnTo>
                  <a:lnTo>
                    <a:pt x="78" y="309"/>
                  </a:lnTo>
                  <a:lnTo>
                    <a:pt x="80" y="310"/>
                  </a:lnTo>
                  <a:lnTo>
                    <a:pt x="80" y="311"/>
                  </a:lnTo>
                  <a:lnTo>
                    <a:pt x="81" y="313"/>
                  </a:lnTo>
                  <a:lnTo>
                    <a:pt x="81" y="314"/>
                  </a:lnTo>
                  <a:lnTo>
                    <a:pt x="81" y="315"/>
                  </a:lnTo>
                  <a:lnTo>
                    <a:pt x="84" y="316"/>
                  </a:lnTo>
                  <a:lnTo>
                    <a:pt x="88" y="316"/>
                  </a:lnTo>
                  <a:lnTo>
                    <a:pt x="95" y="329"/>
                  </a:lnTo>
                  <a:lnTo>
                    <a:pt x="102" y="343"/>
                  </a:lnTo>
                  <a:lnTo>
                    <a:pt x="115" y="349"/>
                  </a:lnTo>
                  <a:lnTo>
                    <a:pt x="122" y="356"/>
                  </a:lnTo>
                  <a:lnTo>
                    <a:pt x="122" y="371"/>
                  </a:lnTo>
                  <a:lnTo>
                    <a:pt x="127" y="375"/>
                  </a:lnTo>
                  <a:lnTo>
                    <a:pt x="132" y="379"/>
                  </a:lnTo>
                  <a:lnTo>
                    <a:pt x="137" y="383"/>
                  </a:lnTo>
                  <a:lnTo>
                    <a:pt x="142" y="384"/>
                  </a:lnTo>
                  <a:lnTo>
                    <a:pt x="142" y="391"/>
                  </a:lnTo>
                  <a:lnTo>
                    <a:pt x="145" y="394"/>
                  </a:lnTo>
                  <a:lnTo>
                    <a:pt x="148" y="397"/>
                  </a:lnTo>
                  <a:lnTo>
                    <a:pt x="155" y="404"/>
                  </a:lnTo>
                  <a:lnTo>
                    <a:pt x="162" y="411"/>
                  </a:lnTo>
                  <a:lnTo>
                    <a:pt x="167" y="415"/>
                  </a:lnTo>
                  <a:lnTo>
                    <a:pt x="173" y="420"/>
                  </a:lnTo>
                  <a:lnTo>
                    <a:pt x="177" y="423"/>
                  </a:lnTo>
                  <a:lnTo>
                    <a:pt x="183" y="424"/>
                  </a:lnTo>
                  <a:lnTo>
                    <a:pt x="183" y="426"/>
                  </a:lnTo>
                  <a:lnTo>
                    <a:pt x="185" y="429"/>
                  </a:lnTo>
                  <a:lnTo>
                    <a:pt x="186" y="430"/>
                  </a:lnTo>
                  <a:lnTo>
                    <a:pt x="190" y="432"/>
                  </a:lnTo>
                  <a:lnTo>
                    <a:pt x="192" y="434"/>
                  </a:lnTo>
                  <a:lnTo>
                    <a:pt x="194" y="436"/>
                  </a:lnTo>
                  <a:lnTo>
                    <a:pt x="195" y="440"/>
                  </a:lnTo>
                  <a:lnTo>
                    <a:pt x="196" y="444"/>
                  </a:lnTo>
                  <a:lnTo>
                    <a:pt x="210" y="444"/>
                  </a:lnTo>
                  <a:lnTo>
                    <a:pt x="213" y="448"/>
                  </a:lnTo>
                  <a:lnTo>
                    <a:pt x="217" y="451"/>
                  </a:lnTo>
                  <a:lnTo>
                    <a:pt x="223" y="459"/>
                  </a:lnTo>
                  <a:lnTo>
                    <a:pt x="227" y="459"/>
                  </a:lnTo>
                  <a:lnTo>
                    <a:pt x="230" y="459"/>
                  </a:lnTo>
                  <a:lnTo>
                    <a:pt x="237" y="459"/>
                  </a:lnTo>
                  <a:lnTo>
                    <a:pt x="250" y="459"/>
                  </a:lnTo>
                  <a:lnTo>
                    <a:pt x="265" y="459"/>
                  </a:lnTo>
                  <a:lnTo>
                    <a:pt x="278" y="444"/>
                  </a:lnTo>
                  <a:lnTo>
                    <a:pt x="278" y="438"/>
                  </a:lnTo>
                  <a:lnTo>
                    <a:pt x="278" y="431"/>
                  </a:lnTo>
                  <a:lnTo>
                    <a:pt x="278" y="424"/>
                  </a:lnTo>
                  <a:lnTo>
                    <a:pt x="278" y="421"/>
                  </a:lnTo>
                  <a:lnTo>
                    <a:pt x="278" y="417"/>
                  </a:lnTo>
                  <a:lnTo>
                    <a:pt x="278" y="411"/>
                  </a:lnTo>
                  <a:lnTo>
                    <a:pt x="278" y="407"/>
                  </a:lnTo>
                  <a:lnTo>
                    <a:pt x="278" y="404"/>
                  </a:lnTo>
                  <a:lnTo>
                    <a:pt x="278" y="397"/>
                  </a:lnTo>
                  <a:lnTo>
                    <a:pt x="278" y="394"/>
                  </a:lnTo>
                  <a:lnTo>
                    <a:pt x="278" y="391"/>
                  </a:lnTo>
                  <a:lnTo>
                    <a:pt x="278" y="384"/>
                  </a:lnTo>
                  <a:lnTo>
                    <a:pt x="278" y="381"/>
                  </a:lnTo>
                  <a:lnTo>
                    <a:pt x="278" y="377"/>
                  </a:lnTo>
                  <a:lnTo>
                    <a:pt x="278" y="371"/>
                  </a:lnTo>
                  <a:lnTo>
                    <a:pt x="278" y="367"/>
                  </a:lnTo>
                  <a:lnTo>
                    <a:pt x="278" y="364"/>
                  </a:lnTo>
                  <a:lnTo>
                    <a:pt x="278" y="356"/>
                  </a:lnTo>
                  <a:lnTo>
                    <a:pt x="278" y="353"/>
                  </a:lnTo>
                  <a:lnTo>
                    <a:pt x="278" y="349"/>
                  </a:lnTo>
                  <a:lnTo>
                    <a:pt x="278" y="336"/>
                  </a:lnTo>
                  <a:lnTo>
                    <a:pt x="278" y="323"/>
                  </a:lnTo>
                  <a:lnTo>
                    <a:pt x="278" y="313"/>
                  </a:lnTo>
                  <a:lnTo>
                    <a:pt x="278" y="302"/>
                  </a:lnTo>
                  <a:lnTo>
                    <a:pt x="278" y="289"/>
                  </a:lnTo>
                  <a:lnTo>
                    <a:pt x="278" y="276"/>
                  </a:lnTo>
                  <a:lnTo>
                    <a:pt x="278" y="269"/>
                  </a:lnTo>
                  <a:lnTo>
                    <a:pt x="278" y="261"/>
                  </a:lnTo>
                  <a:lnTo>
                    <a:pt x="278" y="248"/>
                  </a:lnTo>
                  <a:lnTo>
                    <a:pt x="278" y="244"/>
                  </a:lnTo>
                  <a:lnTo>
                    <a:pt x="278" y="241"/>
                  </a:lnTo>
                  <a:lnTo>
                    <a:pt x="278" y="234"/>
                  </a:lnTo>
                  <a:lnTo>
                    <a:pt x="278" y="228"/>
                  </a:lnTo>
                  <a:lnTo>
                    <a:pt x="275" y="218"/>
                  </a:lnTo>
                  <a:lnTo>
                    <a:pt x="271" y="208"/>
                  </a:lnTo>
                  <a:lnTo>
                    <a:pt x="269" y="206"/>
                  </a:lnTo>
                  <a:lnTo>
                    <a:pt x="267" y="205"/>
                  </a:lnTo>
                  <a:lnTo>
                    <a:pt x="266" y="203"/>
                  </a:lnTo>
                  <a:lnTo>
                    <a:pt x="265" y="200"/>
                  </a:lnTo>
                  <a:lnTo>
                    <a:pt x="265" y="193"/>
                  </a:lnTo>
                  <a:lnTo>
                    <a:pt x="265" y="188"/>
                  </a:lnTo>
                  <a:lnTo>
                    <a:pt x="260" y="186"/>
                  </a:lnTo>
                  <a:lnTo>
                    <a:pt x="258" y="186"/>
                  </a:lnTo>
                  <a:lnTo>
                    <a:pt x="258" y="185"/>
                  </a:lnTo>
                  <a:lnTo>
                    <a:pt x="257" y="184"/>
                  </a:lnTo>
                  <a:lnTo>
                    <a:pt x="257" y="183"/>
                  </a:lnTo>
                  <a:lnTo>
                    <a:pt x="257" y="182"/>
                  </a:lnTo>
                  <a:lnTo>
                    <a:pt x="254" y="181"/>
                  </a:lnTo>
                  <a:lnTo>
                    <a:pt x="250" y="181"/>
                  </a:lnTo>
                  <a:lnTo>
                    <a:pt x="250" y="160"/>
                  </a:lnTo>
                  <a:lnTo>
                    <a:pt x="246" y="158"/>
                  </a:lnTo>
                  <a:lnTo>
                    <a:pt x="241" y="156"/>
                  </a:lnTo>
                  <a:lnTo>
                    <a:pt x="238" y="152"/>
                  </a:lnTo>
                  <a:lnTo>
                    <a:pt x="237" y="146"/>
                  </a:lnTo>
                  <a:lnTo>
                    <a:pt x="232" y="145"/>
                  </a:lnTo>
                  <a:lnTo>
                    <a:pt x="228" y="142"/>
                  </a:lnTo>
                  <a:lnTo>
                    <a:pt x="224" y="138"/>
                  </a:lnTo>
                  <a:lnTo>
                    <a:pt x="223" y="133"/>
                  </a:lnTo>
                  <a:lnTo>
                    <a:pt x="220" y="133"/>
                  </a:lnTo>
                  <a:lnTo>
                    <a:pt x="218" y="132"/>
                  </a:lnTo>
                  <a:lnTo>
                    <a:pt x="217" y="131"/>
                  </a:lnTo>
                  <a:lnTo>
                    <a:pt x="217" y="129"/>
                  </a:lnTo>
                  <a:lnTo>
                    <a:pt x="217" y="128"/>
                  </a:lnTo>
                  <a:lnTo>
                    <a:pt x="215" y="127"/>
                  </a:lnTo>
                  <a:lnTo>
                    <a:pt x="213" y="126"/>
                  </a:lnTo>
                  <a:lnTo>
                    <a:pt x="210" y="126"/>
                  </a:lnTo>
                  <a:lnTo>
                    <a:pt x="210" y="113"/>
                  </a:lnTo>
                  <a:lnTo>
                    <a:pt x="205" y="113"/>
                  </a:lnTo>
                  <a:lnTo>
                    <a:pt x="204" y="112"/>
                  </a:lnTo>
                  <a:lnTo>
                    <a:pt x="203" y="111"/>
                  </a:lnTo>
                  <a:lnTo>
                    <a:pt x="203" y="109"/>
                  </a:lnTo>
                  <a:lnTo>
                    <a:pt x="203" y="108"/>
                  </a:lnTo>
                  <a:lnTo>
                    <a:pt x="202" y="107"/>
                  </a:lnTo>
                  <a:lnTo>
                    <a:pt x="200" y="106"/>
                  </a:lnTo>
                  <a:lnTo>
                    <a:pt x="196" y="106"/>
                  </a:lnTo>
                  <a:lnTo>
                    <a:pt x="196" y="96"/>
                  </a:lnTo>
                  <a:lnTo>
                    <a:pt x="196" y="86"/>
                  </a:lnTo>
                  <a:lnTo>
                    <a:pt x="186" y="83"/>
                  </a:lnTo>
                  <a:lnTo>
                    <a:pt x="176" y="79"/>
                  </a:lnTo>
                  <a:lnTo>
                    <a:pt x="175" y="77"/>
                  </a:lnTo>
                  <a:lnTo>
                    <a:pt x="174" y="75"/>
                  </a:lnTo>
                  <a:lnTo>
                    <a:pt x="172" y="73"/>
                  </a:lnTo>
                  <a:lnTo>
                    <a:pt x="169" y="71"/>
                  </a:lnTo>
                  <a:lnTo>
                    <a:pt x="166" y="69"/>
                  </a:lnTo>
                  <a:lnTo>
                    <a:pt x="164" y="66"/>
                  </a:lnTo>
                  <a:lnTo>
                    <a:pt x="163" y="63"/>
                  </a:lnTo>
                  <a:lnTo>
                    <a:pt x="162" y="58"/>
                  </a:lnTo>
                  <a:lnTo>
                    <a:pt x="155" y="51"/>
                  </a:lnTo>
                  <a:lnTo>
                    <a:pt x="148" y="51"/>
                  </a:lnTo>
                  <a:lnTo>
                    <a:pt x="142" y="51"/>
                  </a:lnTo>
                  <a:lnTo>
                    <a:pt x="132" y="48"/>
                  </a:lnTo>
                  <a:lnTo>
                    <a:pt x="122" y="45"/>
                  </a:lnTo>
                  <a:lnTo>
                    <a:pt x="122" y="41"/>
                  </a:lnTo>
                  <a:lnTo>
                    <a:pt x="121" y="39"/>
                  </a:lnTo>
                  <a:lnTo>
                    <a:pt x="119" y="38"/>
                  </a:lnTo>
                  <a:lnTo>
                    <a:pt x="118" y="38"/>
                  </a:lnTo>
                  <a:lnTo>
                    <a:pt x="117" y="38"/>
                  </a:lnTo>
                  <a:lnTo>
                    <a:pt x="116" y="37"/>
                  </a:lnTo>
                  <a:lnTo>
                    <a:pt x="115" y="36"/>
                  </a:lnTo>
                  <a:lnTo>
                    <a:pt x="115" y="31"/>
                  </a:lnTo>
                  <a:lnTo>
                    <a:pt x="102" y="31"/>
                  </a:lnTo>
                  <a:lnTo>
                    <a:pt x="102" y="28"/>
                  </a:lnTo>
                  <a:lnTo>
                    <a:pt x="100" y="26"/>
                  </a:lnTo>
                  <a:lnTo>
                    <a:pt x="99" y="25"/>
                  </a:lnTo>
                  <a:lnTo>
                    <a:pt x="98" y="25"/>
                  </a:lnTo>
                  <a:lnTo>
                    <a:pt x="97" y="25"/>
                  </a:lnTo>
                  <a:lnTo>
                    <a:pt x="96" y="23"/>
                  </a:lnTo>
                  <a:lnTo>
                    <a:pt x="95" y="21"/>
                  </a:lnTo>
                  <a:lnTo>
                    <a:pt x="95" y="18"/>
                  </a:lnTo>
                  <a:lnTo>
                    <a:pt x="81" y="18"/>
                  </a:lnTo>
                  <a:lnTo>
                    <a:pt x="80" y="13"/>
                  </a:lnTo>
                  <a:lnTo>
                    <a:pt x="78" y="10"/>
                  </a:lnTo>
                  <a:lnTo>
                    <a:pt x="75" y="8"/>
                  </a:lnTo>
                  <a:lnTo>
                    <a:pt x="70" y="7"/>
                  </a:lnTo>
                  <a:lnTo>
                    <a:pt x="58" y="4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3" name="Freeform 29"/>
            <p:cNvSpPr>
              <a:spLocks noChangeAspect="1"/>
            </p:cNvSpPr>
            <p:nvPr/>
          </p:nvSpPr>
          <p:spPr bwMode="gray">
            <a:xfrm rot="355651">
              <a:off x="5517135" y="3790950"/>
              <a:ext cx="118492" cy="108590"/>
            </a:xfrm>
            <a:custGeom>
              <a:avLst/>
              <a:gdLst/>
              <a:ahLst/>
              <a:cxnLst>
                <a:cxn ang="0">
                  <a:pos x="129" y="13"/>
                </a:cxn>
                <a:cxn ang="0">
                  <a:pos x="105" y="51"/>
                </a:cxn>
                <a:cxn ang="0">
                  <a:pos x="83" y="67"/>
                </a:cxn>
                <a:cxn ang="0">
                  <a:pos x="54" y="87"/>
                </a:cxn>
                <a:cxn ang="0">
                  <a:pos x="20" y="108"/>
                </a:cxn>
                <a:cxn ang="0">
                  <a:pos x="0" y="155"/>
                </a:cxn>
                <a:cxn ang="0">
                  <a:pos x="9" y="183"/>
                </a:cxn>
                <a:cxn ang="0">
                  <a:pos x="29" y="201"/>
                </a:cxn>
                <a:cxn ang="0">
                  <a:pos x="58" y="210"/>
                </a:cxn>
                <a:cxn ang="0">
                  <a:pos x="83" y="256"/>
                </a:cxn>
                <a:cxn ang="0">
                  <a:pos x="118" y="388"/>
                </a:cxn>
                <a:cxn ang="0">
                  <a:pos x="128" y="415"/>
                </a:cxn>
                <a:cxn ang="0">
                  <a:pos x="135" y="428"/>
                </a:cxn>
                <a:cxn ang="0">
                  <a:pos x="149" y="444"/>
                </a:cxn>
                <a:cxn ang="0">
                  <a:pos x="161" y="456"/>
                </a:cxn>
                <a:cxn ang="0">
                  <a:pos x="196" y="487"/>
                </a:cxn>
                <a:cxn ang="0">
                  <a:pos x="203" y="505"/>
                </a:cxn>
                <a:cxn ang="0">
                  <a:pos x="213" y="523"/>
                </a:cxn>
                <a:cxn ang="0">
                  <a:pos x="234" y="549"/>
                </a:cxn>
                <a:cxn ang="0">
                  <a:pos x="250" y="571"/>
                </a:cxn>
                <a:cxn ang="0">
                  <a:pos x="257" y="582"/>
                </a:cxn>
                <a:cxn ang="0">
                  <a:pos x="269" y="619"/>
                </a:cxn>
                <a:cxn ang="0">
                  <a:pos x="301" y="654"/>
                </a:cxn>
                <a:cxn ang="0">
                  <a:pos x="321" y="676"/>
                </a:cxn>
                <a:cxn ang="0">
                  <a:pos x="347" y="683"/>
                </a:cxn>
                <a:cxn ang="0">
                  <a:pos x="409" y="654"/>
                </a:cxn>
                <a:cxn ang="0">
                  <a:pos x="434" y="628"/>
                </a:cxn>
                <a:cxn ang="0">
                  <a:pos x="443" y="608"/>
                </a:cxn>
                <a:cxn ang="0">
                  <a:pos x="461" y="549"/>
                </a:cxn>
                <a:cxn ang="0">
                  <a:pos x="496" y="518"/>
                </a:cxn>
                <a:cxn ang="0">
                  <a:pos x="522" y="474"/>
                </a:cxn>
                <a:cxn ang="0">
                  <a:pos x="529" y="452"/>
                </a:cxn>
                <a:cxn ang="0">
                  <a:pos x="551" y="435"/>
                </a:cxn>
                <a:cxn ang="0">
                  <a:pos x="570" y="420"/>
                </a:cxn>
                <a:cxn ang="0">
                  <a:pos x="576" y="413"/>
                </a:cxn>
                <a:cxn ang="0">
                  <a:pos x="606" y="393"/>
                </a:cxn>
                <a:cxn ang="0">
                  <a:pos x="630" y="379"/>
                </a:cxn>
                <a:cxn ang="0">
                  <a:pos x="627" y="324"/>
                </a:cxn>
                <a:cxn ang="0">
                  <a:pos x="600" y="308"/>
                </a:cxn>
                <a:cxn ang="0">
                  <a:pos x="549" y="284"/>
                </a:cxn>
                <a:cxn ang="0">
                  <a:pos x="511" y="265"/>
                </a:cxn>
                <a:cxn ang="0">
                  <a:pos x="487" y="196"/>
                </a:cxn>
                <a:cxn ang="0">
                  <a:pos x="472" y="144"/>
                </a:cxn>
                <a:cxn ang="0">
                  <a:pos x="441" y="121"/>
                </a:cxn>
                <a:cxn ang="0">
                  <a:pos x="413" y="115"/>
                </a:cxn>
                <a:cxn ang="0">
                  <a:pos x="372" y="74"/>
                </a:cxn>
                <a:cxn ang="0">
                  <a:pos x="360" y="59"/>
                </a:cxn>
                <a:cxn ang="0">
                  <a:pos x="352" y="30"/>
                </a:cxn>
                <a:cxn ang="0">
                  <a:pos x="334" y="13"/>
                </a:cxn>
                <a:cxn ang="0">
                  <a:pos x="295" y="20"/>
                </a:cxn>
                <a:cxn ang="0">
                  <a:pos x="279" y="26"/>
                </a:cxn>
                <a:cxn ang="0">
                  <a:pos x="235" y="20"/>
                </a:cxn>
                <a:cxn ang="0">
                  <a:pos x="224" y="12"/>
                </a:cxn>
                <a:cxn ang="0">
                  <a:pos x="203" y="0"/>
                </a:cxn>
              </a:cxnLst>
              <a:rect l="0" t="0" r="r" b="b"/>
              <a:pathLst>
                <a:path w="644" h="684">
                  <a:moveTo>
                    <a:pt x="163" y="0"/>
                  </a:moveTo>
                  <a:lnTo>
                    <a:pt x="151" y="0"/>
                  </a:lnTo>
                  <a:lnTo>
                    <a:pt x="140" y="2"/>
                  </a:lnTo>
                  <a:lnTo>
                    <a:pt x="136" y="4"/>
                  </a:lnTo>
                  <a:lnTo>
                    <a:pt x="131" y="9"/>
                  </a:lnTo>
                  <a:lnTo>
                    <a:pt x="129" y="13"/>
                  </a:lnTo>
                  <a:lnTo>
                    <a:pt x="128" y="20"/>
                  </a:lnTo>
                  <a:lnTo>
                    <a:pt x="126" y="22"/>
                  </a:lnTo>
                  <a:lnTo>
                    <a:pt x="121" y="25"/>
                  </a:lnTo>
                  <a:lnTo>
                    <a:pt x="117" y="31"/>
                  </a:lnTo>
                  <a:lnTo>
                    <a:pt x="112" y="38"/>
                  </a:lnTo>
                  <a:lnTo>
                    <a:pt x="105" y="51"/>
                  </a:lnTo>
                  <a:lnTo>
                    <a:pt x="101" y="61"/>
                  </a:lnTo>
                  <a:lnTo>
                    <a:pt x="88" y="61"/>
                  </a:lnTo>
                  <a:lnTo>
                    <a:pt x="88" y="63"/>
                  </a:lnTo>
                  <a:lnTo>
                    <a:pt x="87" y="64"/>
                  </a:lnTo>
                  <a:lnTo>
                    <a:pt x="86" y="66"/>
                  </a:lnTo>
                  <a:lnTo>
                    <a:pt x="83" y="67"/>
                  </a:lnTo>
                  <a:lnTo>
                    <a:pt x="79" y="68"/>
                  </a:lnTo>
                  <a:lnTo>
                    <a:pt x="74" y="68"/>
                  </a:lnTo>
                  <a:lnTo>
                    <a:pt x="74" y="81"/>
                  </a:lnTo>
                  <a:lnTo>
                    <a:pt x="67" y="82"/>
                  </a:lnTo>
                  <a:lnTo>
                    <a:pt x="58" y="86"/>
                  </a:lnTo>
                  <a:lnTo>
                    <a:pt x="54" y="87"/>
                  </a:lnTo>
                  <a:lnTo>
                    <a:pt x="51" y="90"/>
                  </a:lnTo>
                  <a:lnTo>
                    <a:pt x="48" y="92"/>
                  </a:lnTo>
                  <a:lnTo>
                    <a:pt x="48" y="95"/>
                  </a:lnTo>
                  <a:lnTo>
                    <a:pt x="33" y="95"/>
                  </a:lnTo>
                  <a:lnTo>
                    <a:pt x="26" y="101"/>
                  </a:lnTo>
                  <a:lnTo>
                    <a:pt x="20" y="108"/>
                  </a:lnTo>
                  <a:lnTo>
                    <a:pt x="13" y="115"/>
                  </a:lnTo>
                  <a:lnTo>
                    <a:pt x="6" y="121"/>
                  </a:lnTo>
                  <a:lnTo>
                    <a:pt x="0" y="128"/>
                  </a:lnTo>
                  <a:lnTo>
                    <a:pt x="0" y="136"/>
                  </a:lnTo>
                  <a:lnTo>
                    <a:pt x="0" y="146"/>
                  </a:lnTo>
                  <a:lnTo>
                    <a:pt x="0" y="155"/>
                  </a:lnTo>
                  <a:lnTo>
                    <a:pt x="0" y="163"/>
                  </a:lnTo>
                  <a:lnTo>
                    <a:pt x="1" y="167"/>
                  </a:lnTo>
                  <a:lnTo>
                    <a:pt x="2" y="172"/>
                  </a:lnTo>
                  <a:lnTo>
                    <a:pt x="4" y="175"/>
                  </a:lnTo>
                  <a:lnTo>
                    <a:pt x="6" y="179"/>
                  </a:lnTo>
                  <a:lnTo>
                    <a:pt x="9" y="183"/>
                  </a:lnTo>
                  <a:lnTo>
                    <a:pt x="11" y="187"/>
                  </a:lnTo>
                  <a:lnTo>
                    <a:pt x="13" y="192"/>
                  </a:lnTo>
                  <a:lnTo>
                    <a:pt x="13" y="196"/>
                  </a:lnTo>
                  <a:lnTo>
                    <a:pt x="26" y="196"/>
                  </a:lnTo>
                  <a:lnTo>
                    <a:pt x="27" y="198"/>
                  </a:lnTo>
                  <a:lnTo>
                    <a:pt x="29" y="201"/>
                  </a:lnTo>
                  <a:lnTo>
                    <a:pt x="31" y="202"/>
                  </a:lnTo>
                  <a:lnTo>
                    <a:pt x="34" y="202"/>
                  </a:lnTo>
                  <a:lnTo>
                    <a:pt x="41" y="203"/>
                  </a:lnTo>
                  <a:lnTo>
                    <a:pt x="48" y="203"/>
                  </a:lnTo>
                  <a:lnTo>
                    <a:pt x="51" y="205"/>
                  </a:lnTo>
                  <a:lnTo>
                    <a:pt x="58" y="210"/>
                  </a:lnTo>
                  <a:lnTo>
                    <a:pt x="67" y="214"/>
                  </a:lnTo>
                  <a:lnTo>
                    <a:pt x="74" y="216"/>
                  </a:lnTo>
                  <a:lnTo>
                    <a:pt x="74" y="230"/>
                  </a:lnTo>
                  <a:lnTo>
                    <a:pt x="77" y="234"/>
                  </a:lnTo>
                  <a:lnTo>
                    <a:pt x="80" y="243"/>
                  </a:lnTo>
                  <a:lnTo>
                    <a:pt x="83" y="256"/>
                  </a:lnTo>
                  <a:lnTo>
                    <a:pt x="87" y="272"/>
                  </a:lnTo>
                  <a:lnTo>
                    <a:pt x="92" y="301"/>
                  </a:lnTo>
                  <a:lnTo>
                    <a:pt x="94" y="318"/>
                  </a:lnTo>
                  <a:lnTo>
                    <a:pt x="99" y="333"/>
                  </a:lnTo>
                  <a:lnTo>
                    <a:pt x="108" y="360"/>
                  </a:lnTo>
                  <a:lnTo>
                    <a:pt x="118" y="388"/>
                  </a:lnTo>
                  <a:lnTo>
                    <a:pt x="121" y="406"/>
                  </a:lnTo>
                  <a:lnTo>
                    <a:pt x="123" y="407"/>
                  </a:lnTo>
                  <a:lnTo>
                    <a:pt x="126" y="407"/>
                  </a:lnTo>
                  <a:lnTo>
                    <a:pt x="127" y="409"/>
                  </a:lnTo>
                  <a:lnTo>
                    <a:pt x="128" y="410"/>
                  </a:lnTo>
                  <a:lnTo>
                    <a:pt x="128" y="415"/>
                  </a:lnTo>
                  <a:lnTo>
                    <a:pt x="128" y="419"/>
                  </a:lnTo>
                  <a:lnTo>
                    <a:pt x="130" y="420"/>
                  </a:lnTo>
                  <a:lnTo>
                    <a:pt x="132" y="420"/>
                  </a:lnTo>
                  <a:lnTo>
                    <a:pt x="134" y="423"/>
                  </a:lnTo>
                  <a:lnTo>
                    <a:pt x="135" y="424"/>
                  </a:lnTo>
                  <a:lnTo>
                    <a:pt x="135" y="428"/>
                  </a:lnTo>
                  <a:lnTo>
                    <a:pt x="136" y="434"/>
                  </a:lnTo>
                  <a:lnTo>
                    <a:pt x="142" y="441"/>
                  </a:lnTo>
                  <a:lnTo>
                    <a:pt x="146" y="441"/>
                  </a:lnTo>
                  <a:lnTo>
                    <a:pt x="148" y="442"/>
                  </a:lnTo>
                  <a:lnTo>
                    <a:pt x="149" y="443"/>
                  </a:lnTo>
                  <a:lnTo>
                    <a:pt x="149" y="444"/>
                  </a:lnTo>
                  <a:lnTo>
                    <a:pt x="149" y="445"/>
                  </a:lnTo>
                  <a:lnTo>
                    <a:pt x="149" y="446"/>
                  </a:lnTo>
                  <a:lnTo>
                    <a:pt x="151" y="446"/>
                  </a:lnTo>
                  <a:lnTo>
                    <a:pt x="156" y="447"/>
                  </a:lnTo>
                  <a:lnTo>
                    <a:pt x="157" y="451"/>
                  </a:lnTo>
                  <a:lnTo>
                    <a:pt x="161" y="456"/>
                  </a:lnTo>
                  <a:lnTo>
                    <a:pt x="167" y="463"/>
                  </a:lnTo>
                  <a:lnTo>
                    <a:pt x="174" y="470"/>
                  </a:lnTo>
                  <a:lnTo>
                    <a:pt x="180" y="476"/>
                  </a:lnTo>
                  <a:lnTo>
                    <a:pt x="187" y="482"/>
                  </a:lnTo>
                  <a:lnTo>
                    <a:pt x="193" y="486"/>
                  </a:lnTo>
                  <a:lnTo>
                    <a:pt x="196" y="487"/>
                  </a:lnTo>
                  <a:lnTo>
                    <a:pt x="196" y="501"/>
                  </a:lnTo>
                  <a:lnTo>
                    <a:pt x="201" y="502"/>
                  </a:lnTo>
                  <a:lnTo>
                    <a:pt x="202" y="502"/>
                  </a:lnTo>
                  <a:lnTo>
                    <a:pt x="203" y="503"/>
                  </a:lnTo>
                  <a:lnTo>
                    <a:pt x="203" y="504"/>
                  </a:lnTo>
                  <a:lnTo>
                    <a:pt x="203" y="505"/>
                  </a:lnTo>
                  <a:lnTo>
                    <a:pt x="204" y="506"/>
                  </a:lnTo>
                  <a:lnTo>
                    <a:pt x="206" y="507"/>
                  </a:lnTo>
                  <a:lnTo>
                    <a:pt x="209" y="507"/>
                  </a:lnTo>
                  <a:lnTo>
                    <a:pt x="209" y="514"/>
                  </a:lnTo>
                  <a:lnTo>
                    <a:pt x="212" y="521"/>
                  </a:lnTo>
                  <a:lnTo>
                    <a:pt x="213" y="523"/>
                  </a:lnTo>
                  <a:lnTo>
                    <a:pt x="215" y="526"/>
                  </a:lnTo>
                  <a:lnTo>
                    <a:pt x="218" y="528"/>
                  </a:lnTo>
                  <a:lnTo>
                    <a:pt x="223" y="529"/>
                  </a:lnTo>
                  <a:lnTo>
                    <a:pt x="225" y="535"/>
                  </a:lnTo>
                  <a:lnTo>
                    <a:pt x="231" y="544"/>
                  </a:lnTo>
                  <a:lnTo>
                    <a:pt x="234" y="549"/>
                  </a:lnTo>
                  <a:lnTo>
                    <a:pt x="237" y="552"/>
                  </a:lnTo>
                  <a:lnTo>
                    <a:pt x="241" y="554"/>
                  </a:lnTo>
                  <a:lnTo>
                    <a:pt x="244" y="555"/>
                  </a:lnTo>
                  <a:lnTo>
                    <a:pt x="244" y="569"/>
                  </a:lnTo>
                  <a:lnTo>
                    <a:pt x="247" y="570"/>
                  </a:lnTo>
                  <a:lnTo>
                    <a:pt x="250" y="571"/>
                  </a:lnTo>
                  <a:lnTo>
                    <a:pt x="251" y="573"/>
                  </a:lnTo>
                  <a:lnTo>
                    <a:pt x="251" y="576"/>
                  </a:lnTo>
                  <a:lnTo>
                    <a:pt x="251" y="578"/>
                  </a:lnTo>
                  <a:lnTo>
                    <a:pt x="251" y="580"/>
                  </a:lnTo>
                  <a:lnTo>
                    <a:pt x="253" y="582"/>
                  </a:lnTo>
                  <a:lnTo>
                    <a:pt x="257" y="582"/>
                  </a:lnTo>
                  <a:lnTo>
                    <a:pt x="257" y="588"/>
                  </a:lnTo>
                  <a:lnTo>
                    <a:pt x="259" y="595"/>
                  </a:lnTo>
                  <a:lnTo>
                    <a:pt x="260" y="601"/>
                  </a:lnTo>
                  <a:lnTo>
                    <a:pt x="262" y="608"/>
                  </a:lnTo>
                  <a:lnTo>
                    <a:pt x="265" y="614"/>
                  </a:lnTo>
                  <a:lnTo>
                    <a:pt x="269" y="619"/>
                  </a:lnTo>
                  <a:lnTo>
                    <a:pt x="273" y="621"/>
                  </a:lnTo>
                  <a:lnTo>
                    <a:pt x="278" y="624"/>
                  </a:lnTo>
                  <a:lnTo>
                    <a:pt x="284" y="630"/>
                  </a:lnTo>
                  <a:lnTo>
                    <a:pt x="288" y="637"/>
                  </a:lnTo>
                  <a:lnTo>
                    <a:pt x="294" y="646"/>
                  </a:lnTo>
                  <a:lnTo>
                    <a:pt x="301" y="654"/>
                  </a:lnTo>
                  <a:lnTo>
                    <a:pt x="304" y="657"/>
                  </a:lnTo>
                  <a:lnTo>
                    <a:pt x="304" y="670"/>
                  </a:lnTo>
                  <a:lnTo>
                    <a:pt x="318" y="670"/>
                  </a:lnTo>
                  <a:lnTo>
                    <a:pt x="319" y="673"/>
                  </a:lnTo>
                  <a:lnTo>
                    <a:pt x="319" y="675"/>
                  </a:lnTo>
                  <a:lnTo>
                    <a:pt x="321" y="676"/>
                  </a:lnTo>
                  <a:lnTo>
                    <a:pt x="322" y="676"/>
                  </a:lnTo>
                  <a:lnTo>
                    <a:pt x="327" y="677"/>
                  </a:lnTo>
                  <a:lnTo>
                    <a:pt x="332" y="677"/>
                  </a:lnTo>
                  <a:lnTo>
                    <a:pt x="333" y="679"/>
                  </a:lnTo>
                  <a:lnTo>
                    <a:pt x="339" y="682"/>
                  </a:lnTo>
                  <a:lnTo>
                    <a:pt x="347" y="683"/>
                  </a:lnTo>
                  <a:lnTo>
                    <a:pt x="357" y="683"/>
                  </a:lnTo>
                  <a:lnTo>
                    <a:pt x="375" y="684"/>
                  </a:lnTo>
                  <a:lnTo>
                    <a:pt x="386" y="684"/>
                  </a:lnTo>
                  <a:lnTo>
                    <a:pt x="396" y="670"/>
                  </a:lnTo>
                  <a:lnTo>
                    <a:pt x="406" y="657"/>
                  </a:lnTo>
                  <a:lnTo>
                    <a:pt x="409" y="654"/>
                  </a:lnTo>
                  <a:lnTo>
                    <a:pt x="416" y="646"/>
                  </a:lnTo>
                  <a:lnTo>
                    <a:pt x="424" y="637"/>
                  </a:lnTo>
                  <a:lnTo>
                    <a:pt x="427" y="630"/>
                  </a:lnTo>
                  <a:lnTo>
                    <a:pt x="430" y="629"/>
                  </a:lnTo>
                  <a:lnTo>
                    <a:pt x="433" y="629"/>
                  </a:lnTo>
                  <a:lnTo>
                    <a:pt x="434" y="628"/>
                  </a:lnTo>
                  <a:lnTo>
                    <a:pt x="434" y="627"/>
                  </a:lnTo>
                  <a:lnTo>
                    <a:pt x="434" y="625"/>
                  </a:lnTo>
                  <a:lnTo>
                    <a:pt x="434" y="625"/>
                  </a:lnTo>
                  <a:lnTo>
                    <a:pt x="436" y="624"/>
                  </a:lnTo>
                  <a:lnTo>
                    <a:pt x="441" y="624"/>
                  </a:lnTo>
                  <a:lnTo>
                    <a:pt x="443" y="608"/>
                  </a:lnTo>
                  <a:lnTo>
                    <a:pt x="448" y="588"/>
                  </a:lnTo>
                  <a:lnTo>
                    <a:pt x="451" y="578"/>
                  </a:lnTo>
                  <a:lnTo>
                    <a:pt x="455" y="570"/>
                  </a:lnTo>
                  <a:lnTo>
                    <a:pt x="457" y="564"/>
                  </a:lnTo>
                  <a:lnTo>
                    <a:pt x="461" y="562"/>
                  </a:lnTo>
                  <a:lnTo>
                    <a:pt x="461" y="549"/>
                  </a:lnTo>
                  <a:lnTo>
                    <a:pt x="467" y="542"/>
                  </a:lnTo>
                  <a:lnTo>
                    <a:pt x="474" y="535"/>
                  </a:lnTo>
                  <a:lnTo>
                    <a:pt x="487" y="535"/>
                  </a:lnTo>
                  <a:lnTo>
                    <a:pt x="489" y="531"/>
                  </a:lnTo>
                  <a:lnTo>
                    <a:pt x="492" y="524"/>
                  </a:lnTo>
                  <a:lnTo>
                    <a:pt x="496" y="518"/>
                  </a:lnTo>
                  <a:lnTo>
                    <a:pt x="502" y="509"/>
                  </a:lnTo>
                  <a:lnTo>
                    <a:pt x="507" y="501"/>
                  </a:lnTo>
                  <a:lnTo>
                    <a:pt x="513" y="494"/>
                  </a:lnTo>
                  <a:lnTo>
                    <a:pt x="519" y="490"/>
                  </a:lnTo>
                  <a:lnTo>
                    <a:pt x="522" y="487"/>
                  </a:lnTo>
                  <a:lnTo>
                    <a:pt x="522" y="474"/>
                  </a:lnTo>
                  <a:lnTo>
                    <a:pt x="522" y="461"/>
                  </a:lnTo>
                  <a:lnTo>
                    <a:pt x="524" y="461"/>
                  </a:lnTo>
                  <a:lnTo>
                    <a:pt x="525" y="459"/>
                  </a:lnTo>
                  <a:lnTo>
                    <a:pt x="526" y="458"/>
                  </a:lnTo>
                  <a:lnTo>
                    <a:pt x="528" y="456"/>
                  </a:lnTo>
                  <a:lnTo>
                    <a:pt x="529" y="452"/>
                  </a:lnTo>
                  <a:lnTo>
                    <a:pt x="529" y="447"/>
                  </a:lnTo>
                  <a:lnTo>
                    <a:pt x="535" y="441"/>
                  </a:lnTo>
                  <a:lnTo>
                    <a:pt x="549" y="441"/>
                  </a:lnTo>
                  <a:lnTo>
                    <a:pt x="549" y="438"/>
                  </a:lnTo>
                  <a:lnTo>
                    <a:pt x="550" y="436"/>
                  </a:lnTo>
                  <a:lnTo>
                    <a:pt x="551" y="435"/>
                  </a:lnTo>
                  <a:lnTo>
                    <a:pt x="553" y="434"/>
                  </a:lnTo>
                  <a:lnTo>
                    <a:pt x="558" y="434"/>
                  </a:lnTo>
                  <a:lnTo>
                    <a:pt x="562" y="434"/>
                  </a:lnTo>
                  <a:lnTo>
                    <a:pt x="569" y="426"/>
                  </a:lnTo>
                  <a:lnTo>
                    <a:pt x="569" y="423"/>
                  </a:lnTo>
                  <a:lnTo>
                    <a:pt x="570" y="420"/>
                  </a:lnTo>
                  <a:lnTo>
                    <a:pt x="571" y="419"/>
                  </a:lnTo>
                  <a:lnTo>
                    <a:pt x="572" y="419"/>
                  </a:lnTo>
                  <a:lnTo>
                    <a:pt x="573" y="419"/>
                  </a:lnTo>
                  <a:lnTo>
                    <a:pt x="574" y="419"/>
                  </a:lnTo>
                  <a:lnTo>
                    <a:pt x="576" y="417"/>
                  </a:lnTo>
                  <a:lnTo>
                    <a:pt x="576" y="413"/>
                  </a:lnTo>
                  <a:lnTo>
                    <a:pt x="589" y="406"/>
                  </a:lnTo>
                  <a:lnTo>
                    <a:pt x="602" y="399"/>
                  </a:lnTo>
                  <a:lnTo>
                    <a:pt x="603" y="396"/>
                  </a:lnTo>
                  <a:lnTo>
                    <a:pt x="603" y="394"/>
                  </a:lnTo>
                  <a:lnTo>
                    <a:pt x="605" y="393"/>
                  </a:lnTo>
                  <a:lnTo>
                    <a:pt x="606" y="393"/>
                  </a:lnTo>
                  <a:lnTo>
                    <a:pt x="608" y="393"/>
                  </a:lnTo>
                  <a:lnTo>
                    <a:pt x="609" y="391"/>
                  </a:lnTo>
                  <a:lnTo>
                    <a:pt x="609" y="390"/>
                  </a:lnTo>
                  <a:lnTo>
                    <a:pt x="610" y="386"/>
                  </a:lnTo>
                  <a:lnTo>
                    <a:pt x="620" y="382"/>
                  </a:lnTo>
                  <a:lnTo>
                    <a:pt x="630" y="379"/>
                  </a:lnTo>
                  <a:lnTo>
                    <a:pt x="633" y="368"/>
                  </a:lnTo>
                  <a:lnTo>
                    <a:pt x="637" y="356"/>
                  </a:lnTo>
                  <a:lnTo>
                    <a:pt x="641" y="343"/>
                  </a:lnTo>
                  <a:lnTo>
                    <a:pt x="644" y="331"/>
                  </a:lnTo>
                  <a:lnTo>
                    <a:pt x="636" y="329"/>
                  </a:lnTo>
                  <a:lnTo>
                    <a:pt x="627" y="324"/>
                  </a:lnTo>
                  <a:lnTo>
                    <a:pt x="624" y="321"/>
                  </a:lnTo>
                  <a:lnTo>
                    <a:pt x="620" y="318"/>
                  </a:lnTo>
                  <a:lnTo>
                    <a:pt x="617" y="314"/>
                  </a:lnTo>
                  <a:lnTo>
                    <a:pt x="617" y="311"/>
                  </a:lnTo>
                  <a:lnTo>
                    <a:pt x="609" y="310"/>
                  </a:lnTo>
                  <a:lnTo>
                    <a:pt x="600" y="308"/>
                  </a:lnTo>
                  <a:lnTo>
                    <a:pt x="589" y="304"/>
                  </a:lnTo>
                  <a:lnTo>
                    <a:pt x="578" y="300"/>
                  </a:lnTo>
                  <a:lnTo>
                    <a:pt x="567" y="295"/>
                  </a:lnTo>
                  <a:lnTo>
                    <a:pt x="558" y="291"/>
                  </a:lnTo>
                  <a:lnTo>
                    <a:pt x="551" y="288"/>
                  </a:lnTo>
                  <a:lnTo>
                    <a:pt x="549" y="284"/>
                  </a:lnTo>
                  <a:lnTo>
                    <a:pt x="535" y="284"/>
                  </a:lnTo>
                  <a:lnTo>
                    <a:pt x="522" y="278"/>
                  </a:lnTo>
                  <a:lnTo>
                    <a:pt x="521" y="274"/>
                  </a:lnTo>
                  <a:lnTo>
                    <a:pt x="519" y="272"/>
                  </a:lnTo>
                  <a:lnTo>
                    <a:pt x="514" y="268"/>
                  </a:lnTo>
                  <a:lnTo>
                    <a:pt x="511" y="265"/>
                  </a:lnTo>
                  <a:lnTo>
                    <a:pt x="502" y="260"/>
                  </a:lnTo>
                  <a:lnTo>
                    <a:pt x="494" y="257"/>
                  </a:lnTo>
                  <a:lnTo>
                    <a:pt x="493" y="245"/>
                  </a:lnTo>
                  <a:lnTo>
                    <a:pt x="491" y="230"/>
                  </a:lnTo>
                  <a:lnTo>
                    <a:pt x="489" y="213"/>
                  </a:lnTo>
                  <a:lnTo>
                    <a:pt x="487" y="196"/>
                  </a:lnTo>
                  <a:lnTo>
                    <a:pt x="486" y="182"/>
                  </a:lnTo>
                  <a:lnTo>
                    <a:pt x="483" y="164"/>
                  </a:lnTo>
                  <a:lnTo>
                    <a:pt x="480" y="156"/>
                  </a:lnTo>
                  <a:lnTo>
                    <a:pt x="476" y="148"/>
                  </a:lnTo>
                  <a:lnTo>
                    <a:pt x="474" y="146"/>
                  </a:lnTo>
                  <a:lnTo>
                    <a:pt x="472" y="144"/>
                  </a:lnTo>
                  <a:lnTo>
                    <a:pt x="470" y="143"/>
                  </a:lnTo>
                  <a:lnTo>
                    <a:pt x="467" y="141"/>
                  </a:lnTo>
                  <a:lnTo>
                    <a:pt x="467" y="128"/>
                  </a:lnTo>
                  <a:lnTo>
                    <a:pt x="461" y="121"/>
                  </a:lnTo>
                  <a:lnTo>
                    <a:pt x="451" y="121"/>
                  </a:lnTo>
                  <a:lnTo>
                    <a:pt x="441" y="121"/>
                  </a:lnTo>
                  <a:lnTo>
                    <a:pt x="439" y="119"/>
                  </a:lnTo>
                  <a:lnTo>
                    <a:pt x="437" y="118"/>
                  </a:lnTo>
                  <a:lnTo>
                    <a:pt x="434" y="117"/>
                  </a:lnTo>
                  <a:lnTo>
                    <a:pt x="429" y="116"/>
                  </a:lnTo>
                  <a:lnTo>
                    <a:pt x="420" y="115"/>
                  </a:lnTo>
                  <a:lnTo>
                    <a:pt x="413" y="115"/>
                  </a:lnTo>
                  <a:lnTo>
                    <a:pt x="409" y="111"/>
                  </a:lnTo>
                  <a:lnTo>
                    <a:pt x="399" y="105"/>
                  </a:lnTo>
                  <a:lnTo>
                    <a:pt x="387" y="98"/>
                  </a:lnTo>
                  <a:lnTo>
                    <a:pt x="379" y="95"/>
                  </a:lnTo>
                  <a:lnTo>
                    <a:pt x="372" y="88"/>
                  </a:lnTo>
                  <a:lnTo>
                    <a:pt x="372" y="74"/>
                  </a:lnTo>
                  <a:lnTo>
                    <a:pt x="370" y="73"/>
                  </a:lnTo>
                  <a:lnTo>
                    <a:pt x="368" y="73"/>
                  </a:lnTo>
                  <a:lnTo>
                    <a:pt x="366" y="71"/>
                  </a:lnTo>
                  <a:lnTo>
                    <a:pt x="365" y="70"/>
                  </a:lnTo>
                  <a:lnTo>
                    <a:pt x="362" y="64"/>
                  </a:lnTo>
                  <a:lnTo>
                    <a:pt x="360" y="59"/>
                  </a:lnTo>
                  <a:lnTo>
                    <a:pt x="359" y="45"/>
                  </a:lnTo>
                  <a:lnTo>
                    <a:pt x="359" y="33"/>
                  </a:lnTo>
                  <a:lnTo>
                    <a:pt x="355" y="33"/>
                  </a:lnTo>
                  <a:lnTo>
                    <a:pt x="353" y="32"/>
                  </a:lnTo>
                  <a:lnTo>
                    <a:pt x="352" y="31"/>
                  </a:lnTo>
                  <a:lnTo>
                    <a:pt x="352" y="30"/>
                  </a:lnTo>
                  <a:lnTo>
                    <a:pt x="352" y="29"/>
                  </a:lnTo>
                  <a:lnTo>
                    <a:pt x="351" y="28"/>
                  </a:lnTo>
                  <a:lnTo>
                    <a:pt x="349" y="28"/>
                  </a:lnTo>
                  <a:lnTo>
                    <a:pt x="346" y="26"/>
                  </a:lnTo>
                  <a:lnTo>
                    <a:pt x="346" y="13"/>
                  </a:lnTo>
                  <a:lnTo>
                    <a:pt x="334" y="13"/>
                  </a:lnTo>
                  <a:lnTo>
                    <a:pt x="321" y="13"/>
                  </a:lnTo>
                  <a:lnTo>
                    <a:pt x="309" y="13"/>
                  </a:lnTo>
                  <a:lnTo>
                    <a:pt x="298" y="13"/>
                  </a:lnTo>
                  <a:lnTo>
                    <a:pt x="298" y="18"/>
                  </a:lnTo>
                  <a:lnTo>
                    <a:pt x="297" y="19"/>
                  </a:lnTo>
                  <a:lnTo>
                    <a:pt x="295" y="20"/>
                  </a:lnTo>
                  <a:lnTo>
                    <a:pt x="294" y="20"/>
                  </a:lnTo>
                  <a:lnTo>
                    <a:pt x="293" y="20"/>
                  </a:lnTo>
                  <a:lnTo>
                    <a:pt x="292" y="21"/>
                  </a:lnTo>
                  <a:lnTo>
                    <a:pt x="291" y="23"/>
                  </a:lnTo>
                  <a:lnTo>
                    <a:pt x="291" y="26"/>
                  </a:lnTo>
                  <a:lnTo>
                    <a:pt x="279" y="26"/>
                  </a:lnTo>
                  <a:lnTo>
                    <a:pt x="264" y="26"/>
                  </a:lnTo>
                  <a:lnTo>
                    <a:pt x="250" y="26"/>
                  </a:lnTo>
                  <a:lnTo>
                    <a:pt x="237" y="26"/>
                  </a:lnTo>
                  <a:lnTo>
                    <a:pt x="236" y="23"/>
                  </a:lnTo>
                  <a:lnTo>
                    <a:pt x="236" y="21"/>
                  </a:lnTo>
                  <a:lnTo>
                    <a:pt x="235" y="20"/>
                  </a:lnTo>
                  <a:lnTo>
                    <a:pt x="234" y="20"/>
                  </a:lnTo>
                  <a:lnTo>
                    <a:pt x="232" y="20"/>
                  </a:lnTo>
                  <a:lnTo>
                    <a:pt x="231" y="19"/>
                  </a:lnTo>
                  <a:lnTo>
                    <a:pt x="231" y="18"/>
                  </a:lnTo>
                  <a:lnTo>
                    <a:pt x="231" y="13"/>
                  </a:lnTo>
                  <a:lnTo>
                    <a:pt x="224" y="12"/>
                  </a:lnTo>
                  <a:lnTo>
                    <a:pt x="217" y="9"/>
                  </a:lnTo>
                  <a:lnTo>
                    <a:pt x="214" y="7"/>
                  </a:lnTo>
                  <a:lnTo>
                    <a:pt x="212" y="4"/>
                  </a:lnTo>
                  <a:lnTo>
                    <a:pt x="211" y="2"/>
                  </a:lnTo>
                  <a:lnTo>
                    <a:pt x="209" y="0"/>
                  </a:lnTo>
                  <a:lnTo>
                    <a:pt x="203" y="0"/>
                  </a:lnTo>
                  <a:lnTo>
                    <a:pt x="192" y="0"/>
                  </a:lnTo>
                  <a:lnTo>
                    <a:pt x="177" y="0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4" name="Freeform 30"/>
            <p:cNvSpPr>
              <a:spLocks noChangeAspect="1"/>
            </p:cNvSpPr>
            <p:nvPr/>
          </p:nvSpPr>
          <p:spPr bwMode="gray">
            <a:xfrm rot="355651">
              <a:off x="5522227" y="3327400"/>
              <a:ext cx="68769" cy="108590"/>
            </a:xfrm>
            <a:custGeom>
              <a:avLst/>
              <a:gdLst/>
              <a:ahLst/>
              <a:cxnLst>
                <a:cxn ang="0">
                  <a:pos x="173" y="9"/>
                </a:cxn>
                <a:cxn ang="0">
                  <a:pos x="162" y="36"/>
                </a:cxn>
                <a:cxn ang="0">
                  <a:pos x="160" y="45"/>
                </a:cxn>
                <a:cxn ang="0">
                  <a:pos x="157" y="51"/>
                </a:cxn>
                <a:cxn ang="0">
                  <a:pos x="148" y="73"/>
                </a:cxn>
                <a:cxn ang="0">
                  <a:pos x="128" y="107"/>
                </a:cxn>
                <a:cxn ang="0">
                  <a:pos x="119" y="114"/>
                </a:cxn>
                <a:cxn ang="0">
                  <a:pos x="95" y="134"/>
                </a:cxn>
                <a:cxn ang="0">
                  <a:pos x="80" y="145"/>
                </a:cxn>
                <a:cxn ang="0">
                  <a:pos x="62" y="161"/>
                </a:cxn>
                <a:cxn ang="0">
                  <a:pos x="54" y="177"/>
                </a:cxn>
                <a:cxn ang="0">
                  <a:pos x="48" y="208"/>
                </a:cxn>
                <a:cxn ang="0">
                  <a:pos x="45" y="215"/>
                </a:cxn>
                <a:cxn ang="0">
                  <a:pos x="43" y="244"/>
                </a:cxn>
                <a:cxn ang="0">
                  <a:pos x="35" y="261"/>
                </a:cxn>
                <a:cxn ang="0">
                  <a:pos x="28" y="291"/>
                </a:cxn>
                <a:cxn ang="0">
                  <a:pos x="23" y="320"/>
                </a:cxn>
                <a:cxn ang="0">
                  <a:pos x="14" y="345"/>
                </a:cxn>
                <a:cxn ang="0">
                  <a:pos x="5" y="373"/>
                </a:cxn>
                <a:cxn ang="0">
                  <a:pos x="1" y="403"/>
                </a:cxn>
                <a:cxn ang="0">
                  <a:pos x="0" y="471"/>
                </a:cxn>
                <a:cxn ang="0">
                  <a:pos x="6" y="515"/>
                </a:cxn>
                <a:cxn ang="0">
                  <a:pos x="16" y="545"/>
                </a:cxn>
                <a:cxn ang="0">
                  <a:pos x="23" y="563"/>
                </a:cxn>
                <a:cxn ang="0">
                  <a:pos x="36" y="578"/>
                </a:cxn>
                <a:cxn ang="0">
                  <a:pos x="46" y="590"/>
                </a:cxn>
                <a:cxn ang="0">
                  <a:pos x="62" y="603"/>
                </a:cxn>
                <a:cxn ang="0">
                  <a:pos x="88" y="606"/>
                </a:cxn>
                <a:cxn ang="0">
                  <a:pos x="145" y="637"/>
                </a:cxn>
                <a:cxn ang="0">
                  <a:pos x="155" y="651"/>
                </a:cxn>
                <a:cxn ang="0">
                  <a:pos x="188" y="665"/>
                </a:cxn>
                <a:cxn ang="0">
                  <a:pos x="219" y="666"/>
                </a:cxn>
                <a:cxn ang="0">
                  <a:pos x="253" y="657"/>
                </a:cxn>
                <a:cxn ang="0">
                  <a:pos x="276" y="631"/>
                </a:cxn>
                <a:cxn ang="0">
                  <a:pos x="284" y="587"/>
                </a:cxn>
                <a:cxn ang="0">
                  <a:pos x="288" y="557"/>
                </a:cxn>
                <a:cxn ang="0">
                  <a:pos x="293" y="540"/>
                </a:cxn>
                <a:cxn ang="0">
                  <a:pos x="327" y="494"/>
                </a:cxn>
                <a:cxn ang="0">
                  <a:pos x="349" y="453"/>
                </a:cxn>
                <a:cxn ang="0">
                  <a:pos x="360" y="431"/>
                </a:cxn>
                <a:cxn ang="0">
                  <a:pos x="370" y="394"/>
                </a:cxn>
                <a:cxn ang="0">
                  <a:pos x="368" y="356"/>
                </a:cxn>
                <a:cxn ang="0">
                  <a:pos x="351" y="328"/>
                </a:cxn>
                <a:cxn ang="0">
                  <a:pos x="342" y="311"/>
                </a:cxn>
                <a:cxn ang="0">
                  <a:pos x="335" y="285"/>
                </a:cxn>
                <a:cxn ang="0">
                  <a:pos x="330" y="167"/>
                </a:cxn>
                <a:cxn ang="0">
                  <a:pos x="323" y="154"/>
                </a:cxn>
                <a:cxn ang="0">
                  <a:pos x="305" y="135"/>
                </a:cxn>
                <a:cxn ang="0">
                  <a:pos x="284" y="115"/>
                </a:cxn>
                <a:cxn ang="0">
                  <a:pos x="268" y="98"/>
                </a:cxn>
                <a:cxn ang="0">
                  <a:pos x="253" y="88"/>
                </a:cxn>
                <a:cxn ang="0">
                  <a:pos x="244" y="79"/>
                </a:cxn>
                <a:cxn ang="0">
                  <a:pos x="236" y="58"/>
                </a:cxn>
                <a:cxn ang="0">
                  <a:pos x="230" y="31"/>
                </a:cxn>
                <a:cxn ang="0">
                  <a:pos x="227" y="26"/>
                </a:cxn>
                <a:cxn ang="0">
                  <a:pos x="217" y="9"/>
                </a:cxn>
                <a:cxn ang="0">
                  <a:pos x="190" y="0"/>
                </a:cxn>
              </a:cxnLst>
              <a:rect l="0" t="0" r="r" b="b"/>
              <a:pathLst>
                <a:path w="372" h="669">
                  <a:moveTo>
                    <a:pt x="190" y="0"/>
                  </a:moveTo>
                  <a:lnTo>
                    <a:pt x="186" y="1"/>
                  </a:lnTo>
                  <a:lnTo>
                    <a:pt x="179" y="4"/>
                  </a:lnTo>
                  <a:lnTo>
                    <a:pt x="173" y="9"/>
                  </a:lnTo>
                  <a:lnTo>
                    <a:pt x="169" y="13"/>
                  </a:lnTo>
                  <a:lnTo>
                    <a:pt x="167" y="22"/>
                  </a:lnTo>
                  <a:lnTo>
                    <a:pt x="164" y="36"/>
                  </a:lnTo>
                  <a:lnTo>
                    <a:pt x="162" y="36"/>
                  </a:lnTo>
                  <a:lnTo>
                    <a:pt x="161" y="37"/>
                  </a:lnTo>
                  <a:lnTo>
                    <a:pt x="161" y="38"/>
                  </a:lnTo>
                  <a:lnTo>
                    <a:pt x="160" y="40"/>
                  </a:lnTo>
                  <a:lnTo>
                    <a:pt x="160" y="45"/>
                  </a:lnTo>
                  <a:lnTo>
                    <a:pt x="160" y="48"/>
                  </a:lnTo>
                  <a:lnTo>
                    <a:pt x="158" y="49"/>
                  </a:lnTo>
                  <a:lnTo>
                    <a:pt x="157" y="50"/>
                  </a:lnTo>
                  <a:lnTo>
                    <a:pt x="157" y="51"/>
                  </a:lnTo>
                  <a:lnTo>
                    <a:pt x="155" y="54"/>
                  </a:lnTo>
                  <a:lnTo>
                    <a:pt x="155" y="58"/>
                  </a:lnTo>
                  <a:lnTo>
                    <a:pt x="155" y="61"/>
                  </a:lnTo>
                  <a:lnTo>
                    <a:pt x="148" y="73"/>
                  </a:lnTo>
                  <a:lnTo>
                    <a:pt x="139" y="89"/>
                  </a:lnTo>
                  <a:lnTo>
                    <a:pt x="134" y="97"/>
                  </a:lnTo>
                  <a:lnTo>
                    <a:pt x="130" y="104"/>
                  </a:lnTo>
                  <a:lnTo>
                    <a:pt x="128" y="107"/>
                  </a:lnTo>
                  <a:lnTo>
                    <a:pt x="124" y="108"/>
                  </a:lnTo>
                  <a:lnTo>
                    <a:pt x="122" y="111"/>
                  </a:lnTo>
                  <a:lnTo>
                    <a:pt x="120" y="111"/>
                  </a:lnTo>
                  <a:lnTo>
                    <a:pt x="119" y="114"/>
                  </a:lnTo>
                  <a:lnTo>
                    <a:pt x="115" y="118"/>
                  </a:lnTo>
                  <a:lnTo>
                    <a:pt x="111" y="123"/>
                  </a:lnTo>
                  <a:lnTo>
                    <a:pt x="105" y="127"/>
                  </a:lnTo>
                  <a:lnTo>
                    <a:pt x="95" y="134"/>
                  </a:lnTo>
                  <a:lnTo>
                    <a:pt x="88" y="137"/>
                  </a:lnTo>
                  <a:lnTo>
                    <a:pt x="87" y="141"/>
                  </a:lnTo>
                  <a:lnTo>
                    <a:pt x="84" y="143"/>
                  </a:lnTo>
                  <a:lnTo>
                    <a:pt x="80" y="145"/>
                  </a:lnTo>
                  <a:lnTo>
                    <a:pt x="75" y="146"/>
                  </a:lnTo>
                  <a:lnTo>
                    <a:pt x="72" y="152"/>
                  </a:lnTo>
                  <a:lnTo>
                    <a:pt x="66" y="156"/>
                  </a:lnTo>
                  <a:lnTo>
                    <a:pt x="62" y="161"/>
                  </a:lnTo>
                  <a:lnTo>
                    <a:pt x="57" y="164"/>
                  </a:lnTo>
                  <a:lnTo>
                    <a:pt x="57" y="172"/>
                  </a:lnTo>
                  <a:lnTo>
                    <a:pt x="56" y="174"/>
                  </a:lnTo>
                  <a:lnTo>
                    <a:pt x="54" y="177"/>
                  </a:lnTo>
                  <a:lnTo>
                    <a:pt x="53" y="183"/>
                  </a:lnTo>
                  <a:lnTo>
                    <a:pt x="52" y="189"/>
                  </a:lnTo>
                  <a:lnTo>
                    <a:pt x="49" y="201"/>
                  </a:lnTo>
                  <a:lnTo>
                    <a:pt x="48" y="208"/>
                  </a:lnTo>
                  <a:lnTo>
                    <a:pt x="47" y="209"/>
                  </a:lnTo>
                  <a:lnTo>
                    <a:pt x="46" y="210"/>
                  </a:lnTo>
                  <a:lnTo>
                    <a:pt x="45" y="212"/>
                  </a:lnTo>
                  <a:lnTo>
                    <a:pt x="45" y="215"/>
                  </a:lnTo>
                  <a:lnTo>
                    <a:pt x="44" y="221"/>
                  </a:lnTo>
                  <a:lnTo>
                    <a:pt x="44" y="225"/>
                  </a:lnTo>
                  <a:lnTo>
                    <a:pt x="44" y="236"/>
                  </a:lnTo>
                  <a:lnTo>
                    <a:pt x="43" y="244"/>
                  </a:lnTo>
                  <a:lnTo>
                    <a:pt x="42" y="249"/>
                  </a:lnTo>
                  <a:lnTo>
                    <a:pt x="40" y="253"/>
                  </a:lnTo>
                  <a:lnTo>
                    <a:pt x="38" y="258"/>
                  </a:lnTo>
                  <a:lnTo>
                    <a:pt x="35" y="261"/>
                  </a:lnTo>
                  <a:lnTo>
                    <a:pt x="35" y="279"/>
                  </a:lnTo>
                  <a:lnTo>
                    <a:pt x="33" y="282"/>
                  </a:lnTo>
                  <a:lnTo>
                    <a:pt x="30" y="287"/>
                  </a:lnTo>
                  <a:lnTo>
                    <a:pt x="28" y="291"/>
                  </a:lnTo>
                  <a:lnTo>
                    <a:pt x="28" y="297"/>
                  </a:lnTo>
                  <a:lnTo>
                    <a:pt x="27" y="308"/>
                  </a:lnTo>
                  <a:lnTo>
                    <a:pt x="27" y="318"/>
                  </a:lnTo>
                  <a:lnTo>
                    <a:pt x="23" y="320"/>
                  </a:lnTo>
                  <a:lnTo>
                    <a:pt x="18" y="323"/>
                  </a:lnTo>
                  <a:lnTo>
                    <a:pt x="17" y="330"/>
                  </a:lnTo>
                  <a:lnTo>
                    <a:pt x="16" y="338"/>
                  </a:lnTo>
                  <a:lnTo>
                    <a:pt x="14" y="345"/>
                  </a:lnTo>
                  <a:lnTo>
                    <a:pt x="11" y="352"/>
                  </a:lnTo>
                  <a:lnTo>
                    <a:pt x="8" y="358"/>
                  </a:lnTo>
                  <a:lnTo>
                    <a:pt x="7" y="365"/>
                  </a:lnTo>
                  <a:lnTo>
                    <a:pt x="5" y="373"/>
                  </a:lnTo>
                  <a:lnTo>
                    <a:pt x="5" y="381"/>
                  </a:lnTo>
                  <a:lnTo>
                    <a:pt x="2" y="384"/>
                  </a:lnTo>
                  <a:lnTo>
                    <a:pt x="1" y="392"/>
                  </a:lnTo>
                  <a:lnTo>
                    <a:pt x="1" y="403"/>
                  </a:lnTo>
                  <a:lnTo>
                    <a:pt x="0" y="417"/>
                  </a:lnTo>
                  <a:lnTo>
                    <a:pt x="0" y="444"/>
                  </a:lnTo>
                  <a:lnTo>
                    <a:pt x="0" y="460"/>
                  </a:lnTo>
                  <a:lnTo>
                    <a:pt x="0" y="471"/>
                  </a:lnTo>
                  <a:lnTo>
                    <a:pt x="2" y="482"/>
                  </a:lnTo>
                  <a:lnTo>
                    <a:pt x="4" y="493"/>
                  </a:lnTo>
                  <a:lnTo>
                    <a:pt x="5" y="504"/>
                  </a:lnTo>
                  <a:lnTo>
                    <a:pt x="6" y="515"/>
                  </a:lnTo>
                  <a:lnTo>
                    <a:pt x="9" y="525"/>
                  </a:lnTo>
                  <a:lnTo>
                    <a:pt x="11" y="535"/>
                  </a:lnTo>
                  <a:lnTo>
                    <a:pt x="14" y="545"/>
                  </a:lnTo>
                  <a:lnTo>
                    <a:pt x="16" y="545"/>
                  </a:lnTo>
                  <a:lnTo>
                    <a:pt x="17" y="547"/>
                  </a:lnTo>
                  <a:lnTo>
                    <a:pt x="18" y="550"/>
                  </a:lnTo>
                  <a:lnTo>
                    <a:pt x="18" y="554"/>
                  </a:lnTo>
                  <a:lnTo>
                    <a:pt x="23" y="563"/>
                  </a:lnTo>
                  <a:lnTo>
                    <a:pt x="27" y="565"/>
                  </a:lnTo>
                  <a:lnTo>
                    <a:pt x="31" y="567"/>
                  </a:lnTo>
                  <a:lnTo>
                    <a:pt x="35" y="575"/>
                  </a:lnTo>
                  <a:lnTo>
                    <a:pt x="36" y="578"/>
                  </a:lnTo>
                  <a:lnTo>
                    <a:pt x="38" y="581"/>
                  </a:lnTo>
                  <a:lnTo>
                    <a:pt x="40" y="584"/>
                  </a:lnTo>
                  <a:lnTo>
                    <a:pt x="44" y="584"/>
                  </a:lnTo>
                  <a:lnTo>
                    <a:pt x="46" y="590"/>
                  </a:lnTo>
                  <a:lnTo>
                    <a:pt x="48" y="597"/>
                  </a:lnTo>
                  <a:lnTo>
                    <a:pt x="57" y="597"/>
                  </a:lnTo>
                  <a:lnTo>
                    <a:pt x="58" y="600"/>
                  </a:lnTo>
                  <a:lnTo>
                    <a:pt x="62" y="603"/>
                  </a:lnTo>
                  <a:lnTo>
                    <a:pt x="65" y="604"/>
                  </a:lnTo>
                  <a:lnTo>
                    <a:pt x="69" y="605"/>
                  </a:lnTo>
                  <a:lnTo>
                    <a:pt x="80" y="606"/>
                  </a:lnTo>
                  <a:lnTo>
                    <a:pt x="88" y="606"/>
                  </a:lnTo>
                  <a:lnTo>
                    <a:pt x="103" y="615"/>
                  </a:lnTo>
                  <a:lnTo>
                    <a:pt x="125" y="625"/>
                  </a:lnTo>
                  <a:lnTo>
                    <a:pt x="136" y="632"/>
                  </a:lnTo>
                  <a:lnTo>
                    <a:pt x="145" y="637"/>
                  </a:lnTo>
                  <a:lnTo>
                    <a:pt x="150" y="641"/>
                  </a:lnTo>
                  <a:lnTo>
                    <a:pt x="152" y="644"/>
                  </a:lnTo>
                  <a:lnTo>
                    <a:pt x="154" y="647"/>
                  </a:lnTo>
                  <a:lnTo>
                    <a:pt x="155" y="651"/>
                  </a:lnTo>
                  <a:lnTo>
                    <a:pt x="163" y="653"/>
                  </a:lnTo>
                  <a:lnTo>
                    <a:pt x="176" y="660"/>
                  </a:lnTo>
                  <a:lnTo>
                    <a:pt x="182" y="663"/>
                  </a:lnTo>
                  <a:lnTo>
                    <a:pt x="188" y="665"/>
                  </a:lnTo>
                  <a:lnTo>
                    <a:pt x="193" y="667"/>
                  </a:lnTo>
                  <a:lnTo>
                    <a:pt x="199" y="669"/>
                  </a:lnTo>
                  <a:lnTo>
                    <a:pt x="209" y="667"/>
                  </a:lnTo>
                  <a:lnTo>
                    <a:pt x="219" y="666"/>
                  </a:lnTo>
                  <a:lnTo>
                    <a:pt x="227" y="664"/>
                  </a:lnTo>
                  <a:lnTo>
                    <a:pt x="235" y="664"/>
                  </a:lnTo>
                  <a:lnTo>
                    <a:pt x="242" y="662"/>
                  </a:lnTo>
                  <a:lnTo>
                    <a:pt x="253" y="657"/>
                  </a:lnTo>
                  <a:lnTo>
                    <a:pt x="263" y="653"/>
                  </a:lnTo>
                  <a:lnTo>
                    <a:pt x="270" y="651"/>
                  </a:lnTo>
                  <a:lnTo>
                    <a:pt x="275" y="642"/>
                  </a:lnTo>
                  <a:lnTo>
                    <a:pt x="276" y="631"/>
                  </a:lnTo>
                  <a:lnTo>
                    <a:pt x="279" y="619"/>
                  </a:lnTo>
                  <a:lnTo>
                    <a:pt x="282" y="608"/>
                  </a:lnTo>
                  <a:lnTo>
                    <a:pt x="284" y="597"/>
                  </a:lnTo>
                  <a:lnTo>
                    <a:pt x="284" y="587"/>
                  </a:lnTo>
                  <a:lnTo>
                    <a:pt x="285" y="573"/>
                  </a:lnTo>
                  <a:lnTo>
                    <a:pt x="286" y="565"/>
                  </a:lnTo>
                  <a:lnTo>
                    <a:pt x="287" y="559"/>
                  </a:lnTo>
                  <a:lnTo>
                    <a:pt x="288" y="557"/>
                  </a:lnTo>
                  <a:lnTo>
                    <a:pt x="289" y="555"/>
                  </a:lnTo>
                  <a:lnTo>
                    <a:pt x="290" y="554"/>
                  </a:lnTo>
                  <a:lnTo>
                    <a:pt x="293" y="554"/>
                  </a:lnTo>
                  <a:lnTo>
                    <a:pt x="293" y="540"/>
                  </a:lnTo>
                  <a:lnTo>
                    <a:pt x="299" y="531"/>
                  </a:lnTo>
                  <a:lnTo>
                    <a:pt x="308" y="521"/>
                  </a:lnTo>
                  <a:lnTo>
                    <a:pt x="318" y="508"/>
                  </a:lnTo>
                  <a:lnTo>
                    <a:pt x="327" y="494"/>
                  </a:lnTo>
                  <a:lnTo>
                    <a:pt x="336" y="480"/>
                  </a:lnTo>
                  <a:lnTo>
                    <a:pt x="343" y="467"/>
                  </a:lnTo>
                  <a:lnTo>
                    <a:pt x="346" y="460"/>
                  </a:lnTo>
                  <a:lnTo>
                    <a:pt x="349" y="453"/>
                  </a:lnTo>
                  <a:lnTo>
                    <a:pt x="350" y="448"/>
                  </a:lnTo>
                  <a:lnTo>
                    <a:pt x="350" y="442"/>
                  </a:lnTo>
                  <a:lnTo>
                    <a:pt x="359" y="439"/>
                  </a:lnTo>
                  <a:lnTo>
                    <a:pt x="360" y="431"/>
                  </a:lnTo>
                  <a:lnTo>
                    <a:pt x="361" y="424"/>
                  </a:lnTo>
                  <a:lnTo>
                    <a:pt x="363" y="416"/>
                  </a:lnTo>
                  <a:lnTo>
                    <a:pt x="365" y="410"/>
                  </a:lnTo>
                  <a:lnTo>
                    <a:pt x="370" y="394"/>
                  </a:lnTo>
                  <a:lnTo>
                    <a:pt x="372" y="381"/>
                  </a:lnTo>
                  <a:lnTo>
                    <a:pt x="371" y="373"/>
                  </a:lnTo>
                  <a:lnTo>
                    <a:pt x="370" y="364"/>
                  </a:lnTo>
                  <a:lnTo>
                    <a:pt x="368" y="356"/>
                  </a:lnTo>
                  <a:lnTo>
                    <a:pt x="364" y="348"/>
                  </a:lnTo>
                  <a:lnTo>
                    <a:pt x="360" y="342"/>
                  </a:lnTo>
                  <a:lnTo>
                    <a:pt x="355" y="335"/>
                  </a:lnTo>
                  <a:lnTo>
                    <a:pt x="351" y="328"/>
                  </a:lnTo>
                  <a:lnTo>
                    <a:pt x="345" y="323"/>
                  </a:lnTo>
                  <a:lnTo>
                    <a:pt x="345" y="314"/>
                  </a:lnTo>
                  <a:lnTo>
                    <a:pt x="344" y="314"/>
                  </a:lnTo>
                  <a:lnTo>
                    <a:pt x="342" y="311"/>
                  </a:lnTo>
                  <a:lnTo>
                    <a:pt x="341" y="309"/>
                  </a:lnTo>
                  <a:lnTo>
                    <a:pt x="340" y="305"/>
                  </a:lnTo>
                  <a:lnTo>
                    <a:pt x="337" y="296"/>
                  </a:lnTo>
                  <a:lnTo>
                    <a:pt x="335" y="285"/>
                  </a:lnTo>
                  <a:lnTo>
                    <a:pt x="333" y="262"/>
                  </a:lnTo>
                  <a:lnTo>
                    <a:pt x="332" y="248"/>
                  </a:lnTo>
                  <a:lnTo>
                    <a:pt x="332" y="169"/>
                  </a:lnTo>
                  <a:lnTo>
                    <a:pt x="330" y="167"/>
                  </a:lnTo>
                  <a:lnTo>
                    <a:pt x="328" y="165"/>
                  </a:lnTo>
                  <a:lnTo>
                    <a:pt x="327" y="163"/>
                  </a:lnTo>
                  <a:lnTo>
                    <a:pt x="327" y="160"/>
                  </a:lnTo>
                  <a:lnTo>
                    <a:pt x="323" y="154"/>
                  </a:lnTo>
                  <a:lnTo>
                    <a:pt x="317" y="148"/>
                  </a:lnTo>
                  <a:lnTo>
                    <a:pt x="312" y="142"/>
                  </a:lnTo>
                  <a:lnTo>
                    <a:pt x="309" y="137"/>
                  </a:lnTo>
                  <a:lnTo>
                    <a:pt x="305" y="135"/>
                  </a:lnTo>
                  <a:lnTo>
                    <a:pt x="299" y="129"/>
                  </a:lnTo>
                  <a:lnTo>
                    <a:pt x="294" y="124"/>
                  </a:lnTo>
                  <a:lnTo>
                    <a:pt x="293" y="119"/>
                  </a:lnTo>
                  <a:lnTo>
                    <a:pt x="284" y="115"/>
                  </a:lnTo>
                  <a:lnTo>
                    <a:pt x="279" y="111"/>
                  </a:lnTo>
                  <a:lnTo>
                    <a:pt x="279" y="102"/>
                  </a:lnTo>
                  <a:lnTo>
                    <a:pt x="270" y="102"/>
                  </a:lnTo>
                  <a:lnTo>
                    <a:pt x="268" y="98"/>
                  </a:lnTo>
                  <a:lnTo>
                    <a:pt x="265" y="96"/>
                  </a:lnTo>
                  <a:lnTo>
                    <a:pt x="260" y="94"/>
                  </a:lnTo>
                  <a:lnTo>
                    <a:pt x="257" y="93"/>
                  </a:lnTo>
                  <a:lnTo>
                    <a:pt x="253" y="88"/>
                  </a:lnTo>
                  <a:lnTo>
                    <a:pt x="251" y="85"/>
                  </a:lnTo>
                  <a:lnTo>
                    <a:pt x="249" y="83"/>
                  </a:lnTo>
                  <a:lnTo>
                    <a:pt x="247" y="80"/>
                  </a:lnTo>
                  <a:lnTo>
                    <a:pt x="244" y="79"/>
                  </a:lnTo>
                  <a:lnTo>
                    <a:pt x="241" y="70"/>
                  </a:lnTo>
                  <a:lnTo>
                    <a:pt x="239" y="61"/>
                  </a:lnTo>
                  <a:lnTo>
                    <a:pt x="237" y="60"/>
                  </a:lnTo>
                  <a:lnTo>
                    <a:pt x="236" y="58"/>
                  </a:lnTo>
                  <a:lnTo>
                    <a:pt x="235" y="55"/>
                  </a:lnTo>
                  <a:lnTo>
                    <a:pt x="234" y="49"/>
                  </a:lnTo>
                  <a:lnTo>
                    <a:pt x="231" y="39"/>
                  </a:lnTo>
                  <a:lnTo>
                    <a:pt x="230" y="31"/>
                  </a:lnTo>
                  <a:lnTo>
                    <a:pt x="229" y="30"/>
                  </a:lnTo>
                  <a:lnTo>
                    <a:pt x="228" y="29"/>
                  </a:lnTo>
                  <a:lnTo>
                    <a:pt x="227" y="28"/>
                  </a:lnTo>
                  <a:lnTo>
                    <a:pt x="227" y="26"/>
                  </a:lnTo>
                  <a:lnTo>
                    <a:pt x="226" y="21"/>
                  </a:lnTo>
                  <a:lnTo>
                    <a:pt x="226" y="18"/>
                  </a:lnTo>
                  <a:lnTo>
                    <a:pt x="221" y="13"/>
                  </a:lnTo>
                  <a:lnTo>
                    <a:pt x="217" y="9"/>
                  </a:lnTo>
                  <a:lnTo>
                    <a:pt x="213" y="9"/>
                  </a:lnTo>
                  <a:lnTo>
                    <a:pt x="209" y="8"/>
                  </a:lnTo>
                  <a:lnTo>
                    <a:pt x="201" y="4"/>
                  </a:lnTo>
                  <a:lnTo>
                    <a:pt x="19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5" name="Freeform 31"/>
            <p:cNvSpPr>
              <a:spLocks noChangeAspect="1"/>
            </p:cNvSpPr>
            <p:nvPr/>
          </p:nvSpPr>
          <p:spPr bwMode="gray">
            <a:xfrm rot="355651">
              <a:off x="5260052" y="2917825"/>
              <a:ext cx="201012" cy="212921"/>
            </a:xfrm>
            <a:custGeom>
              <a:avLst/>
              <a:gdLst/>
              <a:ahLst/>
              <a:cxnLst>
                <a:cxn ang="0">
                  <a:pos x="412" y="24"/>
                </a:cxn>
                <a:cxn ang="0">
                  <a:pos x="356" y="85"/>
                </a:cxn>
                <a:cxn ang="0">
                  <a:pos x="295" y="114"/>
                </a:cxn>
                <a:cxn ang="0">
                  <a:pos x="195" y="100"/>
                </a:cxn>
                <a:cxn ang="0">
                  <a:pos x="116" y="92"/>
                </a:cxn>
                <a:cxn ang="0">
                  <a:pos x="84" y="115"/>
                </a:cxn>
                <a:cxn ang="0">
                  <a:pos x="56" y="149"/>
                </a:cxn>
                <a:cxn ang="0">
                  <a:pos x="55" y="216"/>
                </a:cxn>
                <a:cxn ang="0">
                  <a:pos x="0" y="386"/>
                </a:cxn>
                <a:cxn ang="0">
                  <a:pos x="38" y="414"/>
                </a:cxn>
                <a:cxn ang="0">
                  <a:pos x="93" y="479"/>
                </a:cxn>
                <a:cxn ang="0">
                  <a:pos x="24" y="540"/>
                </a:cxn>
                <a:cxn ang="0">
                  <a:pos x="39" y="579"/>
                </a:cxn>
                <a:cxn ang="0">
                  <a:pos x="70" y="560"/>
                </a:cxn>
                <a:cxn ang="0">
                  <a:pos x="124" y="538"/>
                </a:cxn>
                <a:cxn ang="0">
                  <a:pos x="193" y="537"/>
                </a:cxn>
                <a:cxn ang="0">
                  <a:pos x="303" y="606"/>
                </a:cxn>
                <a:cxn ang="0">
                  <a:pos x="342" y="638"/>
                </a:cxn>
                <a:cxn ang="0">
                  <a:pos x="366" y="648"/>
                </a:cxn>
                <a:cxn ang="0">
                  <a:pos x="399" y="678"/>
                </a:cxn>
                <a:cxn ang="0">
                  <a:pos x="413" y="735"/>
                </a:cxn>
                <a:cxn ang="0">
                  <a:pos x="437" y="963"/>
                </a:cxn>
                <a:cxn ang="0">
                  <a:pos x="437" y="1028"/>
                </a:cxn>
                <a:cxn ang="0">
                  <a:pos x="390" y="1088"/>
                </a:cxn>
                <a:cxn ang="0">
                  <a:pos x="372" y="1100"/>
                </a:cxn>
                <a:cxn ang="0">
                  <a:pos x="349" y="1136"/>
                </a:cxn>
                <a:cxn ang="0">
                  <a:pos x="382" y="1178"/>
                </a:cxn>
                <a:cxn ang="0">
                  <a:pos x="419" y="1189"/>
                </a:cxn>
                <a:cxn ang="0">
                  <a:pos x="449" y="1136"/>
                </a:cxn>
                <a:cxn ang="0">
                  <a:pos x="470" y="1124"/>
                </a:cxn>
                <a:cxn ang="0">
                  <a:pos x="565" y="1158"/>
                </a:cxn>
                <a:cxn ang="0">
                  <a:pos x="581" y="1189"/>
                </a:cxn>
                <a:cxn ang="0">
                  <a:pos x="606" y="1229"/>
                </a:cxn>
                <a:cxn ang="0">
                  <a:pos x="642" y="1274"/>
                </a:cxn>
                <a:cxn ang="0">
                  <a:pos x="714" y="1290"/>
                </a:cxn>
                <a:cxn ang="0">
                  <a:pos x="835" y="1288"/>
                </a:cxn>
                <a:cxn ang="0">
                  <a:pos x="1091" y="1313"/>
                </a:cxn>
                <a:cxn ang="0">
                  <a:pos x="1013" y="1244"/>
                </a:cxn>
                <a:cxn ang="0">
                  <a:pos x="983" y="1229"/>
                </a:cxn>
                <a:cxn ang="0">
                  <a:pos x="951" y="1150"/>
                </a:cxn>
                <a:cxn ang="0">
                  <a:pos x="934" y="1095"/>
                </a:cxn>
                <a:cxn ang="0">
                  <a:pos x="916" y="1033"/>
                </a:cxn>
                <a:cxn ang="0">
                  <a:pos x="906" y="1003"/>
                </a:cxn>
                <a:cxn ang="0">
                  <a:pos x="867" y="927"/>
                </a:cxn>
                <a:cxn ang="0">
                  <a:pos x="793" y="894"/>
                </a:cxn>
                <a:cxn ang="0">
                  <a:pos x="758" y="873"/>
                </a:cxn>
                <a:cxn ang="0">
                  <a:pos x="721" y="802"/>
                </a:cxn>
                <a:cxn ang="0">
                  <a:pos x="739" y="721"/>
                </a:cxn>
                <a:cxn ang="0">
                  <a:pos x="748" y="647"/>
                </a:cxn>
                <a:cxn ang="0">
                  <a:pos x="736" y="539"/>
                </a:cxn>
                <a:cxn ang="0">
                  <a:pos x="673" y="525"/>
                </a:cxn>
                <a:cxn ang="0">
                  <a:pos x="619" y="502"/>
                </a:cxn>
                <a:cxn ang="0">
                  <a:pos x="593" y="489"/>
                </a:cxn>
                <a:cxn ang="0">
                  <a:pos x="574" y="477"/>
                </a:cxn>
                <a:cxn ang="0">
                  <a:pos x="522" y="408"/>
                </a:cxn>
                <a:cxn ang="0">
                  <a:pos x="550" y="376"/>
                </a:cxn>
                <a:cxn ang="0">
                  <a:pos x="563" y="352"/>
                </a:cxn>
                <a:cxn ang="0">
                  <a:pos x="574" y="333"/>
                </a:cxn>
                <a:cxn ang="0">
                  <a:pos x="587" y="258"/>
                </a:cxn>
                <a:cxn ang="0">
                  <a:pos x="577" y="192"/>
                </a:cxn>
                <a:cxn ang="0">
                  <a:pos x="560" y="175"/>
                </a:cxn>
                <a:cxn ang="0">
                  <a:pos x="534" y="134"/>
                </a:cxn>
                <a:cxn ang="0">
                  <a:pos x="548" y="41"/>
                </a:cxn>
              </a:cxnLst>
              <a:rect l="0" t="0" r="r" b="b"/>
              <a:pathLst>
                <a:path w="1091" h="1313">
                  <a:moveTo>
                    <a:pt x="457" y="0"/>
                  </a:moveTo>
                  <a:lnTo>
                    <a:pt x="452" y="0"/>
                  </a:lnTo>
                  <a:lnTo>
                    <a:pt x="446" y="2"/>
                  </a:lnTo>
                  <a:lnTo>
                    <a:pt x="439" y="5"/>
                  </a:lnTo>
                  <a:lnTo>
                    <a:pt x="430" y="9"/>
                  </a:lnTo>
                  <a:lnTo>
                    <a:pt x="423" y="14"/>
                  </a:lnTo>
                  <a:lnTo>
                    <a:pt x="417" y="19"/>
                  </a:lnTo>
                  <a:lnTo>
                    <a:pt x="413" y="22"/>
                  </a:lnTo>
                  <a:lnTo>
                    <a:pt x="412" y="24"/>
                  </a:lnTo>
                  <a:lnTo>
                    <a:pt x="411" y="28"/>
                  </a:lnTo>
                  <a:lnTo>
                    <a:pt x="410" y="30"/>
                  </a:lnTo>
                  <a:lnTo>
                    <a:pt x="399" y="34"/>
                  </a:lnTo>
                  <a:lnTo>
                    <a:pt x="387" y="38"/>
                  </a:lnTo>
                  <a:lnTo>
                    <a:pt x="380" y="46"/>
                  </a:lnTo>
                  <a:lnTo>
                    <a:pt x="372" y="53"/>
                  </a:lnTo>
                  <a:lnTo>
                    <a:pt x="372" y="69"/>
                  </a:lnTo>
                  <a:lnTo>
                    <a:pt x="356" y="69"/>
                  </a:lnTo>
                  <a:lnTo>
                    <a:pt x="356" y="85"/>
                  </a:lnTo>
                  <a:lnTo>
                    <a:pt x="349" y="92"/>
                  </a:lnTo>
                  <a:lnTo>
                    <a:pt x="341" y="100"/>
                  </a:lnTo>
                  <a:lnTo>
                    <a:pt x="333" y="108"/>
                  </a:lnTo>
                  <a:lnTo>
                    <a:pt x="322" y="108"/>
                  </a:lnTo>
                  <a:lnTo>
                    <a:pt x="310" y="108"/>
                  </a:lnTo>
                  <a:lnTo>
                    <a:pt x="308" y="110"/>
                  </a:lnTo>
                  <a:lnTo>
                    <a:pt x="306" y="112"/>
                  </a:lnTo>
                  <a:lnTo>
                    <a:pt x="302" y="114"/>
                  </a:lnTo>
                  <a:lnTo>
                    <a:pt x="295" y="114"/>
                  </a:lnTo>
                  <a:lnTo>
                    <a:pt x="281" y="115"/>
                  </a:lnTo>
                  <a:lnTo>
                    <a:pt x="264" y="114"/>
                  </a:lnTo>
                  <a:lnTo>
                    <a:pt x="231" y="110"/>
                  </a:lnTo>
                  <a:lnTo>
                    <a:pt x="217" y="108"/>
                  </a:lnTo>
                  <a:lnTo>
                    <a:pt x="216" y="105"/>
                  </a:lnTo>
                  <a:lnTo>
                    <a:pt x="214" y="104"/>
                  </a:lnTo>
                  <a:lnTo>
                    <a:pt x="209" y="101"/>
                  </a:lnTo>
                  <a:lnTo>
                    <a:pt x="205" y="101"/>
                  </a:lnTo>
                  <a:lnTo>
                    <a:pt x="195" y="100"/>
                  </a:lnTo>
                  <a:lnTo>
                    <a:pt x="186" y="100"/>
                  </a:lnTo>
                  <a:lnTo>
                    <a:pt x="186" y="98"/>
                  </a:lnTo>
                  <a:lnTo>
                    <a:pt x="183" y="97"/>
                  </a:lnTo>
                  <a:lnTo>
                    <a:pt x="180" y="96"/>
                  </a:lnTo>
                  <a:lnTo>
                    <a:pt x="177" y="96"/>
                  </a:lnTo>
                  <a:lnTo>
                    <a:pt x="167" y="94"/>
                  </a:lnTo>
                  <a:lnTo>
                    <a:pt x="154" y="94"/>
                  </a:lnTo>
                  <a:lnTo>
                    <a:pt x="131" y="92"/>
                  </a:lnTo>
                  <a:lnTo>
                    <a:pt x="116" y="92"/>
                  </a:lnTo>
                  <a:lnTo>
                    <a:pt x="115" y="95"/>
                  </a:lnTo>
                  <a:lnTo>
                    <a:pt x="114" y="97"/>
                  </a:lnTo>
                  <a:lnTo>
                    <a:pt x="111" y="98"/>
                  </a:lnTo>
                  <a:lnTo>
                    <a:pt x="107" y="99"/>
                  </a:lnTo>
                  <a:lnTo>
                    <a:pt x="100" y="100"/>
                  </a:lnTo>
                  <a:lnTo>
                    <a:pt x="93" y="100"/>
                  </a:lnTo>
                  <a:lnTo>
                    <a:pt x="85" y="108"/>
                  </a:lnTo>
                  <a:lnTo>
                    <a:pt x="85" y="112"/>
                  </a:lnTo>
                  <a:lnTo>
                    <a:pt x="84" y="115"/>
                  </a:lnTo>
                  <a:lnTo>
                    <a:pt x="83" y="115"/>
                  </a:lnTo>
                  <a:lnTo>
                    <a:pt x="82" y="116"/>
                  </a:lnTo>
                  <a:lnTo>
                    <a:pt x="81" y="116"/>
                  </a:lnTo>
                  <a:lnTo>
                    <a:pt x="80" y="116"/>
                  </a:lnTo>
                  <a:lnTo>
                    <a:pt x="78" y="118"/>
                  </a:lnTo>
                  <a:lnTo>
                    <a:pt x="78" y="123"/>
                  </a:lnTo>
                  <a:lnTo>
                    <a:pt x="63" y="123"/>
                  </a:lnTo>
                  <a:lnTo>
                    <a:pt x="55" y="130"/>
                  </a:lnTo>
                  <a:lnTo>
                    <a:pt x="56" y="149"/>
                  </a:lnTo>
                  <a:lnTo>
                    <a:pt x="58" y="168"/>
                  </a:lnTo>
                  <a:lnTo>
                    <a:pt x="62" y="186"/>
                  </a:lnTo>
                  <a:lnTo>
                    <a:pt x="63" y="201"/>
                  </a:lnTo>
                  <a:lnTo>
                    <a:pt x="59" y="201"/>
                  </a:lnTo>
                  <a:lnTo>
                    <a:pt x="58" y="202"/>
                  </a:lnTo>
                  <a:lnTo>
                    <a:pt x="56" y="203"/>
                  </a:lnTo>
                  <a:lnTo>
                    <a:pt x="56" y="205"/>
                  </a:lnTo>
                  <a:lnTo>
                    <a:pt x="55" y="210"/>
                  </a:lnTo>
                  <a:lnTo>
                    <a:pt x="55" y="216"/>
                  </a:lnTo>
                  <a:lnTo>
                    <a:pt x="32" y="216"/>
                  </a:lnTo>
                  <a:lnTo>
                    <a:pt x="24" y="223"/>
                  </a:lnTo>
                  <a:lnTo>
                    <a:pt x="16" y="231"/>
                  </a:lnTo>
                  <a:lnTo>
                    <a:pt x="8" y="239"/>
                  </a:lnTo>
                  <a:lnTo>
                    <a:pt x="0" y="246"/>
                  </a:lnTo>
                  <a:lnTo>
                    <a:pt x="0" y="279"/>
                  </a:lnTo>
                  <a:lnTo>
                    <a:pt x="0" y="317"/>
                  </a:lnTo>
                  <a:lnTo>
                    <a:pt x="0" y="354"/>
                  </a:lnTo>
                  <a:lnTo>
                    <a:pt x="0" y="386"/>
                  </a:lnTo>
                  <a:lnTo>
                    <a:pt x="8" y="394"/>
                  </a:lnTo>
                  <a:lnTo>
                    <a:pt x="24" y="394"/>
                  </a:lnTo>
                  <a:lnTo>
                    <a:pt x="25" y="398"/>
                  </a:lnTo>
                  <a:lnTo>
                    <a:pt x="26" y="403"/>
                  </a:lnTo>
                  <a:lnTo>
                    <a:pt x="28" y="406"/>
                  </a:lnTo>
                  <a:lnTo>
                    <a:pt x="32" y="408"/>
                  </a:lnTo>
                  <a:lnTo>
                    <a:pt x="34" y="410"/>
                  </a:lnTo>
                  <a:lnTo>
                    <a:pt x="37" y="412"/>
                  </a:lnTo>
                  <a:lnTo>
                    <a:pt x="38" y="414"/>
                  </a:lnTo>
                  <a:lnTo>
                    <a:pt x="39" y="417"/>
                  </a:lnTo>
                  <a:lnTo>
                    <a:pt x="55" y="421"/>
                  </a:lnTo>
                  <a:lnTo>
                    <a:pt x="71" y="425"/>
                  </a:lnTo>
                  <a:lnTo>
                    <a:pt x="71" y="440"/>
                  </a:lnTo>
                  <a:lnTo>
                    <a:pt x="85" y="440"/>
                  </a:lnTo>
                  <a:lnTo>
                    <a:pt x="93" y="447"/>
                  </a:lnTo>
                  <a:lnTo>
                    <a:pt x="93" y="456"/>
                  </a:lnTo>
                  <a:lnTo>
                    <a:pt x="93" y="467"/>
                  </a:lnTo>
                  <a:lnTo>
                    <a:pt x="93" y="479"/>
                  </a:lnTo>
                  <a:lnTo>
                    <a:pt x="93" y="486"/>
                  </a:lnTo>
                  <a:lnTo>
                    <a:pt x="85" y="494"/>
                  </a:lnTo>
                  <a:lnTo>
                    <a:pt x="78" y="502"/>
                  </a:lnTo>
                  <a:lnTo>
                    <a:pt x="71" y="510"/>
                  </a:lnTo>
                  <a:lnTo>
                    <a:pt x="63" y="518"/>
                  </a:lnTo>
                  <a:lnTo>
                    <a:pt x="55" y="525"/>
                  </a:lnTo>
                  <a:lnTo>
                    <a:pt x="39" y="525"/>
                  </a:lnTo>
                  <a:lnTo>
                    <a:pt x="32" y="532"/>
                  </a:lnTo>
                  <a:lnTo>
                    <a:pt x="24" y="540"/>
                  </a:lnTo>
                  <a:lnTo>
                    <a:pt x="24" y="556"/>
                  </a:lnTo>
                  <a:lnTo>
                    <a:pt x="22" y="557"/>
                  </a:lnTo>
                  <a:lnTo>
                    <a:pt x="19" y="557"/>
                  </a:lnTo>
                  <a:lnTo>
                    <a:pt x="18" y="559"/>
                  </a:lnTo>
                  <a:lnTo>
                    <a:pt x="17" y="561"/>
                  </a:lnTo>
                  <a:lnTo>
                    <a:pt x="16" y="566"/>
                  </a:lnTo>
                  <a:lnTo>
                    <a:pt x="16" y="571"/>
                  </a:lnTo>
                  <a:lnTo>
                    <a:pt x="24" y="579"/>
                  </a:lnTo>
                  <a:lnTo>
                    <a:pt x="39" y="579"/>
                  </a:lnTo>
                  <a:lnTo>
                    <a:pt x="55" y="579"/>
                  </a:lnTo>
                  <a:lnTo>
                    <a:pt x="63" y="571"/>
                  </a:lnTo>
                  <a:lnTo>
                    <a:pt x="63" y="567"/>
                  </a:lnTo>
                  <a:lnTo>
                    <a:pt x="64" y="565"/>
                  </a:lnTo>
                  <a:lnTo>
                    <a:pt x="65" y="563"/>
                  </a:lnTo>
                  <a:lnTo>
                    <a:pt x="66" y="563"/>
                  </a:lnTo>
                  <a:lnTo>
                    <a:pt x="67" y="563"/>
                  </a:lnTo>
                  <a:lnTo>
                    <a:pt x="68" y="562"/>
                  </a:lnTo>
                  <a:lnTo>
                    <a:pt x="70" y="560"/>
                  </a:lnTo>
                  <a:lnTo>
                    <a:pt x="71" y="556"/>
                  </a:lnTo>
                  <a:lnTo>
                    <a:pt x="85" y="556"/>
                  </a:lnTo>
                  <a:lnTo>
                    <a:pt x="87" y="553"/>
                  </a:lnTo>
                  <a:lnTo>
                    <a:pt x="91" y="550"/>
                  </a:lnTo>
                  <a:lnTo>
                    <a:pt x="96" y="548"/>
                  </a:lnTo>
                  <a:lnTo>
                    <a:pt x="102" y="546"/>
                  </a:lnTo>
                  <a:lnTo>
                    <a:pt x="115" y="542"/>
                  </a:lnTo>
                  <a:lnTo>
                    <a:pt x="124" y="540"/>
                  </a:lnTo>
                  <a:lnTo>
                    <a:pt x="124" y="538"/>
                  </a:lnTo>
                  <a:lnTo>
                    <a:pt x="125" y="535"/>
                  </a:lnTo>
                  <a:lnTo>
                    <a:pt x="128" y="533"/>
                  </a:lnTo>
                  <a:lnTo>
                    <a:pt x="130" y="532"/>
                  </a:lnTo>
                  <a:lnTo>
                    <a:pt x="138" y="530"/>
                  </a:lnTo>
                  <a:lnTo>
                    <a:pt x="147" y="530"/>
                  </a:lnTo>
                  <a:lnTo>
                    <a:pt x="157" y="530"/>
                  </a:lnTo>
                  <a:lnTo>
                    <a:pt x="168" y="532"/>
                  </a:lnTo>
                  <a:lnTo>
                    <a:pt x="181" y="534"/>
                  </a:lnTo>
                  <a:lnTo>
                    <a:pt x="193" y="537"/>
                  </a:lnTo>
                  <a:lnTo>
                    <a:pt x="241" y="549"/>
                  </a:lnTo>
                  <a:lnTo>
                    <a:pt x="264" y="556"/>
                  </a:lnTo>
                  <a:lnTo>
                    <a:pt x="264" y="571"/>
                  </a:lnTo>
                  <a:lnTo>
                    <a:pt x="279" y="571"/>
                  </a:lnTo>
                  <a:lnTo>
                    <a:pt x="286" y="579"/>
                  </a:lnTo>
                  <a:lnTo>
                    <a:pt x="294" y="587"/>
                  </a:lnTo>
                  <a:lnTo>
                    <a:pt x="294" y="602"/>
                  </a:lnTo>
                  <a:lnTo>
                    <a:pt x="298" y="604"/>
                  </a:lnTo>
                  <a:lnTo>
                    <a:pt x="303" y="606"/>
                  </a:lnTo>
                  <a:lnTo>
                    <a:pt x="307" y="610"/>
                  </a:lnTo>
                  <a:lnTo>
                    <a:pt x="313" y="615"/>
                  </a:lnTo>
                  <a:lnTo>
                    <a:pt x="317" y="620"/>
                  </a:lnTo>
                  <a:lnTo>
                    <a:pt x="322" y="625"/>
                  </a:lnTo>
                  <a:lnTo>
                    <a:pt x="324" y="629"/>
                  </a:lnTo>
                  <a:lnTo>
                    <a:pt x="325" y="633"/>
                  </a:lnTo>
                  <a:lnTo>
                    <a:pt x="341" y="633"/>
                  </a:lnTo>
                  <a:lnTo>
                    <a:pt x="341" y="636"/>
                  </a:lnTo>
                  <a:lnTo>
                    <a:pt x="342" y="638"/>
                  </a:lnTo>
                  <a:lnTo>
                    <a:pt x="343" y="639"/>
                  </a:lnTo>
                  <a:lnTo>
                    <a:pt x="345" y="640"/>
                  </a:lnTo>
                  <a:lnTo>
                    <a:pt x="351" y="640"/>
                  </a:lnTo>
                  <a:lnTo>
                    <a:pt x="356" y="640"/>
                  </a:lnTo>
                  <a:lnTo>
                    <a:pt x="356" y="644"/>
                  </a:lnTo>
                  <a:lnTo>
                    <a:pt x="358" y="645"/>
                  </a:lnTo>
                  <a:lnTo>
                    <a:pt x="359" y="647"/>
                  </a:lnTo>
                  <a:lnTo>
                    <a:pt x="361" y="647"/>
                  </a:lnTo>
                  <a:lnTo>
                    <a:pt x="366" y="648"/>
                  </a:lnTo>
                  <a:lnTo>
                    <a:pt x="372" y="648"/>
                  </a:lnTo>
                  <a:lnTo>
                    <a:pt x="380" y="656"/>
                  </a:lnTo>
                  <a:lnTo>
                    <a:pt x="380" y="659"/>
                  </a:lnTo>
                  <a:lnTo>
                    <a:pt x="382" y="663"/>
                  </a:lnTo>
                  <a:lnTo>
                    <a:pt x="384" y="667"/>
                  </a:lnTo>
                  <a:lnTo>
                    <a:pt x="388" y="671"/>
                  </a:lnTo>
                  <a:lnTo>
                    <a:pt x="392" y="674"/>
                  </a:lnTo>
                  <a:lnTo>
                    <a:pt x="395" y="677"/>
                  </a:lnTo>
                  <a:lnTo>
                    <a:pt x="399" y="678"/>
                  </a:lnTo>
                  <a:lnTo>
                    <a:pt x="402" y="679"/>
                  </a:lnTo>
                  <a:lnTo>
                    <a:pt x="402" y="695"/>
                  </a:lnTo>
                  <a:lnTo>
                    <a:pt x="406" y="696"/>
                  </a:lnTo>
                  <a:lnTo>
                    <a:pt x="407" y="700"/>
                  </a:lnTo>
                  <a:lnTo>
                    <a:pt x="409" y="705"/>
                  </a:lnTo>
                  <a:lnTo>
                    <a:pt x="409" y="712"/>
                  </a:lnTo>
                  <a:lnTo>
                    <a:pt x="410" y="724"/>
                  </a:lnTo>
                  <a:lnTo>
                    <a:pt x="410" y="734"/>
                  </a:lnTo>
                  <a:lnTo>
                    <a:pt x="413" y="735"/>
                  </a:lnTo>
                  <a:lnTo>
                    <a:pt x="414" y="740"/>
                  </a:lnTo>
                  <a:lnTo>
                    <a:pt x="416" y="746"/>
                  </a:lnTo>
                  <a:lnTo>
                    <a:pt x="417" y="754"/>
                  </a:lnTo>
                  <a:lnTo>
                    <a:pt x="418" y="770"/>
                  </a:lnTo>
                  <a:lnTo>
                    <a:pt x="418" y="780"/>
                  </a:lnTo>
                  <a:lnTo>
                    <a:pt x="433" y="957"/>
                  </a:lnTo>
                  <a:lnTo>
                    <a:pt x="435" y="958"/>
                  </a:lnTo>
                  <a:lnTo>
                    <a:pt x="436" y="960"/>
                  </a:lnTo>
                  <a:lnTo>
                    <a:pt x="437" y="963"/>
                  </a:lnTo>
                  <a:lnTo>
                    <a:pt x="438" y="966"/>
                  </a:lnTo>
                  <a:lnTo>
                    <a:pt x="439" y="975"/>
                  </a:lnTo>
                  <a:lnTo>
                    <a:pt x="440" y="985"/>
                  </a:lnTo>
                  <a:lnTo>
                    <a:pt x="441" y="1006"/>
                  </a:lnTo>
                  <a:lnTo>
                    <a:pt x="441" y="1020"/>
                  </a:lnTo>
                  <a:lnTo>
                    <a:pt x="440" y="1020"/>
                  </a:lnTo>
                  <a:lnTo>
                    <a:pt x="439" y="1022"/>
                  </a:lnTo>
                  <a:lnTo>
                    <a:pt x="438" y="1024"/>
                  </a:lnTo>
                  <a:lnTo>
                    <a:pt x="437" y="1028"/>
                  </a:lnTo>
                  <a:lnTo>
                    <a:pt x="436" y="1037"/>
                  </a:lnTo>
                  <a:lnTo>
                    <a:pt x="435" y="1048"/>
                  </a:lnTo>
                  <a:lnTo>
                    <a:pt x="433" y="1069"/>
                  </a:lnTo>
                  <a:lnTo>
                    <a:pt x="433" y="1081"/>
                  </a:lnTo>
                  <a:lnTo>
                    <a:pt x="394" y="1081"/>
                  </a:lnTo>
                  <a:lnTo>
                    <a:pt x="394" y="1083"/>
                  </a:lnTo>
                  <a:lnTo>
                    <a:pt x="393" y="1086"/>
                  </a:lnTo>
                  <a:lnTo>
                    <a:pt x="392" y="1087"/>
                  </a:lnTo>
                  <a:lnTo>
                    <a:pt x="390" y="1088"/>
                  </a:lnTo>
                  <a:lnTo>
                    <a:pt x="385" y="1089"/>
                  </a:lnTo>
                  <a:lnTo>
                    <a:pt x="380" y="1089"/>
                  </a:lnTo>
                  <a:lnTo>
                    <a:pt x="379" y="1094"/>
                  </a:lnTo>
                  <a:lnTo>
                    <a:pt x="378" y="1096"/>
                  </a:lnTo>
                  <a:lnTo>
                    <a:pt x="377" y="1097"/>
                  </a:lnTo>
                  <a:lnTo>
                    <a:pt x="375" y="1097"/>
                  </a:lnTo>
                  <a:lnTo>
                    <a:pt x="374" y="1097"/>
                  </a:lnTo>
                  <a:lnTo>
                    <a:pt x="373" y="1098"/>
                  </a:lnTo>
                  <a:lnTo>
                    <a:pt x="372" y="1100"/>
                  </a:lnTo>
                  <a:lnTo>
                    <a:pt x="372" y="1105"/>
                  </a:lnTo>
                  <a:lnTo>
                    <a:pt x="356" y="1105"/>
                  </a:lnTo>
                  <a:lnTo>
                    <a:pt x="356" y="1120"/>
                  </a:lnTo>
                  <a:lnTo>
                    <a:pt x="353" y="1120"/>
                  </a:lnTo>
                  <a:lnTo>
                    <a:pt x="352" y="1121"/>
                  </a:lnTo>
                  <a:lnTo>
                    <a:pt x="351" y="1123"/>
                  </a:lnTo>
                  <a:lnTo>
                    <a:pt x="350" y="1125"/>
                  </a:lnTo>
                  <a:lnTo>
                    <a:pt x="349" y="1130"/>
                  </a:lnTo>
                  <a:lnTo>
                    <a:pt x="349" y="1136"/>
                  </a:lnTo>
                  <a:lnTo>
                    <a:pt x="346" y="1137"/>
                  </a:lnTo>
                  <a:lnTo>
                    <a:pt x="344" y="1140"/>
                  </a:lnTo>
                  <a:lnTo>
                    <a:pt x="343" y="1146"/>
                  </a:lnTo>
                  <a:lnTo>
                    <a:pt x="342" y="1152"/>
                  </a:lnTo>
                  <a:lnTo>
                    <a:pt x="341" y="1165"/>
                  </a:lnTo>
                  <a:lnTo>
                    <a:pt x="341" y="1174"/>
                  </a:lnTo>
                  <a:lnTo>
                    <a:pt x="380" y="1174"/>
                  </a:lnTo>
                  <a:lnTo>
                    <a:pt x="380" y="1177"/>
                  </a:lnTo>
                  <a:lnTo>
                    <a:pt x="382" y="1178"/>
                  </a:lnTo>
                  <a:lnTo>
                    <a:pt x="384" y="1179"/>
                  </a:lnTo>
                  <a:lnTo>
                    <a:pt x="388" y="1181"/>
                  </a:lnTo>
                  <a:lnTo>
                    <a:pt x="395" y="1182"/>
                  </a:lnTo>
                  <a:lnTo>
                    <a:pt x="402" y="1182"/>
                  </a:lnTo>
                  <a:lnTo>
                    <a:pt x="403" y="1184"/>
                  </a:lnTo>
                  <a:lnTo>
                    <a:pt x="406" y="1186"/>
                  </a:lnTo>
                  <a:lnTo>
                    <a:pt x="408" y="1187"/>
                  </a:lnTo>
                  <a:lnTo>
                    <a:pt x="411" y="1188"/>
                  </a:lnTo>
                  <a:lnTo>
                    <a:pt x="419" y="1189"/>
                  </a:lnTo>
                  <a:lnTo>
                    <a:pt x="426" y="1189"/>
                  </a:lnTo>
                  <a:lnTo>
                    <a:pt x="426" y="1166"/>
                  </a:lnTo>
                  <a:lnTo>
                    <a:pt x="428" y="1165"/>
                  </a:lnTo>
                  <a:lnTo>
                    <a:pt x="430" y="1163"/>
                  </a:lnTo>
                  <a:lnTo>
                    <a:pt x="431" y="1158"/>
                  </a:lnTo>
                  <a:lnTo>
                    <a:pt x="432" y="1154"/>
                  </a:lnTo>
                  <a:lnTo>
                    <a:pt x="433" y="1144"/>
                  </a:lnTo>
                  <a:lnTo>
                    <a:pt x="433" y="1136"/>
                  </a:lnTo>
                  <a:lnTo>
                    <a:pt x="449" y="1136"/>
                  </a:lnTo>
                  <a:lnTo>
                    <a:pt x="449" y="1133"/>
                  </a:lnTo>
                  <a:lnTo>
                    <a:pt x="450" y="1131"/>
                  </a:lnTo>
                  <a:lnTo>
                    <a:pt x="451" y="1129"/>
                  </a:lnTo>
                  <a:lnTo>
                    <a:pt x="454" y="1129"/>
                  </a:lnTo>
                  <a:lnTo>
                    <a:pt x="459" y="1128"/>
                  </a:lnTo>
                  <a:lnTo>
                    <a:pt x="465" y="1128"/>
                  </a:lnTo>
                  <a:lnTo>
                    <a:pt x="465" y="1126"/>
                  </a:lnTo>
                  <a:lnTo>
                    <a:pt x="467" y="1125"/>
                  </a:lnTo>
                  <a:lnTo>
                    <a:pt x="470" y="1124"/>
                  </a:lnTo>
                  <a:lnTo>
                    <a:pt x="476" y="1124"/>
                  </a:lnTo>
                  <a:lnTo>
                    <a:pt x="487" y="1121"/>
                  </a:lnTo>
                  <a:lnTo>
                    <a:pt x="500" y="1121"/>
                  </a:lnTo>
                  <a:lnTo>
                    <a:pt x="526" y="1120"/>
                  </a:lnTo>
                  <a:lnTo>
                    <a:pt x="542" y="1120"/>
                  </a:lnTo>
                  <a:lnTo>
                    <a:pt x="550" y="1128"/>
                  </a:lnTo>
                  <a:lnTo>
                    <a:pt x="557" y="1136"/>
                  </a:lnTo>
                  <a:lnTo>
                    <a:pt x="565" y="1144"/>
                  </a:lnTo>
                  <a:lnTo>
                    <a:pt x="565" y="1158"/>
                  </a:lnTo>
                  <a:lnTo>
                    <a:pt x="570" y="1159"/>
                  </a:lnTo>
                  <a:lnTo>
                    <a:pt x="572" y="1159"/>
                  </a:lnTo>
                  <a:lnTo>
                    <a:pt x="573" y="1162"/>
                  </a:lnTo>
                  <a:lnTo>
                    <a:pt x="573" y="1163"/>
                  </a:lnTo>
                  <a:lnTo>
                    <a:pt x="573" y="1164"/>
                  </a:lnTo>
                  <a:lnTo>
                    <a:pt x="574" y="1165"/>
                  </a:lnTo>
                  <a:lnTo>
                    <a:pt x="576" y="1166"/>
                  </a:lnTo>
                  <a:lnTo>
                    <a:pt x="581" y="1166"/>
                  </a:lnTo>
                  <a:lnTo>
                    <a:pt x="581" y="1189"/>
                  </a:lnTo>
                  <a:lnTo>
                    <a:pt x="595" y="1197"/>
                  </a:lnTo>
                  <a:lnTo>
                    <a:pt x="595" y="1213"/>
                  </a:lnTo>
                  <a:lnTo>
                    <a:pt x="599" y="1213"/>
                  </a:lnTo>
                  <a:lnTo>
                    <a:pt x="600" y="1214"/>
                  </a:lnTo>
                  <a:lnTo>
                    <a:pt x="602" y="1215"/>
                  </a:lnTo>
                  <a:lnTo>
                    <a:pt x="603" y="1217"/>
                  </a:lnTo>
                  <a:lnTo>
                    <a:pt x="603" y="1223"/>
                  </a:lnTo>
                  <a:lnTo>
                    <a:pt x="603" y="1229"/>
                  </a:lnTo>
                  <a:lnTo>
                    <a:pt x="606" y="1229"/>
                  </a:lnTo>
                  <a:lnTo>
                    <a:pt x="608" y="1230"/>
                  </a:lnTo>
                  <a:lnTo>
                    <a:pt x="610" y="1231"/>
                  </a:lnTo>
                  <a:lnTo>
                    <a:pt x="610" y="1233"/>
                  </a:lnTo>
                  <a:lnTo>
                    <a:pt x="611" y="1237"/>
                  </a:lnTo>
                  <a:lnTo>
                    <a:pt x="611" y="1244"/>
                  </a:lnTo>
                  <a:lnTo>
                    <a:pt x="627" y="1244"/>
                  </a:lnTo>
                  <a:lnTo>
                    <a:pt x="631" y="1255"/>
                  </a:lnTo>
                  <a:lnTo>
                    <a:pt x="634" y="1267"/>
                  </a:lnTo>
                  <a:lnTo>
                    <a:pt x="642" y="1274"/>
                  </a:lnTo>
                  <a:lnTo>
                    <a:pt x="658" y="1274"/>
                  </a:lnTo>
                  <a:lnTo>
                    <a:pt x="658" y="1278"/>
                  </a:lnTo>
                  <a:lnTo>
                    <a:pt x="660" y="1281"/>
                  </a:lnTo>
                  <a:lnTo>
                    <a:pt x="662" y="1283"/>
                  </a:lnTo>
                  <a:lnTo>
                    <a:pt x="666" y="1285"/>
                  </a:lnTo>
                  <a:lnTo>
                    <a:pt x="675" y="1289"/>
                  </a:lnTo>
                  <a:lnTo>
                    <a:pt x="686" y="1290"/>
                  </a:lnTo>
                  <a:lnTo>
                    <a:pt x="699" y="1291"/>
                  </a:lnTo>
                  <a:lnTo>
                    <a:pt x="714" y="1290"/>
                  </a:lnTo>
                  <a:lnTo>
                    <a:pt x="730" y="1290"/>
                  </a:lnTo>
                  <a:lnTo>
                    <a:pt x="746" y="1288"/>
                  </a:lnTo>
                  <a:lnTo>
                    <a:pt x="779" y="1285"/>
                  </a:lnTo>
                  <a:lnTo>
                    <a:pt x="807" y="1283"/>
                  </a:lnTo>
                  <a:lnTo>
                    <a:pt x="819" y="1283"/>
                  </a:lnTo>
                  <a:lnTo>
                    <a:pt x="827" y="1284"/>
                  </a:lnTo>
                  <a:lnTo>
                    <a:pt x="831" y="1285"/>
                  </a:lnTo>
                  <a:lnTo>
                    <a:pt x="833" y="1287"/>
                  </a:lnTo>
                  <a:lnTo>
                    <a:pt x="835" y="1288"/>
                  </a:lnTo>
                  <a:lnTo>
                    <a:pt x="835" y="1290"/>
                  </a:lnTo>
                  <a:lnTo>
                    <a:pt x="865" y="1291"/>
                  </a:lnTo>
                  <a:lnTo>
                    <a:pt x="896" y="1293"/>
                  </a:lnTo>
                  <a:lnTo>
                    <a:pt x="928" y="1298"/>
                  </a:lnTo>
                  <a:lnTo>
                    <a:pt x="960" y="1301"/>
                  </a:lnTo>
                  <a:lnTo>
                    <a:pt x="993" y="1306"/>
                  </a:lnTo>
                  <a:lnTo>
                    <a:pt x="1026" y="1310"/>
                  </a:lnTo>
                  <a:lnTo>
                    <a:pt x="1059" y="1312"/>
                  </a:lnTo>
                  <a:lnTo>
                    <a:pt x="1091" y="1313"/>
                  </a:lnTo>
                  <a:lnTo>
                    <a:pt x="1091" y="1298"/>
                  </a:lnTo>
                  <a:lnTo>
                    <a:pt x="1084" y="1293"/>
                  </a:lnTo>
                  <a:lnTo>
                    <a:pt x="1070" y="1282"/>
                  </a:lnTo>
                  <a:lnTo>
                    <a:pt x="1061" y="1277"/>
                  </a:lnTo>
                  <a:lnTo>
                    <a:pt x="1052" y="1272"/>
                  </a:lnTo>
                  <a:lnTo>
                    <a:pt x="1043" y="1269"/>
                  </a:lnTo>
                  <a:lnTo>
                    <a:pt x="1036" y="1267"/>
                  </a:lnTo>
                  <a:lnTo>
                    <a:pt x="1025" y="1255"/>
                  </a:lnTo>
                  <a:lnTo>
                    <a:pt x="1013" y="1244"/>
                  </a:lnTo>
                  <a:lnTo>
                    <a:pt x="998" y="1244"/>
                  </a:lnTo>
                  <a:lnTo>
                    <a:pt x="997" y="1241"/>
                  </a:lnTo>
                  <a:lnTo>
                    <a:pt x="996" y="1237"/>
                  </a:lnTo>
                  <a:lnTo>
                    <a:pt x="995" y="1235"/>
                  </a:lnTo>
                  <a:lnTo>
                    <a:pt x="993" y="1233"/>
                  </a:lnTo>
                  <a:lnTo>
                    <a:pt x="990" y="1231"/>
                  </a:lnTo>
                  <a:lnTo>
                    <a:pt x="988" y="1230"/>
                  </a:lnTo>
                  <a:lnTo>
                    <a:pt x="985" y="1229"/>
                  </a:lnTo>
                  <a:lnTo>
                    <a:pt x="983" y="1229"/>
                  </a:lnTo>
                  <a:lnTo>
                    <a:pt x="975" y="1221"/>
                  </a:lnTo>
                  <a:lnTo>
                    <a:pt x="974" y="1212"/>
                  </a:lnTo>
                  <a:lnTo>
                    <a:pt x="970" y="1203"/>
                  </a:lnTo>
                  <a:lnTo>
                    <a:pt x="967" y="1194"/>
                  </a:lnTo>
                  <a:lnTo>
                    <a:pt x="963" y="1186"/>
                  </a:lnTo>
                  <a:lnTo>
                    <a:pt x="959" y="1177"/>
                  </a:lnTo>
                  <a:lnTo>
                    <a:pt x="955" y="1168"/>
                  </a:lnTo>
                  <a:lnTo>
                    <a:pt x="953" y="1159"/>
                  </a:lnTo>
                  <a:lnTo>
                    <a:pt x="951" y="1150"/>
                  </a:lnTo>
                  <a:lnTo>
                    <a:pt x="947" y="1150"/>
                  </a:lnTo>
                  <a:lnTo>
                    <a:pt x="945" y="1148"/>
                  </a:lnTo>
                  <a:lnTo>
                    <a:pt x="942" y="1145"/>
                  </a:lnTo>
                  <a:lnTo>
                    <a:pt x="940" y="1142"/>
                  </a:lnTo>
                  <a:lnTo>
                    <a:pt x="938" y="1131"/>
                  </a:lnTo>
                  <a:lnTo>
                    <a:pt x="937" y="1120"/>
                  </a:lnTo>
                  <a:lnTo>
                    <a:pt x="936" y="1109"/>
                  </a:lnTo>
                  <a:lnTo>
                    <a:pt x="935" y="1099"/>
                  </a:lnTo>
                  <a:lnTo>
                    <a:pt x="934" y="1095"/>
                  </a:lnTo>
                  <a:lnTo>
                    <a:pt x="932" y="1091"/>
                  </a:lnTo>
                  <a:lnTo>
                    <a:pt x="930" y="1090"/>
                  </a:lnTo>
                  <a:lnTo>
                    <a:pt x="928" y="1089"/>
                  </a:lnTo>
                  <a:lnTo>
                    <a:pt x="927" y="1077"/>
                  </a:lnTo>
                  <a:lnTo>
                    <a:pt x="925" y="1062"/>
                  </a:lnTo>
                  <a:lnTo>
                    <a:pt x="921" y="1048"/>
                  </a:lnTo>
                  <a:lnTo>
                    <a:pt x="920" y="1035"/>
                  </a:lnTo>
                  <a:lnTo>
                    <a:pt x="918" y="1034"/>
                  </a:lnTo>
                  <a:lnTo>
                    <a:pt x="916" y="1033"/>
                  </a:lnTo>
                  <a:lnTo>
                    <a:pt x="915" y="1032"/>
                  </a:lnTo>
                  <a:lnTo>
                    <a:pt x="913" y="1030"/>
                  </a:lnTo>
                  <a:lnTo>
                    <a:pt x="912" y="1025"/>
                  </a:lnTo>
                  <a:lnTo>
                    <a:pt x="912" y="1020"/>
                  </a:lnTo>
                  <a:lnTo>
                    <a:pt x="910" y="1019"/>
                  </a:lnTo>
                  <a:lnTo>
                    <a:pt x="908" y="1017"/>
                  </a:lnTo>
                  <a:lnTo>
                    <a:pt x="907" y="1014"/>
                  </a:lnTo>
                  <a:lnTo>
                    <a:pt x="906" y="1011"/>
                  </a:lnTo>
                  <a:lnTo>
                    <a:pt x="906" y="1003"/>
                  </a:lnTo>
                  <a:lnTo>
                    <a:pt x="905" y="996"/>
                  </a:lnTo>
                  <a:lnTo>
                    <a:pt x="902" y="994"/>
                  </a:lnTo>
                  <a:lnTo>
                    <a:pt x="898" y="989"/>
                  </a:lnTo>
                  <a:lnTo>
                    <a:pt x="894" y="981"/>
                  </a:lnTo>
                  <a:lnTo>
                    <a:pt x="890" y="972"/>
                  </a:lnTo>
                  <a:lnTo>
                    <a:pt x="884" y="954"/>
                  </a:lnTo>
                  <a:lnTo>
                    <a:pt x="882" y="942"/>
                  </a:lnTo>
                  <a:lnTo>
                    <a:pt x="874" y="935"/>
                  </a:lnTo>
                  <a:lnTo>
                    <a:pt x="867" y="927"/>
                  </a:lnTo>
                  <a:lnTo>
                    <a:pt x="859" y="919"/>
                  </a:lnTo>
                  <a:lnTo>
                    <a:pt x="850" y="917"/>
                  </a:lnTo>
                  <a:lnTo>
                    <a:pt x="836" y="912"/>
                  </a:lnTo>
                  <a:lnTo>
                    <a:pt x="825" y="906"/>
                  </a:lnTo>
                  <a:lnTo>
                    <a:pt x="820" y="904"/>
                  </a:lnTo>
                  <a:lnTo>
                    <a:pt x="796" y="904"/>
                  </a:lnTo>
                  <a:lnTo>
                    <a:pt x="796" y="899"/>
                  </a:lnTo>
                  <a:lnTo>
                    <a:pt x="795" y="896"/>
                  </a:lnTo>
                  <a:lnTo>
                    <a:pt x="793" y="894"/>
                  </a:lnTo>
                  <a:lnTo>
                    <a:pt x="791" y="892"/>
                  </a:lnTo>
                  <a:lnTo>
                    <a:pt x="785" y="888"/>
                  </a:lnTo>
                  <a:lnTo>
                    <a:pt x="777" y="885"/>
                  </a:lnTo>
                  <a:lnTo>
                    <a:pt x="771" y="884"/>
                  </a:lnTo>
                  <a:lnTo>
                    <a:pt x="764" y="880"/>
                  </a:lnTo>
                  <a:lnTo>
                    <a:pt x="762" y="879"/>
                  </a:lnTo>
                  <a:lnTo>
                    <a:pt x="759" y="877"/>
                  </a:lnTo>
                  <a:lnTo>
                    <a:pt x="758" y="876"/>
                  </a:lnTo>
                  <a:lnTo>
                    <a:pt x="758" y="873"/>
                  </a:lnTo>
                  <a:lnTo>
                    <a:pt x="743" y="873"/>
                  </a:lnTo>
                  <a:lnTo>
                    <a:pt x="735" y="865"/>
                  </a:lnTo>
                  <a:lnTo>
                    <a:pt x="735" y="849"/>
                  </a:lnTo>
                  <a:lnTo>
                    <a:pt x="719" y="841"/>
                  </a:lnTo>
                  <a:lnTo>
                    <a:pt x="719" y="833"/>
                  </a:lnTo>
                  <a:lnTo>
                    <a:pt x="719" y="822"/>
                  </a:lnTo>
                  <a:lnTo>
                    <a:pt x="719" y="811"/>
                  </a:lnTo>
                  <a:lnTo>
                    <a:pt x="719" y="803"/>
                  </a:lnTo>
                  <a:lnTo>
                    <a:pt x="721" y="802"/>
                  </a:lnTo>
                  <a:lnTo>
                    <a:pt x="723" y="800"/>
                  </a:lnTo>
                  <a:lnTo>
                    <a:pt x="724" y="797"/>
                  </a:lnTo>
                  <a:lnTo>
                    <a:pt x="725" y="792"/>
                  </a:lnTo>
                  <a:lnTo>
                    <a:pt x="728" y="781"/>
                  </a:lnTo>
                  <a:lnTo>
                    <a:pt x="730" y="768"/>
                  </a:lnTo>
                  <a:lnTo>
                    <a:pt x="734" y="741"/>
                  </a:lnTo>
                  <a:lnTo>
                    <a:pt x="735" y="726"/>
                  </a:lnTo>
                  <a:lnTo>
                    <a:pt x="737" y="724"/>
                  </a:lnTo>
                  <a:lnTo>
                    <a:pt x="739" y="721"/>
                  </a:lnTo>
                  <a:lnTo>
                    <a:pt x="740" y="715"/>
                  </a:lnTo>
                  <a:lnTo>
                    <a:pt x="742" y="710"/>
                  </a:lnTo>
                  <a:lnTo>
                    <a:pt x="743" y="696"/>
                  </a:lnTo>
                  <a:lnTo>
                    <a:pt x="743" y="687"/>
                  </a:lnTo>
                  <a:lnTo>
                    <a:pt x="744" y="686"/>
                  </a:lnTo>
                  <a:lnTo>
                    <a:pt x="745" y="682"/>
                  </a:lnTo>
                  <a:lnTo>
                    <a:pt x="746" y="676"/>
                  </a:lnTo>
                  <a:lnTo>
                    <a:pt x="747" y="667"/>
                  </a:lnTo>
                  <a:lnTo>
                    <a:pt x="748" y="647"/>
                  </a:lnTo>
                  <a:lnTo>
                    <a:pt x="749" y="624"/>
                  </a:lnTo>
                  <a:lnTo>
                    <a:pt x="750" y="577"/>
                  </a:lnTo>
                  <a:lnTo>
                    <a:pt x="750" y="548"/>
                  </a:lnTo>
                  <a:lnTo>
                    <a:pt x="747" y="548"/>
                  </a:lnTo>
                  <a:lnTo>
                    <a:pt x="745" y="547"/>
                  </a:lnTo>
                  <a:lnTo>
                    <a:pt x="742" y="546"/>
                  </a:lnTo>
                  <a:lnTo>
                    <a:pt x="739" y="543"/>
                  </a:lnTo>
                  <a:lnTo>
                    <a:pt x="738" y="541"/>
                  </a:lnTo>
                  <a:lnTo>
                    <a:pt x="736" y="539"/>
                  </a:lnTo>
                  <a:lnTo>
                    <a:pt x="735" y="535"/>
                  </a:lnTo>
                  <a:lnTo>
                    <a:pt x="735" y="532"/>
                  </a:lnTo>
                  <a:lnTo>
                    <a:pt x="711" y="532"/>
                  </a:lnTo>
                  <a:lnTo>
                    <a:pt x="710" y="530"/>
                  </a:lnTo>
                  <a:lnTo>
                    <a:pt x="707" y="528"/>
                  </a:lnTo>
                  <a:lnTo>
                    <a:pt x="701" y="527"/>
                  </a:lnTo>
                  <a:lnTo>
                    <a:pt x="696" y="525"/>
                  </a:lnTo>
                  <a:lnTo>
                    <a:pt x="682" y="525"/>
                  </a:lnTo>
                  <a:lnTo>
                    <a:pt x="673" y="525"/>
                  </a:lnTo>
                  <a:lnTo>
                    <a:pt x="672" y="522"/>
                  </a:lnTo>
                  <a:lnTo>
                    <a:pt x="670" y="521"/>
                  </a:lnTo>
                  <a:lnTo>
                    <a:pt x="668" y="519"/>
                  </a:lnTo>
                  <a:lnTo>
                    <a:pt x="665" y="518"/>
                  </a:lnTo>
                  <a:lnTo>
                    <a:pt x="657" y="518"/>
                  </a:lnTo>
                  <a:lnTo>
                    <a:pt x="650" y="518"/>
                  </a:lnTo>
                  <a:lnTo>
                    <a:pt x="642" y="502"/>
                  </a:lnTo>
                  <a:lnTo>
                    <a:pt x="631" y="502"/>
                  </a:lnTo>
                  <a:lnTo>
                    <a:pt x="619" y="502"/>
                  </a:lnTo>
                  <a:lnTo>
                    <a:pt x="619" y="500"/>
                  </a:lnTo>
                  <a:lnTo>
                    <a:pt x="617" y="498"/>
                  </a:lnTo>
                  <a:lnTo>
                    <a:pt x="613" y="496"/>
                  </a:lnTo>
                  <a:lnTo>
                    <a:pt x="610" y="495"/>
                  </a:lnTo>
                  <a:lnTo>
                    <a:pt x="603" y="494"/>
                  </a:lnTo>
                  <a:lnTo>
                    <a:pt x="595" y="494"/>
                  </a:lnTo>
                  <a:lnTo>
                    <a:pt x="595" y="492"/>
                  </a:lnTo>
                  <a:lnTo>
                    <a:pt x="594" y="490"/>
                  </a:lnTo>
                  <a:lnTo>
                    <a:pt x="593" y="489"/>
                  </a:lnTo>
                  <a:lnTo>
                    <a:pt x="591" y="487"/>
                  </a:lnTo>
                  <a:lnTo>
                    <a:pt x="586" y="486"/>
                  </a:lnTo>
                  <a:lnTo>
                    <a:pt x="581" y="486"/>
                  </a:lnTo>
                  <a:lnTo>
                    <a:pt x="580" y="482"/>
                  </a:lnTo>
                  <a:lnTo>
                    <a:pt x="580" y="480"/>
                  </a:lnTo>
                  <a:lnTo>
                    <a:pt x="577" y="479"/>
                  </a:lnTo>
                  <a:lnTo>
                    <a:pt x="576" y="479"/>
                  </a:lnTo>
                  <a:lnTo>
                    <a:pt x="575" y="479"/>
                  </a:lnTo>
                  <a:lnTo>
                    <a:pt x="574" y="477"/>
                  </a:lnTo>
                  <a:lnTo>
                    <a:pt x="573" y="475"/>
                  </a:lnTo>
                  <a:lnTo>
                    <a:pt x="573" y="471"/>
                  </a:lnTo>
                  <a:lnTo>
                    <a:pt x="550" y="471"/>
                  </a:lnTo>
                  <a:lnTo>
                    <a:pt x="546" y="469"/>
                  </a:lnTo>
                  <a:lnTo>
                    <a:pt x="537" y="463"/>
                  </a:lnTo>
                  <a:lnTo>
                    <a:pt x="526" y="457"/>
                  </a:lnTo>
                  <a:lnTo>
                    <a:pt x="518" y="455"/>
                  </a:lnTo>
                  <a:lnTo>
                    <a:pt x="518" y="409"/>
                  </a:lnTo>
                  <a:lnTo>
                    <a:pt x="522" y="408"/>
                  </a:lnTo>
                  <a:lnTo>
                    <a:pt x="524" y="406"/>
                  </a:lnTo>
                  <a:lnTo>
                    <a:pt x="527" y="404"/>
                  </a:lnTo>
                  <a:lnTo>
                    <a:pt x="529" y="400"/>
                  </a:lnTo>
                  <a:lnTo>
                    <a:pt x="533" y="393"/>
                  </a:lnTo>
                  <a:lnTo>
                    <a:pt x="534" y="386"/>
                  </a:lnTo>
                  <a:lnTo>
                    <a:pt x="542" y="378"/>
                  </a:lnTo>
                  <a:lnTo>
                    <a:pt x="546" y="378"/>
                  </a:lnTo>
                  <a:lnTo>
                    <a:pt x="548" y="377"/>
                  </a:lnTo>
                  <a:lnTo>
                    <a:pt x="550" y="376"/>
                  </a:lnTo>
                  <a:lnTo>
                    <a:pt x="550" y="375"/>
                  </a:lnTo>
                  <a:lnTo>
                    <a:pt x="550" y="373"/>
                  </a:lnTo>
                  <a:lnTo>
                    <a:pt x="551" y="371"/>
                  </a:lnTo>
                  <a:lnTo>
                    <a:pt x="553" y="370"/>
                  </a:lnTo>
                  <a:lnTo>
                    <a:pt x="557" y="370"/>
                  </a:lnTo>
                  <a:lnTo>
                    <a:pt x="557" y="355"/>
                  </a:lnTo>
                  <a:lnTo>
                    <a:pt x="560" y="355"/>
                  </a:lnTo>
                  <a:lnTo>
                    <a:pt x="562" y="354"/>
                  </a:lnTo>
                  <a:lnTo>
                    <a:pt x="563" y="352"/>
                  </a:lnTo>
                  <a:lnTo>
                    <a:pt x="564" y="350"/>
                  </a:lnTo>
                  <a:lnTo>
                    <a:pt x="565" y="345"/>
                  </a:lnTo>
                  <a:lnTo>
                    <a:pt x="565" y="339"/>
                  </a:lnTo>
                  <a:lnTo>
                    <a:pt x="570" y="339"/>
                  </a:lnTo>
                  <a:lnTo>
                    <a:pt x="572" y="338"/>
                  </a:lnTo>
                  <a:lnTo>
                    <a:pt x="573" y="337"/>
                  </a:lnTo>
                  <a:lnTo>
                    <a:pt x="573" y="336"/>
                  </a:lnTo>
                  <a:lnTo>
                    <a:pt x="573" y="335"/>
                  </a:lnTo>
                  <a:lnTo>
                    <a:pt x="574" y="333"/>
                  </a:lnTo>
                  <a:lnTo>
                    <a:pt x="576" y="332"/>
                  </a:lnTo>
                  <a:lnTo>
                    <a:pt x="581" y="331"/>
                  </a:lnTo>
                  <a:lnTo>
                    <a:pt x="581" y="285"/>
                  </a:lnTo>
                  <a:lnTo>
                    <a:pt x="582" y="284"/>
                  </a:lnTo>
                  <a:lnTo>
                    <a:pt x="583" y="283"/>
                  </a:lnTo>
                  <a:lnTo>
                    <a:pt x="584" y="280"/>
                  </a:lnTo>
                  <a:lnTo>
                    <a:pt x="585" y="277"/>
                  </a:lnTo>
                  <a:lnTo>
                    <a:pt x="586" y="268"/>
                  </a:lnTo>
                  <a:lnTo>
                    <a:pt x="587" y="258"/>
                  </a:lnTo>
                  <a:lnTo>
                    <a:pt x="587" y="236"/>
                  </a:lnTo>
                  <a:lnTo>
                    <a:pt x="589" y="223"/>
                  </a:lnTo>
                  <a:lnTo>
                    <a:pt x="585" y="223"/>
                  </a:lnTo>
                  <a:lnTo>
                    <a:pt x="584" y="220"/>
                  </a:lnTo>
                  <a:lnTo>
                    <a:pt x="582" y="216"/>
                  </a:lnTo>
                  <a:lnTo>
                    <a:pt x="581" y="211"/>
                  </a:lnTo>
                  <a:lnTo>
                    <a:pt x="581" y="201"/>
                  </a:lnTo>
                  <a:lnTo>
                    <a:pt x="581" y="193"/>
                  </a:lnTo>
                  <a:lnTo>
                    <a:pt x="577" y="192"/>
                  </a:lnTo>
                  <a:lnTo>
                    <a:pt x="574" y="192"/>
                  </a:lnTo>
                  <a:lnTo>
                    <a:pt x="572" y="190"/>
                  </a:lnTo>
                  <a:lnTo>
                    <a:pt x="570" y="187"/>
                  </a:lnTo>
                  <a:lnTo>
                    <a:pt x="567" y="185"/>
                  </a:lnTo>
                  <a:lnTo>
                    <a:pt x="566" y="183"/>
                  </a:lnTo>
                  <a:lnTo>
                    <a:pt x="565" y="181"/>
                  </a:lnTo>
                  <a:lnTo>
                    <a:pt x="565" y="177"/>
                  </a:lnTo>
                  <a:lnTo>
                    <a:pt x="562" y="176"/>
                  </a:lnTo>
                  <a:lnTo>
                    <a:pt x="560" y="175"/>
                  </a:lnTo>
                  <a:lnTo>
                    <a:pt x="556" y="172"/>
                  </a:lnTo>
                  <a:lnTo>
                    <a:pt x="554" y="168"/>
                  </a:lnTo>
                  <a:lnTo>
                    <a:pt x="551" y="160"/>
                  </a:lnTo>
                  <a:lnTo>
                    <a:pt x="550" y="154"/>
                  </a:lnTo>
                  <a:lnTo>
                    <a:pt x="544" y="153"/>
                  </a:lnTo>
                  <a:lnTo>
                    <a:pt x="541" y="150"/>
                  </a:lnTo>
                  <a:lnTo>
                    <a:pt x="537" y="146"/>
                  </a:lnTo>
                  <a:lnTo>
                    <a:pt x="535" y="140"/>
                  </a:lnTo>
                  <a:lnTo>
                    <a:pt x="534" y="134"/>
                  </a:lnTo>
                  <a:lnTo>
                    <a:pt x="534" y="127"/>
                  </a:lnTo>
                  <a:lnTo>
                    <a:pt x="534" y="119"/>
                  </a:lnTo>
                  <a:lnTo>
                    <a:pt x="534" y="110"/>
                  </a:lnTo>
                  <a:lnTo>
                    <a:pt x="538" y="79"/>
                  </a:lnTo>
                  <a:lnTo>
                    <a:pt x="542" y="61"/>
                  </a:lnTo>
                  <a:lnTo>
                    <a:pt x="544" y="60"/>
                  </a:lnTo>
                  <a:lnTo>
                    <a:pt x="546" y="56"/>
                  </a:lnTo>
                  <a:lnTo>
                    <a:pt x="547" y="49"/>
                  </a:lnTo>
                  <a:lnTo>
                    <a:pt x="548" y="41"/>
                  </a:lnTo>
                  <a:lnTo>
                    <a:pt x="550" y="25"/>
                  </a:lnTo>
                  <a:lnTo>
                    <a:pt x="550" y="15"/>
                  </a:lnTo>
                  <a:lnTo>
                    <a:pt x="537" y="12"/>
                  </a:lnTo>
                  <a:lnTo>
                    <a:pt x="515" y="8"/>
                  </a:lnTo>
                  <a:lnTo>
                    <a:pt x="500" y="4"/>
                  </a:lnTo>
                  <a:lnTo>
                    <a:pt x="486" y="2"/>
                  </a:lnTo>
                  <a:lnTo>
                    <a:pt x="471" y="0"/>
                  </a:lnTo>
                  <a:lnTo>
                    <a:pt x="457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6" name="Freeform 32"/>
            <p:cNvSpPr>
              <a:spLocks noChangeAspect="1"/>
            </p:cNvSpPr>
            <p:nvPr/>
          </p:nvSpPr>
          <p:spPr bwMode="gray">
            <a:xfrm rot="355651">
              <a:off x="5635626" y="3117850"/>
              <a:ext cx="239097" cy="211856"/>
            </a:xfrm>
            <a:custGeom>
              <a:avLst/>
              <a:gdLst/>
              <a:ahLst/>
              <a:cxnLst>
                <a:cxn ang="0">
                  <a:pos x="796" y="29"/>
                </a:cxn>
                <a:cxn ang="0">
                  <a:pos x="746" y="104"/>
                </a:cxn>
                <a:cxn ang="0">
                  <a:pos x="629" y="114"/>
                </a:cxn>
                <a:cxn ang="0">
                  <a:pos x="611" y="125"/>
                </a:cxn>
                <a:cxn ang="0">
                  <a:pos x="585" y="139"/>
                </a:cxn>
                <a:cxn ang="0">
                  <a:pos x="560" y="169"/>
                </a:cxn>
                <a:cxn ang="0">
                  <a:pos x="529" y="279"/>
                </a:cxn>
                <a:cxn ang="0">
                  <a:pos x="515" y="291"/>
                </a:cxn>
                <a:cxn ang="0">
                  <a:pos x="487" y="340"/>
                </a:cxn>
                <a:cxn ang="0">
                  <a:pos x="509" y="356"/>
                </a:cxn>
                <a:cxn ang="0">
                  <a:pos x="516" y="407"/>
                </a:cxn>
                <a:cxn ang="0">
                  <a:pos x="476" y="541"/>
                </a:cxn>
                <a:cxn ang="0">
                  <a:pos x="464" y="559"/>
                </a:cxn>
                <a:cxn ang="0">
                  <a:pos x="425" y="610"/>
                </a:cxn>
                <a:cxn ang="0">
                  <a:pos x="410" y="704"/>
                </a:cxn>
                <a:cxn ang="0">
                  <a:pos x="387" y="742"/>
                </a:cxn>
                <a:cxn ang="0">
                  <a:pos x="345" y="765"/>
                </a:cxn>
                <a:cxn ang="0">
                  <a:pos x="327" y="780"/>
                </a:cxn>
                <a:cxn ang="0">
                  <a:pos x="316" y="792"/>
                </a:cxn>
                <a:cxn ang="0">
                  <a:pos x="294" y="804"/>
                </a:cxn>
                <a:cxn ang="0">
                  <a:pos x="257" y="834"/>
                </a:cxn>
                <a:cxn ang="0">
                  <a:pos x="224" y="935"/>
                </a:cxn>
                <a:cxn ang="0">
                  <a:pos x="208" y="943"/>
                </a:cxn>
                <a:cxn ang="0">
                  <a:pos x="84" y="1019"/>
                </a:cxn>
                <a:cxn ang="0">
                  <a:pos x="30" y="1082"/>
                </a:cxn>
                <a:cxn ang="0">
                  <a:pos x="0" y="1195"/>
                </a:cxn>
                <a:cxn ang="0">
                  <a:pos x="137" y="1209"/>
                </a:cxn>
                <a:cxn ang="0">
                  <a:pos x="289" y="1185"/>
                </a:cxn>
                <a:cxn ang="0">
                  <a:pos x="404" y="1207"/>
                </a:cxn>
                <a:cxn ang="0">
                  <a:pos x="580" y="1225"/>
                </a:cxn>
                <a:cxn ang="0">
                  <a:pos x="647" y="1237"/>
                </a:cxn>
                <a:cxn ang="0">
                  <a:pos x="680" y="1291"/>
                </a:cxn>
                <a:cxn ang="0">
                  <a:pos x="717" y="1242"/>
                </a:cxn>
                <a:cxn ang="0">
                  <a:pos x="721" y="1127"/>
                </a:cxn>
                <a:cxn ang="0">
                  <a:pos x="834" y="1073"/>
                </a:cxn>
                <a:cxn ang="0">
                  <a:pos x="1015" y="1083"/>
                </a:cxn>
                <a:cxn ang="0">
                  <a:pos x="1108" y="1048"/>
                </a:cxn>
                <a:cxn ang="0">
                  <a:pos x="1207" y="906"/>
                </a:cxn>
                <a:cxn ang="0">
                  <a:pos x="1249" y="802"/>
                </a:cxn>
                <a:cxn ang="0">
                  <a:pos x="1303" y="702"/>
                </a:cxn>
                <a:cxn ang="0">
                  <a:pos x="1311" y="678"/>
                </a:cxn>
                <a:cxn ang="0">
                  <a:pos x="1286" y="596"/>
                </a:cxn>
                <a:cxn ang="0">
                  <a:pos x="1257" y="574"/>
                </a:cxn>
                <a:cxn ang="0">
                  <a:pos x="1226" y="543"/>
                </a:cxn>
                <a:cxn ang="0">
                  <a:pos x="1213" y="513"/>
                </a:cxn>
                <a:cxn ang="0">
                  <a:pos x="1198" y="467"/>
                </a:cxn>
                <a:cxn ang="0">
                  <a:pos x="1157" y="443"/>
                </a:cxn>
                <a:cxn ang="0">
                  <a:pos x="1137" y="431"/>
                </a:cxn>
                <a:cxn ang="0">
                  <a:pos x="1086" y="386"/>
                </a:cxn>
                <a:cxn ang="0">
                  <a:pos x="1059" y="356"/>
                </a:cxn>
                <a:cxn ang="0">
                  <a:pos x="1028" y="321"/>
                </a:cxn>
                <a:cxn ang="0">
                  <a:pos x="1005" y="290"/>
                </a:cxn>
                <a:cxn ang="0">
                  <a:pos x="949" y="262"/>
                </a:cxn>
                <a:cxn ang="0">
                  <a:pos x="915" y="232"/>
                </a:cxn>
                <a:cxn ang="0">
                  <a:pos x="889" y="199"/>
                </a:cxn>
                <a:cxn ang="0">
                  <a:pos x="879" y="169"/>
                </a:cxn>
                <a:cxn ang="0">
                  <a:pos x="874" y="84"/>
                </a:cxn>
                <a:cxn ang="0">
                  <a:pos x="873" y="0"/>
                </a:cxn>
              </a:cxnLst>
              <a:rect l="0" t="0" r="r" b="b"/>
              <a:pathLst>
                <a:path w="1313" h="1314">
                  <a:moveTo>
                    <a:pt x="858" y="15"/>
                  </a:moveTo>
                  <a:lnTo>
                    <a:pt x="851" y="14"/>
                  </a:lnTo>
                  <a:lnTo>
                    <a:pt x="842" y="11"/>
                  </a:lnTo>
                  <a:lnTo>
                    <a:pt x="833" y="6"/>
                  </a:lnTo>
                  <a:lnTo>
                    <a:pt x="826" y="0"/>
                  </a:lnTo>
                  <a:lnTo>
                    <a:pt x="803" y="0"/>
                  </a:lnTo>
                  <a:lnTo>
                    <a:pt x="796" y="7"/>
                  </a:lnTo>
                  <a:lnTo>
                    <a:pt x="796" y="29"/>
                  </a:lnTo>
                  <a:lnTo>
                    <a:pt x="796" y="54"/>
                  </a:lnTo>
                  <a:lnTo>
                    <a:pt x="796" y="80"/>
                  </a:lnTo>
                  <a:lnTo>
                    <a:pt x="796" y="100"/>
                  </a:lnTo>
                  <a:lnTo>
                    <a:pt x="765" y="100"/>
                  </a:lnTo>
                  <a:lnTo>
                    <a:pt x="764" y="102"/>
                  </a:lnTo>
                  <a:lnTo>
                    <a:pt x="759" y="103"/>
                  </a:lnTo>
                  <a:lnTo>
                    <a:pt x="754" y="104"/>
                  </a:lnTo>
                  <a:lnTo>
                    <a:pt x="746" y="104"/>
                  </a:lnTo>
                  <a:lnTo>
                    <a:pt x="727" y="107"/>
                  </a:lnTo>
                  <a:lnTo>
                    <a:pt x="705" y="107"/>
                  </a:lnTo>
                  <a:lnTo>
                    <a:pt x="660" y="108"/>
                  </a:lnTo>
                  <a:lnTo>
                    <a:pt x="633" y="108"/>
                  </a:lnTo>
                  <a:lnTo>
                    <a:pt x="633" y="111"/>
                  </a:lnTo>
                  <a:lnTo>
                    <a:pt x="632" y="112"/>
                  </a:lnTo>
                  <a:lnTo>
                    <a:pt x="631" y="114"/>
                  </a:lnTo>
                  <a:lnTo>
                    <a:pt x="629" y="114"/>
                  </a:lnTo>
                  <a:lnTo>
                    <a:pt x="623" y="116"/>
                  </a:lnTo>
                  <a:lnTo>
                    <a:pt x="618" y="116"/>
                  </a:lnTo>
                  <a:lnTo>
                    <a:pt x="618" y="120"/>
                  </a:lnTo>
                  <a:lnTo>
                    <a:pt x="617" y="122"/>
                  </a:lnTo>
                  <a:lnTo>
                    <a:pt x="615" y="123"/>
                  </a:lnTo>
                  <a:lnTo>
                    <a:pt x="614" y="123"/>
                  </a:lnTo>
                  <a:lnTo>
                    <a:pt x="612" y="123"/>
                  </a:lnTo>
                  <a:lnTo>
                    <a:pt x="611" y="125"/>
                  </a:lnTo>
                  <a:lnTo>
                    <a:pt x="611" y="127"/>
                  </a:lnTo>
                  <a:lnTo>
                    <a:pt x="610" y="131"/>
                  </a:lnTo>
                  <a:lnTo>
                    <a:pt x="594" y="131"/>
                  </a:lnTo>
                  <a:lnTo>
                    <a:pt x="594" y="133"/>
                  </a:lnTo>
                  <a:lnTo>
                    <a:pt x="593" y="136"/>
                  </a:lnTo>
                  <a:lnTo>
                    <a:pt x="592" y="137"/>
                  </a:lnTo>
                  <a:lnTo>
                    <a:pt x="590" y="138"/>
                  </a:lnTo>
                  <a:lnTo>
                    <a:pt x="585" y="139"/>
                  </a:lnTo>
                  <a:lnTo>
                    <a:pt x="580" y="139"/>
                  </a:lnTo>
                  <a:lnTo>
                    <a:pt x="579" y="142"/>
                  </a:lnTo>
                  <a:lnTo>
                    <a:pt x="576" y="147"/>
                  </a:lnTo>
                  <a:lnTo>
                    <a:pt x="574" y="152"/>
                  </a:lnTo>
                  <a:lnTo>
                    <a:pt x="571" y="157"/>
                  </a:lnTo>
                  <a:lnTo>
                    <a:pt x="566" y="162"/>
                  </a:lnTo>
                  <a:lnTo>
                    <a:pt x="563" y="166"/>
                  </a:lnTo>
                  <a:lnTo>
                    <a:pt x="560" y="169"/>
                  </a:lnTo>
                  <a:lnTo>
                    <a:pt x="556" y="170"/>
                  </a:lnTo>
                  <a:lnTo>
                    <a:pt x="556" y="263"/>
                  </a:lnTo>
                  <a:lnTo>
                    <a:pt x="548" y="271"/>
                  </a:lnTo>
                  <a:lnTo>
                    <a:pt x="533" y="271"/>
                  </a:lnTo>
                  <a:lnTo>
                    <a:pt x="533" y="275"/>
                  </a:lnTo>
                  <a:lnTo>
                    <a:pt x="532" y="277"/>
                  </a:lnTo>
                  <a:lnTo>
                    <a:pt x="531" y="279"/>
                  </a:lnTo>
                  <a:lnTo>
                    <a:pt x="529" y="279"/>
                  </a:lnTo>
                  <a:lnTo>
                    <a:pt x="527" y="279"/>
                  </a:lnTo>
                  <a:lnTo>
                    <a:pt x="526" y="280"/>
                  </a:lnTo>
                  <a:lnTo>
                    <a:pt x="525" y="282"/>
                  </a:lnTo>
                  <a:lnTo>
                    <a:pt x="525" y="286"/>
                  </a:lnTo>
                  <a:lnTo>
                    <a:pt x="523" y="286"/>
                  </a:lnTo>
                  <a:lnTo>
                    <a:pt x="519" y="287"/>
                  </a:lnTo>
                  <a:lnTo>
                    <a:pt x="517" y="289"/>
                  </a:lnTo>
                  <a:lnTo>
                    <a:pt x="515" y="291"/>
                  </a:lnTo>
                  <a:lnTo>
                    <a:pt x="513" y="293"/>
                  </a:lnTo>
                  <a:lnTo>
                    <a:pt x="510" y="295"/>
                  </a:lnTo>
                  <a:lnTo>
                    <a:pt x="510" y="299"/>
                  </a:lnTo>
                  <a:lnTo>
                    <a:pt x="509" y="301"/>
                  </a:lnTo>
                  <a:lnTo>
                    <a:pt x="502" y="309"/>
                  </a:lnTo>
                  <a:lnTo>
                    <a:pt x="487" y="317"/>
                  </a:lnTo>
                  <a:lnTo>
                    <a:pt x="487" y="329"/>
                  </a:lnTo>
                  <a:lnTo>
                    <a:pt x="487" y="340"/>
                  </a:lnTo>
                  <a:lnTo>
                    <a:pt x="492" y="341"/>
                  </a:lnTo>
                  <a:lnTo>
                    <a:pt x="496" y="342"/>
                  </a:lnTo>
                  <a:lnTo>
                    <a:pt x="498" y="344"/>
                  </a:lnTo>
                  <a:lnTo>
                    <a:pt x="502" y="348"/>
                  </a:lnTo>
                  <a:lnTo>
                    <a:pt x="503" y="351"/>
                  </a:lnTo>
                  <a:lnTo>
                    <a:pt x="505" y="353"/>
                  </a:lnTo>
                  <a:lnTo>
                    <a:pt x="507" y="354"/>
                  </a:lnTo>
                  <a:lnTo>
                    <a:pt x="509" y="356"/>
                  </a:lnTo>
                  <a:lnTo>
                    <a:pt x="509" y="371"/>
                  </a:lnTo>
                  <a:lnTo>
                    <a:pt x="513" y="371"/>
                  </a:lnTo>
                  <a:lnTo>
                    <a:pt x="515" y="372"/>
                  </a:lnTo>
                  <a:lnTo>
                    <a:pt x="516" y="375"/>
                  </a:lnTo>
                  <a:lnTo>
                    <a:pt x="517" y="378"/>
                  </a:lnTo>
                  <a:lnTo>
                    <a:pt x="518" y="386"/>
                  </a:lnTo>
                  <a:lnTo>
                    <a:pt x="518" y="396"/>
                  </a:lnTo>
                  <a:lnTo>
                    <a:pt x="516" y="407"/>
                  </a:lnTo>
                  <a:lnTo>
                    <a:pt x="514" y="420"/>
                  </a:lnTo>
                  <a:lnTo>
                    <a:pt x="510" y="435"/>
                  </a:lnTo>
                  <a:lnTo>
                    <a:pt x="506" y="450"/>
                  </a:lnTo>
                  <a:lnTo>
                    <a:pt x="497" y="481"/>
                  </a:lnTo>
                  <a:lnTo>
                    <a:pt x="488" y="507"/>
                  </a:lnTo>
                  <a:lnTo>
                    <a:pt x="481" y="530"/>
                  </a:lnTo>
                  <a:lnTo>
                    <a:pt x="479" y="541"/>
                  </a:lnTo>
                  <a:lnTo>
                    <a:pt x="476" y="541"/>
                  </a:lnTo>
                  <a:lnTo>
                    <a:pt x="475" y="542"/>
                  </a:lnTo>
                  <a:lnTo>
                    <a:pt x="473" y="544"/>
                  </a:lnTo>
                  <a:lnTo>
                    <a:pt x="473" y="545"/>
                  </a:lnTo>
                  <a:lnTo>
                    <a:pt x="471" y="551"/>
                  </a:lnTo>
                  <a:lnTo>
                    <a:pt x="471" y="556"/>
                  </a:lnTo>
                  <a:lnTo>
                    <a:pt x="467" y="556"/>
                  </a:lnTo>
                  <a:lnTo>
                    <a:pt x="465" y="558"/>
                  </a:lnTo>
                  <a:lnTo>
                    <a:pt x="464" y="559"/>
                  </a:lnTo>
                  <a:lnTo>
                    <a:pt x="464" y="560"/>
                  </a:lnTo>
                  <a:lnTo>
                    <a:pt x="464" y="562"/>
                  </a:lnTo>
                  <a:lnTo>
                    <a:pt x="462" y="563"/>
                  </a:lnTo>
                  <a:lnTo>
                    <a:pt x="460" y="564"/>
                  </a:lnTo>
                  <a:lnTo>
                    <a:pt x="456" y="564"/>
                  </a:lnTo>
                  <a:lnTo>
                    <a:pt x="456" y="580"/>
                  </a:lnTo>
                  <a:lnTo>
                    <a:pt x="440" y="596"/>
                  </a:lnTo>
                  <a:lnTo>
                    <a:pt x="425" y="610"/>
                  </a:lnTo>
                  <a:lnTo>
                    <a:pt x="423" y="627"/>
                  </a:lnTo>
                  <a:lnTo>
                    <a:pt x="421" y="650"/>
                  </a:lnTo>
                  <a:lnTo>
                    <a:pt x="418" y="675"/>
                  </a:lnTo>
                  <a:lnTo>
                    <a:pt x="417" y="696"/>
                  </a:lnTo>
                  <a:lnTo>
                    <a:pt x="414" y="696"/>
                  </a:lnTo>
                  <a:lnTo>
                    <a:pt x="412" y="698"/>
                  </a:lnTo>
                  <a:lnTo>
                    <a:pt x="411" y="700"/>
                  </a:lnTo>
                  <a:lnTo>
                    <a:pt x="410" y="704"/>
                  </a:lnTo>
                  <a:lnTo>
                    <a:pt x="409" y="712"/>
                  </a:lnTo>
                  <a:lnTo>
                    <a:pt x="409" y="718"/>
                  </a:lnTo>
                  <a:lnTo>
                    <a:pt x="402" y="725"/>
                  </a:lnTo>
                  <a:lnTo>
                    <a:pt x="394" y="731"/>
                  </a:lnTo>
                  <a:lnTo>
                    <a:pt x="391" y="733"/>
                  </a:lnTo>
                  <a:lnTo>
                    <a:pt x="389" y="736"/>
                  </a:lnTo>
                  <a:lnTo>
                    <a:pt x="387" y="739"/>
                  </a:lnTo>
                  <a:lnTo>
                    <a:pt x="387" y="742"/>
                  </a:lnTo>
                  <a:lnTo>
                    <a:pt x="371" y="742"/>
                  </a:lnTo>
                  <a:lnTo>
                    <a:pt x="371" y="757"/>
                  </a:lnTo>
                  <a:lnTo>
                    <a:pt x="355" y="757"/>
                  </a:lnTo>
                  <a:lnTo>
                    <a:pt x="354" y="760"/>
                  </a:lnTo>
                  <a:lnTo>
                    <a:pt x="354" y="762"/>
                  </a:lnTo>
                  <a:lnTo>
                    <a:pt x="352" y="763"/>
                  </a:lnTo>
                  <a:lnTo>
                    <a:pt x="350" y="764"/>
                  </a:lnTo>
                  <a:lnTo>
                    <a:pt x="345" y="765"/>
                  </a:lnTo>
                  <a:lnTo>
                    <a:pt x="340" y="765"/>
                  </a:lnTo>
                  <a:lnTo>
                    <a:pt x="340" y="769"/>
                  </a:lnTo>
                  <a:lnTo>
                    <a:pt x="339" y="771"/>
                  </a:lnTo>
                  <a:lnTo>
                    <a:pt x="336" y="773"/>
                  </a:lnTo>
                  <a:lnTo>
                    <a:pt x="335" y="775"/>
                  </a:lnTo>
                  <a:lnTo>
                    <a:pt x="333" y="777"/>
                  </a:lnTo>
                  <a:lnTo>
                    <a:pt x="330" y="780"/>
                  </a:lnTo>
                  <a:lnTo>
                    <a:pt x="327" y="780"/>
                  </a:lnTo>
                  <a:lnTo>
                    <a:pt x="324" y="781"/>
                  </a:lnTo>
                  <a:lnTo>
                    <a:pt x="324" y="785"/>
                  </a:lnTo>
                  <a:lnTo>
                    <a:pt x="323" y="787"/>
                  </a:lnTo>
                  <a:lnTo>
                    <a:pt x="322" y="789"/>
                  </a:lnTo>
                  <a:lnTo>
                    <a:pt x="321" y="789"/>
                  </a:lnTo>
                  <a:lnTo>
                    <a:pt x="318" y="789"/>
                  </a:lnTo>
                  <a:lnTo>
                    <a:pt x="317" y="790"/>
                  </a:lnTo>
                  <a:lnTo>
                    <a:pt x="316" y="792"/>
                  </a:lnTo>
                  <a:lnTo>
                    <a:pt x="316" y="796"/>
                  </a:lnTo>
                  <a:lnTo>
                    <a:pt x="301" y="796"/>
                  </a:lnTo>
                  <a:lnTo>
                    <a:pt x="301" y="801"/>
                  </a:lnTo>
                  <a:lnTo>
                    <a:pt x="299" y="803"/>
                  </a:lnTo>
                  <a:lnTo>
                    <a:pt x="298" y="803"/>
                  </a:lnTo>
                  <a:lnTo>
                    <a:pt x="297" y="804"/>
                  </a:lnTo>
                  <a:lnTo>
                    <a:pt x="296" y="804"/>
                  </a:lnTo>
                  <a:lnTo>
                    <a:pt x="294" y="804"/>
                  </a:lnTo>
                  <a:lnTo>
                    <a:pt x="294" y="808"/>
                  </a:lnTo>
                  <a:lnTo>
                    <a:pt x="293" y="811"/>
                  </a:lnTo>
                  <a:lnTo>
                    <a:pt x="278" y="811"/>
                  </a:lnTo>
                  <a:lnTo>
                    <a:pt x="272" y="819"/>
                  </a:lnTo>
                  <a:lnTo>
                    <a:pt x="266" y="825"/>
                  </a:lnTo>
                  <a:lnTo>
                    <a:pt x="264" y="830"/>
                  </a:lnTo>
                  <a:lnTo>
                    <a:pt x="260" y="832"/>
                  </a:lnTo>
                  <a:lnTo>
                    <a:pt x="257" y="834"/>
                  </a:lnTo>
                  <a:lnTo>
                    <a:pt x="255" y="834"/>
                  </a:lnTo>
                  <a:lnTo>
                    <a:pt x="255" y="858"/>
                  </a:lnTo>
                  <a:lnTo>
                    <a:pt x="239" y="866"/>
                  </a:lnTo>
                  <a:lnTo>
                    <a:pt x="238" y="882"/>
                  </a:lnTo>
                  <a:lnTo>
                    <a:pt x="235" y="899"/>
                  </a:lnTo>
                  <a:lnTo>
                    <a:pt x="233" y="915"/>
                  </a:lnTo>
                  <a:lnTo>
                    <a:pt x="231" y="927"/>
                  </a:lnTo>
                  <a:lnTo>
                    <a:pt x="224" y="935"/>
                  </a:lnTo>
                  <a:lnTo>
                    <a:pt x="219" y="936"/>
                  </a:lnTo>
                  <a:lnTo>
                    <a:pt x="217" y="936"/>
                  </a:lnTo>
                  <a:lnTo>
                    <a:pt x="216" y="938"/>
                  </a:lnTo>
                  <a:lnTo>
                    <a:pt x="216" y="939"/>
                  </a:lnTo>
                  <a:lnTo>
                    <a:pt x="216" y="940"/>
                  </a:lnTo>
                  <a:lnTo>
                    <a:pt x="215" y="941"/>
                  </a:lnTo>
                  <a:lnTo>
                    <a:pt x="212" y="943"/>
                  </a:lnTo>
                  <a:lnTo>
                    <a:pt x="208" y="943"/>
                  </a:lnTo>
                  <a:lnTo>
                    <a:pt x="208" y="958"/>
                  </a:lnTo>
                  <a:lnTo>
                    <a:pt x="199" y="967"/>
                  </a:lnTo>
                  <a:lnTo>
                    <a:pt x="178" y="985"/>
                  </a:lnTo>
                  <a:lnTo>
                    <a:pt x="157" y="1004"/>
                  </a:lnTo>
                  <a:lnTo>
                    <a:pt x="147" y="1013"/>
                  </a:lnTo>
                  <a:lnTo>
                    <a:pt x="128" y="1014"/>
                  </a:lnTo>
                  <a:lnTo>
                    <a:pt x="106" y="1016"/>
                  </a:lnTo>
                  <a:lnTo>
                    <a:pt x="84" y="1019"/>
                  </a:lnTo>
                  <a:lnTo>
                    <a:pt x="62" y="1020"/>
                  </a:lnTo>
                  <a:lnTo>
                    <a:pt x="54" y="1027"/>
                  </a:lnTo>
                  <a:lnTo>
                    <a:pt x="51" y="1040"/>
                  </a:lnTo>
                  <a:lnTo>
                    <a:pt x="45" y="1058"/>
                  </a:lnTo>
                  <a:lnTo>
                    <a:pt x="42" y="1066"/>
                  </a:lnTo>
                  <a:lnTo>
                    <a:pt x="37" y="1074"/>
                  </a:lnTo>
                  <a:lnTo>
                    <a:pt x="34" y="1080"/>
                  </a:lnTo>
                  <a:lnTo>
                    <a:pt x="30" y="1082"/>
                  </a:lnTo>
                  <a:lnTo>
                    <a:pt x="29" y="1091"/>
                  </a:lnTo>
                  <a:lnTo>
                    <a:pt x="26" y="1104"/>
                  </a:lnTo>
                  <a:lnTo>
                    <a:pt x="24" y="1110"/>
                  </a:lnTo>
                  <a:lnTo>
                    <a:pt x="20" y="1116"/>
                  </a:lnTo>
                  <a:lnTo>
                    <a:pt x="18" y="1119"/>
                  </a:lnTo>
                  <a:lnTo>
                    <a:pt x="15" y="1120"/>
                  </a:lnTo>
                  <a:lnTo>
                    <a:pt x="4" y="1195"/>
                  </a:lnTo>
                  <a:lnTo>
                    <a:pt x="0" y="1195"/>
                  </a:lnTo>
                  <a:lnTo>
                    <a:pt x="13" y="1194"/>
                  </a:lnTo>
                  <a:lnTo>
                    <a:pt x="37" y="1194"/>
                  </a:lnTo>
                  <a:lnTo>
                    <a:pt x="71" y="1196"/>
                  </a:lnTo>
                  <a:lnTo>
                    <a:pt x="89" y="1198"/>
                  </a:lnTo>
                  <a:lnTo>
                    <a:pt x="107" y="1204"/>
                  </a:lnTo>
                  <a:lnTo>
                    <a:pt x="118" y="1206"/>
                  </a:lnTo>
                  <a:lnTo>
                    <a:pt x="126" y="1208"/>
                  </a:lnTo>
                  <a:lnTo>
                    <a:pt x="137" y="1209"/>
                  </a:lnTo>
                  <a:lnTo>
                    <a:pt x="145" y="1210"/>
                  </a:lnTo>
                  <a:lnTo>
                    <a:pt x="173" y="1208"/>
                  </a:lnTo>
                  <a:lnTo>
                    <a:pt x="201" y="1205"/>
                  </a:lnTo>
                  <a:lnTo>
                    <a:pt x="227" y="1199"/>
                  </a:lnTo>
                  <a:lnTo>
                    <a:pt x="249" y="1195"/>
                  </a:lnTo>
                  <a:lnTo>
                    <a:pt x="269" y="1189"/>
                  </a:lnTo>
                  <a:lnTo>
                    <a:pt x="284" y="1186"/>
                  </a:lnTo>
                  <a:lnTo>
                    <a:pt x="289" y="1185"/>
                  </a:lnTo>
                  <a:lnTo>
                    <a:pt x="294" y="1184"/>
                  </a:lnTo>
                  <a:lnTo>
                    <a:pt x="296" y="1185"/>
                  </a:lnTo>
                  <a:lnTo>
                    <a:pt x="297" y="1185"/>
                  </a:lnTo>
                  <a:lnTo>
                    <a:pt x="307" y="1186"/>
                  </a:lnTo>
                  <a:lnTo>
                    <a:pt x="321" y="1188"/>
                  </a:lnTo>
                  <a:lnTo>
                    <a:pt x="337" y="1191"/>
                  </a:lnTo>
                  <a:lnTo>
                    <a:pt x="358" y="1196"/>
                  </a:lnTo>
                  <a:lnTo>
                    <a:pt x="404" y="1207"/>
                  </a:lnTo>
                  <a:lnTo>
                    <a:pt x="457" y="1221"/>
                  </a:lnTo>
                  <a:lnTo>
                    <a:pt x="468" y="1223"/>
                  </a:lnTo>
                  <a:lnTo>
                    <a:pt x="479" y="1224"/>
                  </a:lnTo>
                  <a:lnTo>
                    <a:pt x="492" y="1226"/>
                  </a:lnTo>
                  <a:lnTo>
                    <a:pt x="504" y="1226"/>
                  </a:lnTo>
                  <a:lnTo>
                    <a:pt x="529" y="1226"/>
                  </a:lnTo>
                  <a:lnTo>
                    <a:pt x="555" y="1226"/>
                  </a:lnTo>
                  <a:lnTo>
                    <a:pt x="580" y="1225"/>
                  </a:lnTo>
                  <a:lnTo>
                    <a:pt x="602" y="1225"/>
                  </a:lnTo>
                  <a:lnTo>
                    <a:pt x="612" y="1226"/>
                  </a:lnTo>
                  <a:lnTo>
                    <a:pt x="622" y="1226"/>
                  </a:lnTo>
                  <a:lnTo>
                    <a:pt x="631" y="1228"/>
                  </a:lnTo>
                  <a:lnTo>
                    <a:pt x="638" y="1231"/>
                  </a:lnTo>
                  <a:lnTo>
                    <a:pt x="642" y="1232"/>
                  </a:lnTo>
                  <a:lnTo>
                    <a:pt x="644" y="1234"/>
                  </a:lnTo>
                  <a:lnTo>
                    <a:pt x="647" y="1237"/>
                  </a:lnTo>
                  <a:lnTo>
                    <a:pt x="649" y="1241"/>
                  </a:lnTo>
                  <a:lnTo>
                    <a:pt x="651" y="1250"/>
                  </a:lnTo>
                  <a:lnTo>
                    <a:pt x="651" y="1258"/>
                  </a:lnTo>
                  <a:lnTo>
                    <a:pt x="650" y="1274"/>
                  </a:lnTo>
                  <a:lnTo>
                    <a:pt x="649" y="1283"/>
                  </a:lnTo>
                  <a:lnTo>
                    <a:pt x="657" y="1284"/>
                  </a:lnTo>
                  <a:lnTo>
                    <a:pt x="668" y="1286"/>
                  </a:lnTo>
                  <a:lnTo>
                    <a:pt x="680" y="1291"/>
                  </a:lnTo>
                  <a:lnTo>
                    <a:pt x="694" y="1295"/>
                  </a:lnTo>
                  <a:lnTo>
                    <a:pt x="706" y="1301"/>
                  </a:lnTo>
                  <a:lnTo>
                    <a:pt x="716" y="1305"/>
                  </a:lnTo>
                  <a:lnTo>
                    <a:pt x="724" y="1310"/>
                  </a:lnTo>
                  <a:lnTo>
                    <a:pt x="726" y="1314"/>
                  </a:lnTo>
                  <a:lnTo>
                    <a:pt x="728" y="1314"/>
                  </a:lnTo>
                  <a:lnTo>
                    <a:pt x="723" y="1277"/>
                  </a:lnTo>
                  <a:lnTo>
                    <a:pt x="717" y="1242"/>
                  </a:lnTo>
                  <a:lnTo>
                    <a:pt x="715" y="1225"/>
                  </a:lnTo>
                  <a:lnTo>
                    <a:pt x="714" y="1208"/>
                  </a:lnTo>
                  <a:lnTo>
                    <a:pt x="713" y="1193"/>
                  </a:lnTo>
                  <a:lnTo>
                    <a:pt x="713" y="1178"/>
                  </a:lnTo>
                  <a:lnTo>
                    <a:pt x="714" y="1164"/>
                  </a:lnTo>
                  <a:lnTo>
                    <a:pt x="715" y="1150"/>
                  </a:lnTo>
                  <a:lnTo>
                    <a:pt x="718" y="1138"/>
                  </a:lnTo>
                  <a:lnTo>
                    <a:pt x="721" y="1127"/>
                  </a:lnTo>
                  <a:lnTo>
                    <a:pt x="727" y="1118"/>
                  </a:lnTo>
                  <a:lnTo>
                    <a:pt x="734" y="1109"/>
                  </a:lnTo>
                  <a:lnTo>
                    <a:pt x="742" y="1102"/>
                  </a:lnTo>
                  <a:lnTo>
                    <a:pt x="750" y="1097"/>
                  </a:lnTo>
                  <a:lnTo>
                    <a:pt x="772" y="1088"/>
                  </a:lnTo>
                  <a:lnTo>
                    <a:pt x="793" y="1081"/>
                  </a:lnTo>
                  <a:lnTo>
                    <a:pt x="814" y="1077"/>
                  </a:lnTo>
                  <a:lnTo>
                    <a:pt x="834" y="1073"/>
                  </a:lnTo>
                  <a:lnTo>
                    <a:pt x="854" y="1072"/>
                  </a:lnTo>
                  <a:lnTo>
                    <a:pt x="873" y="1072"/>
                  </a:lnTo>
                  <a:lnTo>
                    <a:pt x="892" y="1072"/>
                  </a:lnTo>
                  <a:lnTo>
                    <a:pt x="911" y="1074"/>
                  </a:lnTo>
                  <a:lnTo>
                    <a:pt x="947" y="1078"/>
                  </a:lnTo>
                  <a:lnTo>
                    <a:pt x="982" y="1082"/>
                  </a:lnTo>
                  <a:lnTo>
                    <a:pt x="998" y="1083"/>
                  </a:lnTo>
                  <a:lnTo>
                    <a:pt x="1015" y="1083"/>
                  </a:lnTo>
                  <a:lnTo>
                    <a:pt x="1032" y="1082"/>
                  </a:lnTo>
                  <a:lnTo>
                    <a:pt x="1047" y="1080"/>
                  </a:lnTo>
                  <a:lnTo>
                    <a:pt x="1057" y="1077"/>
                  </a:lnTo>
                  <a:lnTo>
                    <a:pt x="1068" y="1073"/>
                  </a:lnTo>
                  <a:lnTo>
                    <a:pt x="1079" y="1069"/>
                  </a:lnTo>
                  <a:lnTo>
                    <a:pt x="1088" y="1062"/>
                  </a:lnTo>
                  <a:lnTo>
                    <a:pt x="1098" y="1055"/>
                  </a:lnTo>
                  <a:lnTo>
                    <a:pt x="1108" y="1048"/>
                  </a:lnTo>
                  <a:lnTo>
                    <a:pt x="1118" y="1039"/>
                  </a:lnTo>
                  <a:lnTo>
                    <a:pt x="1127" y="1029"/>
                  </a:lnTo>
                  <a:lnTo>
                    <a:pt x="1137" y="1017"/>
                  </a:lnTo>
                  <a:lnTo>
                    <a:pt x="1147" y="1004"/>
                  </a:lnTo>
                  <a:lnTo>
                    <a:pt x="1156" y="991"/>
                  </a:lnTo>
                  <a:lnTo>
                    <a:pt x="1166" y="976"/>
                  </a:lnTo>
                  <a:lnTo>
                    <a:pt x="1186" y="944"/>
                  </a:lnTo>
                  <a:lnTo>
                    <a:pt x="1207" y="906"/>
                  </a:lnTo>
                  <a:lnTo>
                    <a:pt x="1208" y="907"/>
                  </a:lnTo>
                  <a:lnTo>
                    <a:pt x="1212" y="906"/>
                  </a:lnTo>
                  <a:lnTo>
                    <a:pt x="1214" y="902"/>
                  </a:lnTo>
                  <a:lnTo>
                    <a:pt x="1216" y="898"/>
                  </a:lnTo>
                  <a:lnTo>
                    <a:pt x="1222" y="885"/>
                  </a:lnTo>
                  <a:lnTo>
                    <a:pt x="1227" y="868"/>
                  </a:lnTo>
                  <a:lnTo>
                    <a:pt x="1238" y="831"/>
                  </a:lnTo>
                  <a:lnTo>
                    <a:pt x="1249" y="802"/>
                  </a:lnTo>
                  <a:lnTo>
                    <a:pt x="1268" y="769"/>
                  </a:lnTo>
                  <a:lnTo>
                    <a:pt x="1284" y="742"/>
                  </a:lnTo>
                  <a:lnTo>
                    <a:pt x="1290" y="732"/>
                  </a:lnTo>
                  <a:lnTo>
                    <a:pt x="1294" y="722"/>
                  </a:lnTo>
                  <a:lnTo>
                    <a:pt x="1297" y="713"/>
                  </a:lnTo>
                  <a:lnTo>
                    <a:pt x="1299" y="704"/>
                  </a:lnTo>
                  <a:lnTo>
                    <a:pt x="1301" y="703"/>
                  </a:lnTo>
                  <a:lnTo>
                    <a:pt x="1303" y="702"/>
                  </a:lnTo>
                  <a:lnTo>
                    <a:pt x="1304" y="700"/>
                  </a:lnTo>
                  <a:lnTo>
                    <a:pt x="1305" y="698"/>
                  </a:lnTo>
                  <a:lnTo>
                    <a:pt x="1305" y="694"/>
                  </a:lnTo>
                  <a:lnTo>
                    <a:pt x="1306" y="688"/>
                  </a:lnTo>
                  <a:lnTo>
                    <a:pt x="1308" y="687"/>
                  </a:lnTo>
                  <a:lnTo>
                    <a:pt x="1309" y="685"/>
                  </a:lnTo>
                  <a:lnTo>
                    <a:pt x="1310" y="683"/>
                  </a:lnTo>
                  <a:lnTo>
                    <a:pt x="1311" y="678"/>
                  </a:lnTo>
                  <a:lnTo>
                    <a:pt x="1312" y="668"/>
                  </a:lnTo>
                  <a:lnTo>
                    <a:pt x="1313" y="656"/>
                  </a:lnTo>
                  <a:lnTo>
                    <a:pt x="1313" y="632"/>
                  </a:lnTo>
                  <a:lnTo>
                    <a:pt x="1313" y="618"/>
                  </a:lnTo>
                  <a:lnTo>
                    <a:pt x="1299" y="610"/>
                  </a:lnTo>
                  <a:lnTo>
                    <a:pt x="1291" y="603"/>
                  </a:lnTo>
                  <a:lnTo>
                    <a:pt x="1290" y="600"/>
                  </a:lnTo>
                  <a:lnTo>
                    <a:pt x="1286" y="596"/>
                  </a:lnTo>
                  <a:lnTo>
                    <a:pt x="1283" y="592"/>
                  </a:lnTo>
                  <a:lnTo>
                    <a:pt x="1277" y="589"/>
                  </a:lnTo>
                  <a:lnTo>
                    <a:pt x="1273" y="585"/>
                  </a:lnTo>
                  <a:lnTo>
                    <a:pt x="1267" y="582"/>
                  </a:lnTo>
                  <a:lnTo>
                    <a:pt x="1263" y="580"/>
                  </a:lnTo>
                  <a:lnTo>
                    <a:pt x="1260" y="580"/>
                  </a:lnTo>
                  <a:lnTo>
                    <a:pt x="1258" y="577"/>
                  </a:lnTo>
                  <a:lnTo>
                    <a:pt x="1257" y="574"/>
                  </a:lnTo>
                  <a:lnTo>
                    <a:pt x="1254" y="571"/>
                  </a:lnTo>
                  <a:lnTo>
                    <a:pt x="1251" y="569"/>
                  </a:lnTo>
                  <a:lnTo>
                    <a:pt x="1243" y="565"/>
                  </a:lnTo>
                  <a:lnTo>
                    <a:pt x="1236" y="564"/>
                  </a:lnTo>
                  <a:lnTo>
                    <a:pt x="1235" y="558"/>
                  </a:lnTo>
                  <a:lnTo>
                    <a:pt x="1232" y="550"/>
                  </a:lnTo>
                  <a:lnTo>
                    <a:pt x="1229" y="546"/>
                  </a:lnTo>
                  <a:lnTo>
                    <a:pt x="1226" y="543"/>
                  </a:lnTo>
                  <a:lnTo>
                    <a:pt x="1224" y="542"/>
                  </a:lnTo>
                  <a:lnTo>
                    <a:pt x="1220" y="541"/>
                  </a:lnTo>
                  <a:lnTo>
                    <a:pt x="1220" y="517"/>
                  </a:lnTo>
                  <a:lnTo>
                    <a:pt x="1216" y="517"/>
                  </a:lnTo>
                  <a:lnTo>
                    <a:pt x="1214" y="516"/>
                  </a:lnTo>
                  <a:lnTo>
                    <a:pt x="1214" y="515"/>
                  </a:lnTo>
                  <a:lnTo>
                    <a:pt x="1213" y="514"/>
                  </a:lnTo>
                  <a:lnTo>
                    <a:pt x="1213" y="513"/>
                  </a:lnTo>
                  <a:lnTo>
                    <a:pt x="1213" y="512"/>
                  </a:lnTo>
                  <a:lnTo>
                    <a:pt x="1210" y="511"/>
                  </a:lnTo>
                  <a:lnTo>
                    <a:pt x="1206" y="510"/>
                  </a:lnTo>
                  <a:lnTo>
                    <a:pt x="1206" y="472"/>
                  </a:lnTo>
                  <a:lnTo>
                    <a:pt x="1203" y="472"/>
                  </a:lnTo>
                  <a:lnTo>
                    <a:pt x="1201" y="471"/>
                  </a:lnTo>
                  <a:lnTo>
                    <a:pt x="1199" y="468"/>
                  </a:lnTo>
                  <a:lnTo>
                    <a:pt x="1198" y="467"/>
                  </a:lnTo>
                  <a:lnTo>
                    <a:pt x="1198" y="462"/>
                  </a:lnTo>
                  <a:lnTo>
                    <a:pt x="1198" y="456"/>
                  </a:lnTo>
                  <a:lnTo>
                    <a:pt x="1191" y="455"/>
                  </a:lnTo>
                  <a:lnTo>
                    <a:pt x="1185" y="454"/>
                  </a:lnTo>
                  <a:lnTo>
                    <a:pt x="1178" y="452"/>
                  </a:lnTo>
                  <a:lnTo>
                    <a:pt x="1170" y="448"/>
                  </a:lnTo>
                  <a:lnTo>
                    <a:pt x="1164" y="446"/>
                  </a:lnTo>
                  <a:lnTo>
                    <a:pt x="1157" y="443"/>
                  </a:lnTo>
                  <a:lnTo>
                    <a:pt x="1150" y="442"/>
                  </a:lnTo>
                  <a:lnTo>
                    <a:pt x="1143" y="440"/>
                  </a:lnTo>
                  <a:lnTo>
                    <a:pt x="1143" y="436"/>
                  </a:lnTo>
                  <a:lnTo>
                    <a:pt x="1142" y="434"/>
                  </a:lnTo>
                  <a:lnTo>
                    <a:pt x="1141" y="433"/>
                  </a:lnTo>
                  <a:lnTo>
                    <a:pt x="1140" y="433"/>
                  </a:lnTo>
                  <a:lnTo>
                    <a:pt x="1138" y="433"/>
                  </a:lnTo>
                  <a:lnTo>
                    <a:pt x="1137" y="431"/>
                  </a:lnTo>
                  <a:lnTo>
                    <a:pt x="1136" y="429"/>
                  </a:lnTo>
                  <a:lnTo>
                    <a:pt x="1136" y="425"/>
                  </a:lnTo>
                  <a:lnTo>
                    <a:pt x="1120" y="421"/>
                  </a:lnTo>
                  <a:lnTo>
                    <a:pt x="1105" y="417"/>
                  </a:lnTo>
                  <a:lnTo>
                    <a:pt x="1098" y="409"/>
                  </a:lnTo>
                  <a:lnTo>
                    <a:pt x="1098" y="395"/>
                  </a:lnTo>
                  <a:lnTo>
                    <a:pt x="1090" y="387"/>
                  </a:lnTo>
                  <a:lnTo>
                    <a:pt x="1086" y="386"/>
                  </a:lnTo>
                  <a:lnTo>
                    <a:pt x="1082" y="383"/>
                  </a:lnTo>
                  <a:lnTo>
                    <a:pt x="1079" y="381"/>
                  </a:lnTo>
                  <a:lnTo>
                    <a:pt x="1075" y="378"/>
                  </a:lnTo>
                  <a:lnTo>
                    <a:pt x="1072" y="375"/>
                  </a:lnTo>
                  <a:lnTo>
                    <a:pt x="1069" y="370"/>
                  </a:lnTo>
                  <a:lnTo>
                    <a:pt x="1066" y="367"/>
                  </a:lnTo>
                  <a:lnTo>
                    <a:pt x="1066" y="363"/>
                  </a:lnTo>
                  <a:lnTo>
                    <a:pt x="1059" y="356"/>
                  </a:lnTo>
                  <a:lnTo>
                    <a:pt x="1051" y="348"/>
                  </a:lnTo>
                  <a:lnTo>
                    <a:pt x="1047" y="347"/>
                  </a:lnTo>
                  <a:lnTo>
                    <a:pt x="1044" y="344"/>
                  </a:lnTo>
                  <a:lnTo>
                    <a:pt x="1040" y="340"/>
                  </a:lnTo>
                  <a:lnTo>
                    <a:pt x="1036" y="335"/>
                  </a:lnTo>
                  <a:lnTo>
                    <a:pt x="1033" y="330"/>
                  </a:lnTo>
                  <a:lnTo>
                    <a:pt x="1031" y="325"/>
                  </a:lnTo>
                  <a:lnTo>
                    <a:pt x="1028" y="321"/>
                  </a:lnTo>
                  <a:lnTo>
                    <a:pt x="1027" y="317"/>
                  </a:lnTo>
                  <a:lnTo>
                    <a:pt x="1024" y="315"/>
                  </a:lnTo>
                  <a:lnTo>
                    <a:pt x="1021" y="313"/>
                  </a:lnTo>
                  <a:lnTo>
                    <a:pt x="1017" y="309"/>
                  </a:lnTo>
                  <a:lnTo>
                    <a:pt x="1013" y="304"/>
                  </a:lnTo>
                  <a:lnTo>
                    <a:pt x="1009" y="299"/>
                  </a:lnTo>
                  <a:lnTo>
                    <a:pt x="1007" y="294"/>
                  </a:lnTo>
                  <a:lnTo>
                    <a:pt x="1005" y="290"/>
                  </a:lnTo>
                  <a:lnTo>
                    <a:pt x="1004" y="286"/>
                  </a:lnTo>
                  <a:lnTo>
                    <a:pt x="997" y="279"/>
                  </a:lnTo>
                  <a:lnTo>
                    <a:pt x="982" y="279"/>
                  </a:lnTo>
                  <a:lnTo>
                    <a:pt x="979" y="275"/>
                  </a:lnTo>
                  <a:lnTo>
                    <a:pt x="974" y="272"/>
                  </a:lnTo>
                  <a:lnTo>
                    <a:pt x="967" y="270"/>
                  </a:lnTo>
                  <a:lnTo>
                    <a:pt x="958" y="265"/>
                  </a:lnTo>
                  <a:lnTo>
                    <a:pt x="949" y="262"/>
                  </a:lnTo>
                  <a:lnTo>
                    <a:pt x="942" y="257"/>
                  </a:lnTo>
                  <a:lnTo>
                    <a:pt x="939" y="255"/>
                  </a:lnTo>
                  <a:lnTo>
                    <a:pt x="937" y="253"/>
                  </a:lnTo>
                  <a:lnTo>
                    <a:pt x="936" y="251"/>
                  </a:lnTo>
                  <a:lnTo>
                    <a:pt x="935" y="247"/>
                  </a:lnTo>
                  <a:lnTo>
                    <a:pt x="919" y="247"/>
                  </a:lnTo>
                  <a:lnTo>
                    <a:pt x="919" y="232"/>
                  </a:lnTo>
                  <a:lnTo>
                    <a:pt x="915" y="232"/>
                  </a:lnTo>
                  <a:lnTo>
                    <a:pt x="910" y="229"/>
                  </a:lnTo>
                  <a:lnTo>
                    <a:pt x="908" y="226"/>
                  </a:lnTo>
                  <a:lnTo>
                    <a:pt x="906" y="223"/>
                  </a:lnTo>
                  <a:lnTo>
                    <a:pt x="905" y="216"/>
                  </a:lnTo>
                  <a:lnTo>
                    <a:pt x="903" y="208"/>
                  </a:lnTo>
                  <a:lnTo>
                    <a:pt x="897" y="200"/>
                  </a:lnTo>
                  <a:lnTo>
                    <a:pt x="892" y="200"/>
                  </a:lnTo>
                  <a:lnTo>
                    <a:pt x="889" y="199"/>
                  </a:lnTo>
                  <a:lnTo>
                    <a:pt x="889" y="198"/>
                  </a:lnTo>
                  <a:lnTo>
                    <a:pt x="889" y="197"/>
                  </a:lnTo>
                  <a:lnTo>
                    <a:pt x="889" y="196"/>
                  </a:lnTo>
                  <a:lnTo>
                    <a:pt x="888" y="195"/>
                  </a:lnTo>
                  <a:lnTo>
                    <a:pt x="886" y="194"/>
                  </a:lnTo>
                  <a:lnTo>
                    <a:pt x="881" y="194"/>
                  </a:lnTo>
                  <a:lnTo>
                    <a:pt x="881" y="170"/>
                  </a:lnTo>
                  <a:lnTo>
                    <a:pt x="879" y="169"/>
                  </a:lnTo>
                  <a:lnTo>
                    <a:pt x="878" y="167"/>
                  </a:lnTo>
                  <a:lnTo>
                    <a:pt x="877" y="164"/>
                  </a:lnTo>
                  <a:lnTo>
                    <a:pt x="877" y="159"/>
                  </a:lnTo>
                  <a:lnTo>
                    <a:pt x="874" y="147"/>
                  </a:lnTo>
                  <a:lnTo>
                    <a:pt x="874" y="133"/>
                  </a:lnTo>
                  <a:lnTo>
                    <a:pt x="873" y="104"/>
                  </a:lnTo>
                  <a:lnTo>
                    <a:pt x="873" y="85"/>
                  </a:lnTo>
                  <a:lnTo>
                    <a:pt x="874" y="84"/>
                  </a:lnTo>
                  <a:lnTo>
                    <a:pt x="876" y="82"/>
                  </a:lnTo>
                  <a:lnTo>
                    <a:pt x="877" y="79"/>
                  </a:lnTo>
                  <a:lnTo>
                    <a:pt x="878" y="74"/>
                  </a:lnTo>
                  <a:lnTo>
                    <a:pt x="879" y="63"/>
                  </a:lnTo>
                  <a:lnTo>
                    <a:pt x="880" y="50"/>
                  </a:lnTo>
                  <a:lnTo>
                    <a:pt x="881" y="23"/>
                  </a:lnTo>
                  <a:lnTo>
                    <a:pt x="881" y="7"/>
                  </a:lnTo>
                  <a:lnTo>
                    <a:pt x="873" y="0"/>
                  </a:lnTo>
                  <a:lnTo>
                    <a:pt x="858" y="1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7" name="Freeform 33"/>
            <p:cNvSpPr>
              <a:spLocks noChangeAspect="1"/>
            </p:cNvSpPr>
            <p:nvPr/>
          </p:nvSpPr>
          <p:spPr bwMode="gray">
            <a:xfrm rot="355651">
              <a:off x="5838825" y="3267075"/>
              <a:ext cx="269779" cy="221439"/>
            </a:xfrm>
            <a:custGeom>
              <a:avLst/>
              <a:gdLst/>
              <a:ahLst/>
              <a:cxnLst>
                <a:cxn ang="0">
                  <a:pos x="103" y="132"/>
                </a:cxn>
                <a:cxn ang="0">
                  <a:pos x="167" y="93"/>
                </a:cxn>
                <a:cxn ang="0">
                  <a:pos x="205" y="80"/>
                </a:cxn>
                <a:cxn ang="0">
                  <a:pos x="405" y="74"/>
                </a:cxn>
                <a:cxn ang="0">
                  <a:pos x="454" y="51"/>
                </a:cxn>
                <a:cxn ang="0">
                  <a:pos x="504" y="30"/>
                </a:cxn>
                <a:cxn ang="0">
                  <a:pos x="582" y="28"/>
                </a:cxn>
                <a:cxn ang="0">
                  <a:pos x="617" y="37"/>
                </a:cxn>
                <a:cxn ang="0">
                  <a:pos x="676" y="25"/>
                </a:cxn>
                <a:cxn ang="0">
                  <a:pos x="688" y="13"/>
                </a:cxn>
                <a:cxn ang="0">
                  <a:pos x="774" y="32"/>
                </a:cxn>
                <a:cxn ang="0">
                  <a:pos x="790" y="54"/>
                </a:cxn>
                <a:cxn ang="0">
                  <a:pos x="826" y="85"/>
                </a:cxn>
                <a:cxn ang="0">
                  <a:pos x="883" y="101"/>
                </a:cxn>
                <a:cxn ang="0">
                  <a:pos x="915" y="114"/>
                </a:cxn>
                <a:cxn ang="0">
                  <a:pos x="962" y="144"/>
                </a:cxn>
                <a:cxn ang="0">
                  <a:pos x="1071" y="177"/>
                </a:cxn>
                <a:cxn ang="0">
                  <a:pos x="1104" y="211"/>
                </a:cxn>
                <a:cxn ang="0">
                  <a:pos x="1129" y="244"/>
                </a:cxn>
                <a:cxn ang="0">
                  <a:pos x="1157" y="276"/>
                </a:cxn>
                <a:cxn ang="0">
                  <a:pos x="1211" y="331"/>
                </a:cxn>
                <a:cxn ang="0">
                  <a:pos x="1287" y="383"/>
                </a:cxn>
                <a:cxn ang="0">
                  <a:pos x="1339" y="417"/>
                </a:cxn>
                <a:cxn ang="0">
                  <a:pos x="1363" y="431"/>
                </a:cxn>
                <a:cxn ang="0">
                  <a:pos x="1424" y="479"/>
                </a:cxn>
                <a:cxn ang="0">
                  <a:pos x="1378" y="513"/>
                </a:cxn>
                <a:cxn ang="0">
                  <a:pos x="1347" y="528"/>
                </a:cxn>
                <a:cxn ang="0">
                  <a:pos x="1315" y="538"/>
                </a:cxn>
                <a:cxn ang="0">
                  <a:pos x="1110" y="561"/>
                </a:cxn>
                <a:cxn ang="0">
                  <a:pos x="947" y="583"/>
                </a:cxn>
                <a:cxn ang="0">
                  <a:pos x="922" y="722"/>
                </a:cxn>
                <a:cxn ang="0">
                  <a:pos x="935" y="760"/>
                </a:cxn>
                <a:cxn ang="0">
                  <a:pos x="952" y="844"/>
                </a:cxn>
                <a:cxn ang="0">
                  <a:pos x="1020" y="882"/>
                </a:cxn>
                <a:cxn ang="0">
                  <a:pos x="1057" y="987"/>
                </a:cxn>
                <a:cxn ang="0">
                  <a:pos x="1095" y="1094"/>
                </a:cxn>
                <a:cxn ang="0">
                  <a:pos x="1117" y="1132"/>
                </a:cxn>
                <a:cxn ang="0">
                  <a:pos x="1137" y="1168"/>
                </a:cxn>
                <a:cxn ang="0">
                  <a:pos x="1148" y="1257"/>
                </a:cxn>
                <a:cxn ang="0">
                  <a:pos x="1031" y="1289"/>
                </a:cxn>
                <a:cxn ang="0">
                  <a:pos x="887" y="1308"/>
                </a:cxn>
                <a:cxn ang="0">
                  <a:pos x="811" y="1364"/>
                </a:cxn>
                <a:cxn ang="0">
                  <a:pos x="677" y="1365"/>
                </a:cxn>
                <a:cxn ang="0">
                  <a:pos x="469" y="1278"/>
                </a:cxn>
                <a:cxn ang="0">
                  <a:pos x="397" y="1246"/>
                </a:cxn>
                <a:cxn ang="0">
                  <a:pos x="370" y="1133"/>
                </a:cxn>
                <a:cxn ang="0">
                  <a:pos x="399" y="1012"/>
                </a:cxn>
                <a:cxn ang="0">
                  <a:pos x="497" y="962"/>
                </a:cxn>
                <a:cxn ang="0">
                  <a:pos x="533" y="940"/>
                </a:cxn>
                <a:cxn ang="0">
                  <a:pos x="456" y="868"/>
                </a:cxn>
                <a:cxn ang="0">
                  <a:pos x="372" y="842"/>
                </a:cxn>
                <a:cxn ang="0">
                  <a:pos x="204" y="684"/>
                </a:cxn>
                <a:cxn ang="0">
                  <a:pos x="50" y="519"/>
                </a:cxn>
                <a:cxn ang="0">
                  <a:pos x="69" y="468"/>
                </a:cxn>
                <a:cxn ang="0">
                  <a:pos x="85" y="408"/>
                </a:cxn>
                <a:cxn ang="0">
                  <a:pos x="64" y="327"/>
                </a:cxn>
                <a:cxn ang="0">
                  <a:pos x="20" y="205"/>
                </a:cxn>
              </a:cxnLst>
              <a:rect l="0" t="0" r="r" b="b"/>
              <a:pathLst>
                <a:path w="1464" h="1373">
                  <a:moveTo>
                    <a:pt x="0" y="154"/>
                  </a:moveTo>
                  <a:lnTo>
                    <a:pt x="1" y="147"/>
                  </a:lnTo>
                  <a:lnTo>
                    <a:pt x="1" y="140"/>
                  </a:lnTo>
                  <a:lnTo>
                    <a:pt x="94" y="140"/>
                  </a:lnTo>
                  <a:lnTo>
                    <a:pt x="94" y="137"/>
                  </a:lnTo>
                  <a:lnTo>
                    <a:pt x="96" y="135"/>
                  </a:lnTo>
                  <a:lnTo>
                    <a:pt x="97" y="133"/>
                  </a:lnTo>
                  <a:lnTo>
                    <a:pt x="99" y="133"/>
                  </a:lnTo>
                  <a:lnTo>
                    <a:pt x="103" y="132"/>
                  </a:lnTo>
                  <a:lnTo>
                    <a:pt x="109" y="132"/>
                  </a:lnTo>
                  <a:lnTo>
                    <a:pt x="121" y="120"/>
                  </a:lnTo>
                  <a:lnTo>
                    <a:pt x="132" y="109"/>
                  </a:lnTo>
                  <a:lnTo>
                    <a:pt x="148" y="105"/>
                  </a:lnTo>
                  <a:lnTo>
                    <a:pt x="164" y="101"/>
                  </a:lnTo>
                  <a:lnTo>
                    <a:pt x="164" y="96"/>
                  </a:lnTo>
                  <a:lnTo>
                    <a:pt x="165" y="94"/>
                  </a:lnTo>
                  <a:lnTo>
                    <a:pt x="166" y="93"/>
                  </a:lnTo>
                  <a:lnTo>
                    <a:pt x="167" y="93"/>
                  </a:lnTo>
                  <a:lnTo>
                    <a:pt x="169" y="93"/>
                  </a:lnTo>
                  <a:lnTo>
                    <a:pt x="170" y="92"/>
                  </a:lnTo>
                  <a:lnTo>
                    <a:pt x="170" y="90"/>
                  </a:lnTo>
                  <a:lnTo>
                    <a:pt x="171" y="85"/>
                  </a:lnTo>
                  <a:lnTo>
                    <a:pt x="195" y="85"/>
                  </a:lnTo>
                  <a:lnTo>
                    <a:pt x="195" y="83"/>
                  </a:lnTo>
                  <a:lnTo>
                    <a:pt x="197" y="82"/>
                  </a:lnTo>
                  <a:lnTo>
                    <a:pt x="200" y="81"/>
                  </a:lnTo>
                  <a:lnTo>
                    <a:pt x="205" y="80"/>
                  </a:lnTo>
                  <a:lnTo>
                    <a:pt x="216" y="78"/>
                  </a:lnTo>
                  <a:lnTo>
                    <a:pt x="232" y="77"/>
                  </a:lnTo>
                  <a:lnTo>
                    <a:pt x="270" y="77"/>
                  </a:lnTo>
                  <a:lnTo>
                    <a:pt x="314" y="78"/>
                  </a:lnTo>
                  <a:lnTo>
                    <a:pt x="337" y="78"/>
                  </a:lnTo>
                  <a:lnTo>
                    <a:pt x="358" y="78"/>
                  </a:lnTo>
                  <a:lnTo>
                    <a:pt x="378" y="77"/>
                  </a:lnTo>
                  <a:lnTo>
                    <a:pt x="397" y="75"/>
                  </a:lnTo>
                  <a:lnTo>
                    <a:pt x="405" y="74"/>
                  </a:lnTo>
                  <a:lnTo>
                    <a:pt x="411" y="73"/>
                  </a:lnTo>
                  <a:lnTo>
                    <a:pt x="418" y="71"/>
                  </a:lnTo>
                  <a:lnTo>
                    <a:pt x="424" y="68"/>
                  </a:lnTo>
                  <a:lnTo>
                    <a:pt x="428" y="65"/>
                  </a:lnTo>
                  <a:lnTo>
                    <a:pt x="432" y="62"/>
                  </a:lnTo>
                  <a:lnTo>
                    <a:pt x="434" y="58"/>
                  </a:lnTo>
                  <a:lnTo>
                    <a:pt x="434" y="54"/>
                  </a:lnTo>
                  <a:lnTo>
                    <a:pt x="445" y="53"/>
                  </a:lnTo>
                  <a:lnTo>
                    <a:pt x="454" y="51"/>
                  </a:lnTo>
                  <a:lnTo>
                    <a:pt x="463" y="48"/>
                  </a:lnTo>
                  <a:lnTo>
                    <a:pt x="473" y="47"/>
                  </a:lnTo>
                  <a:lnTo>
                    <a:pt x="474" y="44"/>
                  </a:lnTo>
                  <a:lnTo>
                    <a:pt x="476" y="42"/>
                  </a:lnTo>
                  <a:lnTo>
                    <a:pt x="481" y="38"/>
                  </a:lnTo>
                  <a:lnTo>
                    <a:pt x="485" y="36"/>
                  </a:lnTo>
                  <a:lnTo>
                    <a:pt x="495" y="33"/>
                  </a:lnTo>
                  <a:lnTo>
                    <a:pt x="504" y="32"/>
                  </a:lnTo>
                  <a:lnTo>
                    <a:pt x="504" y="30"/>
                  </a:lnTo>
                  <a:lnTo>
                    <a:pt x="506" y="28"/>
                  </a:lnTo>
                  <a:lnTo>
                    <a:pt x="510" y="28"/>
                  </a:lnTo>
                  <a:lnTo>
                    <a:pt x="514" y="27"/>
                  </a:lnTo>
                  <a:lnTo>
                    <a:pt x="526" y="26"/>
                  </a:lnTo>
                  <a:lnTo>
                    <a:pt x="540" y="25"/>
                  </a:lnTo>
                  <a:lnTo>
                    <a:pt x="565" y="24"/>
                  </a:lnTo>
                  <a:lnTo>
                    <a:pt x="581" y="24"/>
                  </a:lnTo>
                  <a:lnTo>
                    <a:pt x="581" y="26"/>
                  </a:lnTo>
                  <a:lnTo>
                    <a:pt x="582" y="28"/>
                  </a:lnTo>
                  <a:lnTo>
                    <a:pt x="583" y="29"/>
                  </a:lnTo>
                  <a:lnTo>
                    <a:pt x="586" y="30"/>
                  </a:lnTo>
                  <a:lnTo>
                    <a:pt x="591" y="32"/>
                  </a:lnTo>
                  <a:lnTo>
                    <a:pt x="597" y="32"/>
                  </a:lnTo>
                  <a:lnTo>
                    <a:pt x="597" y="33"/>
                  </a:lnTo>
                  <a:lnTo>
                    <a:pt x="599" y="34"/>
                  </a:lnTo>
                  <a:lnTo>
                    <a:pt x="602" y="35"/>
                  </a:lnTo>
                  <a:lnTo>
                    <a:pt x="606" y="36"/>
                  </a:lnTo>
                  <a:lnTo>
                    <a:pt x="617" y="37"/>
                  </a:lnTo>
                  <a:lnTo>
                    <a:pt x="628" y="38"/>
                  </a:lnTo>
                  <a:lnTo>
                    <a:pt x="651" y="39"/>
                  </a:lnTo>
                  <a:lnTo>
                    <a:pt x="666" y="39"/>
                  </a:lnTo>
                  <a:lnTo>
                    <a:pt x="666" y="36"/>
                  </a:lnTo>
                  <a:lnTo>
                    <a:pt x="667" y="34"/>
                  </a:lnTo>
                  <a:lnTo>
                    <a:pt x="668" y="30"/>
                  </a:lnTo>
                  <a:lnTo>
                    <a:pt x="670" y="28"/>
                  </a:lnTo>
                  <a:lnTo>
                    <a:pt x="673" y="26"/>
                  </a:lnTo>
                  <a:lnTo>
                    <a:pt x="676" y="25"/>
                  </a:lnTo>
                  <a:lnTo>
                    <a:pt x="678" y="24"/>
                  </a:lnTo>
                  <a:lnTo>
                    <a:pt x="682" y="24"/>
                  </a:lnTo>
                  <a:lnTo>
                    <a:pt x="682" y="19"/>
                  </a:lnTo>
                  <a:lnTo>
                    <a:pt x="683" y="17"/>
                  </a:lnTo>
                  <a:lnTo>
                    <a:pt x="684" y="16"/>
                  </a:lnTo>
                  <a:lnTo>
                    <a:pt x="685" y="16"/>
                  </a:lnTo>
                  <a:lnTo>
                    <a:pt x="687" y="16"/>
                  </a:lnTo>
                  <a:lnTo>
                    <a:pt x="688" y="15"/>
                  </a:lnTo>
                  <a:lnTo>
                    <a:pt x="688" y="13"/>
                  </a:lnTo>
                  <a:lnTo>
                    <a:pt x="689" y="8"/>
                  </a:lnTo>
                  <a:lnTo>
                    <a:pt x="698" y="7"/>
                  </a:lnTo>
                  <a:lnTo>
                    <a:pt x="713" y="4"/>
                  </a:lnTo>
                  <a:lnTo>
                    <a:pt x="730" y="1"/>
                  </a:lnTo>
                  <a:lnTo>
                    <a:pt x="743" y="0"/>
                  </a:lnTo>
                  <a:lnTo>
                    <a:pt x="751" y="8"/>
                  </a:lnTo>
                  <a:lnTo>
                    <a:pt x="759" y="16"/>
                  </a:lnTo>
                  <a:lnTo>
                    <a:pt x="766" y="24"/>
                  </a:lnTo>
                  <a:lnTo>
                    <a:pt x="774" y="32"/>
                  </a:lnTo>
                  <a:lnTo>
                    <a:pt x="774" y="47"/>
                  </a:lnTo>
                  <a:lnTo>
                    <a:pt x="779" y="47"/>
                  </a:lnTo>
                  <a:lnTo>
                    <a:pt x="781" y="48"/>
                  </a:lnTo>
                  <a:lnTo>
                    <a:pt x="782" y="49"/>
                  </a:lnTo>
                  <a:lnTo>
                    <a:pt x="782" y="51"/>
                  </a:lnTo>
                  <a:lnTo>
                    <a:pt x="782" y="52"/>
                  </a:lnTo>
                  <a:lnTo>
                    <a:pt x="783" y="53"/>
                  </a:lnTo>
                  <a:lnTo>
                    <a:pt x="785" y="54"/>
                  </a:lnTo>
                  <a:lnTo>
                    <a:pt x="790" y="54"/>
                  </a:lnTo>
                  <a:lnTo>
                    <a:pt x="790" y="70"/>
                  </a:lnTo>
                  <a:lnTo>
                    <a:pt x="801" y="70"/>
                  </a:lnTo>
                  <a:lnTo>
                    <a:pt x="813" y="70"/>
                  </a:lnTo>
                  <a:lnTo>
                    <a:pt x="820" y="77"/>
                  </a:lnTo>
                  <a:lnTo>
                    <a:pt x="821" y="82"/>
                  </a:lnTo>
                  <a:lnTo>
                    <a:pt x="822" y="84"/>
                  </a:lnTo>
                  <a:lnTo>
                    <a:pt x="823" y="85"/>
                  </a:lnTo>
                  <a:lnTo>
                    <a:pt x="824" y="85"/>
                  </a:lnTo>
                  <a:lnTo>
                    <a:pt x="826" y="85"/>
                  </a:lnTo>
                  <a:lnTo>
                    <a:pt x="827" y="86"/>
                  </a:lnTo>
                  <a:lnTo>
                    <a:pt x="828" y="89"/>
                  </a:lnTo>
                  <a:lnTo>
                    <a:pt x="828" y="93"/>
                  </a:lnTo>
                  <a:lnTo>
                    <a:pt x="859" y="93"/>
                  </a:lnTo>
                  <a:lnTo>
                    <a:pt x="860" y="95"/>
                  </a:lnTo>
                  <a:lnTo>
                    <a:pt x="862" y="97"/>
                  </a:lnTo>
                  <a:lnTo>
                    <a:pt x="867" y="99"/>
                  </a:lnTo>
                  <a:lnTo>
                    <a:pt x="871" y="100"/>
                  </a:lnTo>
                  <a:lnTo>
                    <a:pt x="883" y="101"/>
                  </a:lnTo>
                  <a:lnTo>
                    <a:pt x="890" y="101"/>
                  </a:lnTo>
                  <a:lnTo>
                    <a:pt x="890" y="103"/>
                  </a:lnTo>
                  <a:lnTo>
                    <a:pt x="893" y="105"/>
                  </a:lnTo>
                  <a:lnTo>
                    <a:pt x="895" y="106"/>
                  </a:lnTo>
                  <a:lnTo>
                    <a:pt x="899" y="107"/>
                  </a:lnTo>
                  <a:lnTo>
                    <a:pt x="906" y="109"/>
                  </a:lnTo>
                  <a:lnTo>
                    <a:pt x="914" y="109"/>
                  </a:lnTo>
                  <a:lnTo>
                    <a:pt x="914" y="112"/>
                  </a:lnTo>
                  <a:lnTo>
                    <a:pt x="915" y="114"/>
                  </a:lnTo>
                  <a:lnTo>
                    <a:pt x="916" y="116"/>
                  </a:lnTo>
                  <a:lnTo>
                    <a:pt x="918" y="120"/>
                  </a:lnTo>
                  <a:lnTo>
                    <a:pt x="920" y="121"/>
                  </a:lnTo>
                  <a:lnTo>
                    <a:pt x="923" y="123"/>
                  </a:lnTo>
                  <a:lnTo>
                    <a:pt x="926" y="124"/>
                  </a:lnTo>
                  <a:lnTo>
                    <a:pt x="928" y="124"/>
                  </a:lnTo>
                  <a:lnTo>
                    <a:pt x="936" y="140"/>
                  </a:lnTo>
                  <a:lnTo>
                    <a:pt x="947" y="141"/>
                  </a:lnTo>
                  <a:lnTo>
                    <a:pt x="962" y="144"/>
                  </a:lnTo>
                  <a:lnTo>
                    <a:pt x="979" y="149"/>
                  </a:lnTo>
                  <a:lnTo>
                    <a:pt x="996" y="155"/>
                  </a:lnTo>
                  <a:lnTo>
                    <a:pt x="1015" y="161"/>
                  </a:lnTo>
                  <a:lnTo>
                    <a:pt x="1034" y="166"/>
                  </a:lnTo>
                  <a:lnTo>
                    <a:pt x="1052" y="169"/>
                  </a:lnTo>
                  <a:lnTo>
                    <a:pt x="1068" y="170"/>
                  </a:lnTo>
                  <a:lnTo>
                    <a:pt x="1068" y="173"/>
                  </a:lnTo>
                  <a:lnTo>
                    <a:pt x="1069" y="174"/>
                  </a:lnTo>
                  <a:lnTo>
                    <a:pt x="1071" y="177"/>
                  </a:lnTo>
                  <a:lnTo>
                    <a:pt x="1072" y="177"/>
                  </a:lnTo>
                  <a:lnTo>
                    <a:pt x="1078" y="178"/>
                  </a:lnTo>
                  <a:lnTo>
                    <a:pt x="1083" y="178"/>
                  </a:lnTo>
                  <a:lnTo>
                    <a:pt x="1091" y="186"/>
                  </a:lnTo>
                  <a:lnTo>
                    <a:pt x="1091" y="191"/>
                  </a:lnTo>
                  <a:lnTo>
                    <a:pt x="1094" y="197"/>
                  </a:lnTo>
                  <a:lnTo>
                    <a:pt x="1097" y="202"/>
                  </a:lnTo>
                  <a:lnTo>
                    <a:pt x="1100" y="207"/>
                  </a:lnTo>
                  <a:lnTo>
                    <a:pt x="1104" y="211"/>
                  </a:lnTo>
                  <a:lnTo>
                    <a:pt x="1107" y="215"/>
                  </a:lnTo>
                  <a:lnTo>
                    <a:pt x="1111" y="216"/>
                  </a:lnTo>
                  <a:lnTo>
                    <a:pt x="1115" y="217"/>
                  </a:lnTo>
                  <a:lnTo>
                    <a:pt x="1115" y="232"/>
                  </a:lnTo>
                  <a:lnTo>
                    <a:pt x="1123" y="240"/>
                  </a:lnTo>
                  <a:lnTo>
                    <a:pt x="1126" y="240"/>
                  </a:lnTo>
                  <a:lnTo>
                    <a:pt x="1129" y="241"/>
                  </a:lnTo>
                  <a:lnTo>
                    <a:pt x="1129" y="243"/>
                  </a:lnTo>
                  <a:lnTo>
                    <a:pt x="1129" y="244"/>
                  </a:lnTo>
                  <a:lnTo>
                    <a:pt x="1130" y="245"/>
                  </a:lnTo>
                  <a:lnTo>
                    <a:pt x="1130" y="247"/>
                  </a:lnTo>
                  <a:lnTo>
                    <a:pt x="1133" y="247"/>
                  </a:lnTo>
                  <a:lnTo>
                    <a:pt x="1137" y="248"/>
                  </a:lnTo>
                  <a:lnTo>
                    <a:pt x="1138" y="253"/>
                  </a:lnTo>
                  <a:lnTo>
                    <a:pt x="1140" y="257"/>
                  </a:lnTo>
                  <a:lnTo>
                    <a:pt x="1143" y="262"/>
                  </a:lnTo>
                  <a:lnTo>
                    <a:pt x="1147" y="266"/>
                  </a:lnTo>
                  <a:lnTo>
                    <a:pt x="1157" y="276"/>
                  </a:lnTo>
                  <a:lnTo>
                    <a:pt x="1168" y="286"/>
                  </a:lnTo>
                  <a:lnTo>
                    <a:pt x="1179" y="296"/>
                  </a:lnTo>
                  <a:lnTo>
                    <a:pt x="1190" y="306"/>
                  </a:lnTo>
                  <a:lnTo>
                    <a:pt x="1194" y="312"/>
                  </a:lnTo>
                  <a:lnTo>
                    <a:pt x="1196" y="316"/>
                  </a:lnTo>
                  <a:lnTo>
                    <a:pt x="1198" y="321"/>
                  </a:lnTo>
                  <a:lnTo>
                    <a:pt x="1200" y="325"/>
                  </a:lnTo>
                  <a:lnTo>
                    <a:pt x="1204" y="326"/>
                  </a:lnTo>
                  <a:lnTo>
                    <a:pt x="1211" y="331"/>
                  </a:lnTo>
                  <a:lnTo>
                    <a:pt x="1220" y="337"/>
                  </a:lnTo>
                  <a:lnTo>
                    <a:pt x="1230" y="344"/>
                  </a:lnTo>
                  <a:lnTo>
                    <a:pt x="1240" y="352"/>
                  </a:lnTo>
                  <a:lnTo>
                    <a:pt x="1250" y="357"/>
                  </a:lnTo>
                  <a:lnTo>
                    <a:pt x="1256" y="362"/>
                  </a:lnTo>
                  <a:lnTo>
                    <a:pt x="1261" y="363"/>
                  </a:lnTo>
                  <a:lnTo>
                    <a:pt x="1269" y="379"/>
                  </a:lnTo>
                  <a:lnTo>
                    <a:pt x="1278" y="380"/>
                  </a:lnTo>
                  <a:lnTo>
                    <a:pt x="1287" y="383"/>
                  </a:lnTo>
                  <a:lnTo>
                    <a:pt x="1294" y="387"/>
                  </a:lnTo>
                  <a:lnTo>
                    <a:pt x="1302" y="391"/>
                  </a:lnTo>
                  <a:lnTo>
                    <a:pt x="1310" y="395"/>
                  </a:lnTo>
                  <a:lnTo>
                    <a:pt x="1318" y="399"/>
                  </a:lnTo>
                  <a:lnTo>
                    <a:pt x="1325" y="401"/>
                  </a:lnTo>
                  <a:lnTo>
                    <a:pt x="1330" y="402"/>
                  </a:lnTo>
                  <a:lnTo>
                    <a:pt x="1338" y="410"/>
                  </a:lnTo>
                  <a:lnTo>
                    <a:pt x="1339" y="414"/>
                  </a:lnTo>
                  <a:lnTo>
                    <a:pt x="1339" y="417"/>
                  </a:lnTo>
                  <a:lnTo>
                    <a:pt x="1341" y="418"/>
                  </a:lnTo>
                  <a:lnTo>
                    <a:pt x="1342" y="418"/>
                  </a:lnTo>
                  <a:lnTo>
                    <a:pt x="1344" y="418"/>
                  </a:lnTo>
                  <a:lnTo>
                    <a:pt x="1345" y="419"/>
                  </a:lnTo>
                  <a:lnTo>
                    <a:pt x="1346" y="421"/>
                  </a:lnTo>
                  <a:lnTo>
                    <a:pt x="1346" y="426"/>
                  </a:lnTo>
                  <a:lnTo>
                    <a:pt x="1361" y="426"/>
                  </a:lnTo>
                  <a:lnTo>
                    <a:pt x="1361" y="428"/>
                  </a:lnTo>
                  <a:lnTo>
                    <a:pt x="1363" y="431"/>
                  </a:lnTo>
                  <a:lnTo>
                    <a:pt x="1365" y="433"/>
                  </a:lnTo>
                  <a:lnTo>
                    <a:pt x="1366" y="436"/>
                  </a:lnTo>
                  <a:lnTo>
                    <a:pt x="1369" y="438"/>
                  </a:lnTo>
                  <a:lnTo>
                    <a:pt x="1371" y="440"/>
                  </a:lnTo>
                  <a:lnTo>
                    <a:pt x="1374" y="440"/>
                  </a:lnTo>
                  <a:lnTo>
                    <a:pt x="1377" y="441"/>
                  </a:lnTo>
                  <a:lnTo>
                    <a:pt x="1393" y="457"/>
                  </a:lnTo>
                  <a:lnTo>
                    <a:pt x="1408" y="471"/>
                  </a:lnTo>
                  <a:lnTo>
                    <a:pt x="1424" y="479"/>
                  </a:lnTo>
                  <a:lnTo>
                    <a:pt x="1438" y="487"/>
                  </a:lnTo>
                  <a:lnTo>
                    <a:pt x="1454" y="495"/>
                  </a:lnTo>
                  <a:lnTo>
                    <a:pt x="1459" y="501"/>
                  </a:lnTo>
                  <a:lnTo>
                    <a:pt x="1464" y="508"/>
                  </a:lnTo>
                  <a:lnTo>
                    <a:pt x="1442" y="509"/>
                  </a:lnTo>
                  <a:lnTo>
                    <a:pt x="1421" y="510"/>
                  </a:lnTo>
                  <a:lnTo>
                    <a:pt x="1399" y="512"/>
                  </a:lnTo>
                  <a:lnTo>
                    <a:pt x="1379" y="512"/>
                  </a:lnTo>
                  <a:lnTo>
                    <a:pt x="1378" y="513"/>
                  </a:lnTo>
                  <a:lnTo>
                    <a:pt x="1377" y="515"/>
                  </a:lnTo>
                  <a:lnTo>
                    <a:pt x="1376" y="515"/>
                  </a:lnTo>
                  <a:lnTo>
                    <a:pt x="1373" y="516"/>
                  </a:lnTo>
                  <a:lnTo>
                    <a:pt x="1367" y="517"/>
                  </a:lnTo>
                  <a:lnTo>
                    <a:pt x="1363" y="517"/>
                  </a:lnTo>
                  <a:lnTo>
                    <a:pt x="1360" y="523"/>
                  </a:lnTo>
                  <a:lnTo>
                    <a:pt x="1357" y="528"/>
                  </a:lnTo>
                  <a:lnTo>
                    <a:pt x="1352" y="528"/>
                  </a:lnTo>
                  <a:lnTo>
                    <a:pt x="1347" y="528"/>
                  </a:lnTo>
                  <a:lnTo>
                    <a:pt x="1345" y="529"/>
                  </a:lnTo>
                  <a:lnTo>
                    <a:pt x="1342" y="530"/>
                  </a:lnTo>
                  <a:lnTo>
                    <a:pt x="1341" y="532"/>
                  </a:lnTo>
                  <a:lnTo>
                    <a:pt x="1340" y="534"/>
                  </a:lnTo>
                  <a:lnTo>
                    <a:pt x="1323" y="534"/>
                  </a:lnTo>
                  <a:lnTo>
                    <a:pt x="1323" y="535"/>
                  </a:lnTo>
                  <a:lnTo>
                    <a:pt x="1321" y="536"/>
                  </a:lnTo>
                  <a:lnTo>
                    <a:pt x="1318" y="537"/>
                  </a:lnTo>
                  <a:lnTo>
                    <a:pt x="1315" y="538"/>
                  </a:lnTo>
                  <a:lnTo>
                    <a:pt x="1308" y="538"/>
                  </a:lnTo>
                  <a:lnTo>
                    <a:pt x="1301" y="539"/>
                  </a:lnTo>
                  <a:lnTo>
                    <a:pt x="1293" y="542"/>
                  </a:lnTo>
                  <a:lnTo>
                    <a:pt x="1272" y="545"/>
                  </a:lnTo>
                  <a:lnTo>
                    <a:pt x="1241" y="548"/>
                  </a:lnTo>
                  <a:lnTo>
                    <a:pt x="1205" y="552"/>
                  </a:lnTo>
                  <a:lnTo>
                    <a:pt x="1168" y="555"/>
                  </a:lnTo>
                  <a:lnTo>
                    <a:pt x="1136" y="558"/>
                  </a:lnTo>
                  <a:lnTo>
                    <a:pt x="1110" y="561"/>
                  </a:lnTo>
                  <a:lnTo>
                    <a:pt x="1097" y="561"/>
                  </a:lnTo>
                  <a:lnTo>
                    <a:pt x="1091" y="563"/>
                  </a:lnTo>
                  <a:lnTo>
                    <a:pt x="1077" y="565"/>
                  </a:lnTo>
                  <a:lnTo>
                    <a:pt x="1057" y="567"/>
                  </a:lnTo>
                  <a:lnTo>
                    <a:pt x="1033" y="568"/>
                  </a:lnTo>
                  <a:lnTo>
                    <a:pt x="984" y="571"/>
                  </a:lnTo>
                  <a:lnTo>
                    <a:pt x="953" y="572"/>
                  </a:lnTo>
                  <a:lnTo>
                    <a:pt x="950" y="577"/>
                  </a:lnTo>
                  <a:lnTo>
                    <a:pt x="947" y="583"/>
                  </a:lnTo>
                  <a:lnTo>
                    <a:pt x="936" y="583"/>
                  </a:lnTo>
                  <a:lnTo>
                    <a:pt x="934" y="587"/>
                  </a:lnTo>
                  <a:lnTo>
                    <a:pt x="927" y="597"/>
                  </a:lnTo>
                  <a:lnTo>
                    <a:pt x="924" y="602"/>
                  </a:lnTo>
                  <a:lnTo>
                    <a:pt x="919" y="606"/>
                  </a:lnTo>
                  <a:lnTo>
                    <a:pt x="916" y="610"/>
                  </a:lnTo>
                  <a:lnTo>
                    <a:pt x="914" y="611"/>
                  </a:lnTo>
                  <a:lnTo>
                    <a:pt x="919" y="721"/>
                  </a:lnTo>
                  <a:lnTo>
                    <a:pt x="922" y="722"/>
                  </a:lnTo>
                  <a:lnTo>
                    <a:pt x="923" y="725"/>
                  </a:lnTo>
                  <a:lnTo>
                    <a:pt x="924" y="729"/>
                  </a:lnTo>
                  <a:lnTo>
                    <a:pt x="924" y="734"/>
                  </a:lnTo>
                  <a:lnTo>
                    <a:pt x="925" y="743"/>
                  </a:lnTo>
                  <a:lnTo>
                    <a:pt x="925" y="749"/>
                  </a:lnTo>
                  <a:lnTo>
                    <a:pt x="928" y="750"/>
                  </a:lnTo>
                  <a:lnTo>
                    <a:pt x="931" y="753"/>
                  </a:lnTo>
                  <a:lnTo>
                    <a:pt x="933" y="756"/>
                  </a:lnTo>
                  <a:lnTo>
                    <a:pt x="935" y="760"/>
                  </a:lnTo>
                  <a:lnTo>
                    <a:pt x="937" y="772"/>
                  </a:lnTo>
                  <a:lnTo>
                    <a:pt x="939" y="785"/>
                  </a:lnTo>
                  <a:lnTo>
                    <a:pt x="942" y="813"/>
                  </a:lnTo>
                  <a:lnTo>
                    <a:pt x="942" y="833"/>
                  </a:lnTo>
                  <a:lnTo>
                    <a:pt x="944" y="833"/>
                  </a:lnTo>
                  <a:lnTo>
                    <a:pt x="946" y="834"/>
                  </a:lnTo>
                  <a:lnTo>
                    <a:pt x="947" y="836"/>
                  </a:lnTo>
                  <a:lnTo>
                    <a:pt x="950" y="839"/>
                  </a:lnTo>
                  <a:lnTo>
                    <a:pt x="952" y="844"/>
                  </a:lnTo>
                  <a:lnTo>
                    <a:pt x="953" y="849"/>
                  </a:lnTo>
                  <a:lnTo>
                    <a:pt x="967" y="852"/>
                  </a:lnTo>
                  <a:lnTo>
                    <a:pt x="986" y="854"/>
                  </a:lnTo>
                  <a:lnTo>
                    <a:pt x="998" y="860"/>
                  </a:lnTo>
                  <a:lnTo>
                    <a:pt x="1013" y="865"/>
                  </a:lnTo>
                  <a:lnTo>
                    <a:pt x="1013" y="876"/>
                  </a:lnTo>
                  <a:lnTo>
                    <a:pt x="1015" y="878"/>
                  </a:lnTo>
                  <a:lnTo>
                    <a:pt x="1018" y="880"/>
                  </a:lnTo>
                  <a:lnTo>
                    <a:pt x="1020" y="882"/>
                  </a:lnTo>
                  <a:lnTo>
                    <a:pt x="1021" y="885"/>
                  </a:lnTo>
                  <a:lnTo>
                    <a:pt x="1023" y="893"/>
                  </a:lnTo>
                  <a:lnTo>
                    <a:pt x="1024" y="899"/>
                  </a:lnTo>
                  <a:lnTo>
                    <a:pt x="1035" y="904"/>
                  </a:lnTo>
                  <a:lnTo>
                    <a:pt x="1035" y="916"/>
                  </a:lnTo>
                  <a:lnTo>
                    <a:pt x="1039" y="922"/>
                  </a:lnTo>
                  <a:lnTo>
                    <a:pt x="1044" y="938"/>
                  </a:lnTo>
                  <a:lnTo>
                    <a:pt x="1050" y="961"/>
                  </a:lnTo>
                  <a:lnTo>
                    <a:pt x="1057" y="987"/>
                  </a:lnTo>
                  <a:lnTo>
                    <a:pt x="1069" y="1037"/>
                  </a:lnTo>
                  <a:lnTo>
                    <a:pt x="1075" y="1059"/>
                  </a:lnTo>
                  <a:lnTo>
                    <a:pt x="1077" y="1062"/>
                  </a:lnTo>
                  <a:lnTo>
                    <a:pt x="1081" y="1067"/>
                  </a:lnTo>
                  <a:lnTo>
                    <a:pt x="1086" y="1074"/>
                  </a:lnTo>
                  <a:lnTo>
                    <a:pt x="1091" y="1076"/>
                  </a:lnTo>
                  <a:lnTo>
                    <a:pt x="1091" y="1093"/>
                  </a:lnTo>
                  <a:lnTo>
                    <a:pt x="1092" y="1093"/>
                  </a:lnTo>
                  <a:lnTo>
                    <a:pt x="1095" y="1094"/>
                  </a:lnTo>
                  <a:lnTo>
                    <a:pt x="1096" y="1096"/>
                  </a:lnTo>
                  <a:lnTo>
                    <a:pt x="1096" y="1099"/>
                  </a:lnTo>
                  <a:lnTo>
                    <a:pt x="1097" y="1104"/>
                  </a:lnTo>
                  <a:lnTo>
                    <a:pt x="1097" y="1110"/>
                  </a:lnTo>
                  <a:lnTo>
                    <a:pt x="1102" y="1115"/>
                  </a:lnTo>
                  <a:lnTo>
                    <a:pt x="1108" y="1118"/>
                  </a:lnTo>
                  <a:lnTo>
                    <a:pt x="1114" y="1121"/>
                  </a:lnTo>
                  <a:lnTo>
                    <a:pt x="1114" y="1132"/>
                  </a:lnTo>
                  <a:lnTo>
                    <a:pt x="1117" y="1132"/>
                  </a:lnTo>
                  <a:lnTo>
                    <a:pt x="1120" y="1135"/>
                  </a:lnTo>
                  <a:lnTo>
                    <a:pt x="1124" y="1139"/>
                  </a:lnTo>
                  <a:lnTo>
                    <a:pt x="1126" y="1143"/>
                  </a:lnTo>
                  <a:lnTo>
                    <a:pt x="1129" y="1152"/>
                  </a:lnTo>
                  <a:lnTo>
                    <a:pt x="1130" y="1159"/>
                  </a:lnTo>
                  <a:lnTo>
                    <a:pt x="1131" y="1160"/>
                  </a:lnTo>
                  <a:lnTo>
                    <a:pt x="1134" y="1161"/>
                  </a:lnTo>
                  <a:lnTo>
                    <a:pt x="1136" y="1164"/>
                  </a:lnTo>
                  <a:lnTo>
                    <a:pt x="1137" y="1168"/>
                  </a:lnTo>
                  <a:lnTo>
                    <a:pt x="1140" y="1177"/>
                  </a:lnTo>
                  <a:lnTo>
                    <a:pt x="1143" y="1188"/>
                  </a:lnTo>
                  <a:lnTo>
                    <a:pt x="1148" y="1208"/>
                  </a:lnTo>
                  <a:lnTo>
                    <a:pt x="1152" y="1220"/>
                  </a:lnTo>
                  <a:lnTo>
                    <a:pt x="1152" y="1237"/>
                  </a:lnTo>
                  <a:lnTo>
                    <a:pt x="1164" y="1236"/>
                  </a:lnTo>
                  <a:lnTo>
                    <a:pt x="1185" y="1235"/>
                  </a:lnTo>
                  <a:lnTo>
                    <a:pt x="1166" y="1247"/>
                  </a:lnTo>
                  <a:lnTo>
                    <a:pt x="1148" y="1257"/>
                  </a:lnTo>
                  <a:lnTo>
                    <a:pt x="1138" y="1263"/>
                  </a:lnTo>
                  <a:lnTo>
                    <a:pt x="1128" y="1267"/>
                  </a:lnTo>
                  <a:lnTo>
                    <a:pt x="1118" y="1272"/>
                  </a:lnTo>
                  <a:lnTo>
                    <a:pt x="1107" y="1276"/>
                  </a:lnTo>
                  <a:lnTo>
                    <a:pt x="1095" y="1279"/>
                  </a:lnTo>
                  <a:lnTo>
                    <a:pt x="1081" y="1283"/>
                  </a:lnTo>
                  <a:lnTo>
                    <a:pt x="1066" y="1285"/>
                  </a:lnTo>
                  <a:lnTo>
                    <a:pt x="1049" y="1287"/>
                  </a:lnTo>
                  <a:lnTo>
                    <a:pt x="1031" y="1289"/>
                  </a:lnTo>
                  <a:lnTo>
                    <a:pt x="1011" y="1291"/>
                  </a:lnTo>
                  <a:lnTo>
                    <a:pt x="989" y="1292"/>
                  </a:lnTo>
                  <a:lnTo>
                    <a:pt x="963" y="1292"/>
                  </a:lnTo>
                  <a:lnTo>
                    <a:pt x="943" y="1292"/>
                  </a:lnTo>
                  <a:lnTo>
                    <a:pt x="926" y="1294"/>
                  </a:lnTo>
                  <a:lnTo>
                    <a:pt x="913" y="1296"/>
                  </a:lnTo>
                  <a:lnTo>
                    <a:pt x="901" y="1299"/>
                  </a:lnTo>
                  <a:lnTo>
                    <a:pt x="894" y="1304"/>
                  </a:lnTo>
                  <a:lnTo>
                    <a:pt x="887" y="1308"/>
                  </a:lnTo>
                  <a:lnTo>
                    <a:pt x="881" y="1314"/>
                  </a:lnTo>
                  <a:lnTo>
                    <a:pt x="877" y="1318"/>
                  </a:lnTo>
                  <a:lnTo>
                    <a:pt x="869" y="1331"/>
                  </a:lnTo>
                  <a:lnTo>
                    <a:pt x="861" y="1342"/>
                  </a:lnTo>
                  <a:lnTo>
                    <a:pt x="856" y="1346"/>
                  </a:lnTo>
                  <a:lnTo>
                    <a:pt x="849" y="1351"/>
                  </a:lnTo>
                  <a:lnTo>
                    <a:pt x="840" y="1355"/>
                  </a:lnTo>
                  <a:lnTo>
                    <a:pt x="828" y="1359"/>
                  </a:lnTo>
                  <a:lnTo>
                    <a:pt x="811" y="1364"/>
                  </a:lnTo>
                  <a:lnTo>
                    <a:pt x="794" y="1368"/>
                  </a:lnTo>
                  <a:lnTo>
                    <a:pt x="779" y="1371"/>
                  </a:lnTo>
                  <a:lnTo>
                    <a:pt x="763" y="1372"/>
                  </a:lnTo>
                  <a:lnTo>
                    <a:pt x="747" y="1373"/>
                  </a:lnTo>
                  <a:lnTo>
                    <a:pt x="732" y="1373"/>
                  </a:lnTo>
                  <a:lnTo>
                    <a:pt x="717" y="1372"/>
                  </a:lnTo>
                  <a:lnTo>
                    <a:pt x="704" y="1371"/>
                  </a:lnTo>
                  <a:lnTo>
                    <a:pt x="691" y="1369"/>
                  </a:lnTo>
                  <a:lnTo>
                    <a:pt x="677" y="1365"/>
                  </a:lnTo>
                  <a:lnTo>
                    <a:pt x="664" y="1362"/>
                  </a:lnTo>
                  <a:lnTo>
                    <a:pt x="650" y="1359"/>
                  </a:lnTo>
                  <a:lnTo>
                    <a:pt x="626" y="1350"/>
                  </a:lnTo>
                  <a:lnTo>
                    <a:pt x="602" y="1339"/>
                  </a:lnTo>
                  <a:lnTo>
                    <a:pt x="559" y="1317"/>
                  </a:lnTo>
                  <a:lnTo>
                    <a:pt x="517" y="1296"/>
                  </a:lnTo>
                  <a:lnTo>
                    <a:pt x="499" y="1287"/>
                  </a:lnTo>
                  <a:lnTo>
                    <a:pt x="478" y="1280"/>
                  </a:lnTo>
                  <a:lnTo>
                    <a:pt x="469" y="1278"/>
                  </a:lnTo>
                  <a:lnTo>
                    <a:pt x="459" y="1276"/>
                  </a:lnTo>
                  <a:lnTo>
                    <a:pt x="451" y="1275"/>
                  </a:lnTo>
                  <a:lnTo>
                    <a:pt x="440" y="1275"/>
                  </a:lnTo>
                  <a:lnTo>
                    <a:pt x="433" y="1274"/>
                  </a:lnTo>
                  <a:lnTo>
                    <a:pt x="424" y="1272"/>
                  </a:lnTo>
                  <a:lnTo>
                    <a:pt x="417" y="1267"/>
                  </a:lnTo>
                  <a:lnTo>
                    <a:pt x="409" y="1261"/>
                  </a:lnTo>
                  <a:lnTo>
                    <a:pt x="403" y="1255"/>
                  </a:lnTo>
                  <a:lnTo>
                    <a:pt x="397" y="1246"/>
                  </a:lnTo>
                  <a:lnTo>
                    <a:pt x="391" y="1237"/>
                  </a:lnTo>
                  <a:lnTo>
                    <a:pt x="387" y="1226"/>
                  </a:lnTo>
                  <a:lnTo>
                    <a:pt x="382" y="1215"/>
                  </a:lnTo>
                  <a:lnTo>
                    <a:pt x="379" y="1202"/>
                  </a:lnTo>
                  <a:lnTo>
                    <a:pt x="376" y="1190"/>
                  </a:lnTo>
                  <a:lnTo>
                    <a:pt x="373" y="1176"/>
                  </a:lnTo>
                  <a:lnTo>
                    <a:pt x="371" y="1162"/>
                  </a:lnTo>
                  <a:lnTo>
                    <a:pt x="370" y="1148"/>
                  </a:lnTo>
                  <a:lnTo>
                    <a:pt x="370" y="1133"/>
                  </a:lnTo>
                  <a:lnTo>
                    <a:pt x="370" y="1119"/>
                  </a:lnTo>
                  <a:lnTo>
                    <a:pt x="371" y="1104"/>
                  </a:lnTo>
                  <a:lnTo>
                    <a:pt x="372" y="1090"/>
                  </a:lnTo>
                  <a:lnTo>
                    <a:pt x="375" y="1075"/>
                  </a:lnTo>
                  <a:lnTo>
                    <a:pt x="378" y="1062"/>
                  </a:lnTo>
                  <a:lnTo>
                    <a:pt x="382" y="1048"/>
                  </a:lnTo>
                  <a:lnTo>
                    <a:pt x="387" y="1035"/>
                  </a:lnTo>
                  <a:lnTo>
                    <a:pt x="392" y="1023"/>
                  </a:lnTo>
                  <a:lnTo>
                    <a:pt x="399" y="1012"/>
                  </a:lnTo>
                  <a:lnTo>
                    <a:pt x="407" y="1001"/>
                  </a:lnTo>
                  <a:lnTo>
                    <a:pt x="415" y="991"/>
                  </a:lnTo>
                  <a:lnTo>
                    <a:pt x="424" y="984"/>
                  </a:lnTo>
                  <a:lnTo>
                    <a:pt x="434" y="976"/>
                  </a:lnTo>
                  <a:lnTo>
                    <a:pt x="445" y="970"/>
                  </a:lnTo>
                  <a:lnTo>
                    <a:pt x="456" y="967"/>
                  </a:lnTo>
                  <a:lnTo>
                    <a:pt x="469" y="964"/>
                  </a:lnTo>
                  <a:lnTo>
                    <a:pt x="483" y="962"/>
                  </a:lnTo>
                  <a:lnTo>
                    <a:pt x="497" y="962"/>
                  </a:lnTo>
                  <a:lnTo>
                    <a:pt x="510" y="961"/>
                  </a:lnTo>
                  <a:lnTo>
                    <a:pt x="519" y="960"/>
                  </a:lnTo>
                  <a:lnTo>
                    <a:pt x="526" y="959"/>
                  </a:lnTo>
                  <a:lnTo>
                    <a:pt x="532" y="957"/>
                  </a:lnTo>
                  <a:lnTo>
                    <a:pt x="535" y="953"/>
                  </a:lnTo>
                  <a:lnTo>
                    <a:pt x="536" y="950"/>
                  </a:lnTo>
                  <a:lnTo>
                    <a:pt x="536" y="947"/>
                  </a:lnTo>
                  <a:lnTo>
                    <a:pt x="535" y="943"/>
                  </a:lnTo>
                  <a:lnTo>
                    <a:pt x="533" y="940"/>
                  </a:lnTo>
                  <a:lnTo>
                    <a:pt x="529" y="936"/>
                  </a:lnTo>
                  <a:lnTo>
                    <a:pt x="524" y="931"/>
                  </a:lnTo>
                  <a:lnTo>
                    <a:pt x="512" y="922"/>
                  </a:lnTo>
                  <a:lnTo>
                    <a:pt x="499" y="913"/>
                  </a:lnTo>
                  <a:lnTo>
                    <a:pt x="490" y="907"/>
                  </a:lnTo>
                  <a:lnTo>
                    <a:pt x="481" y="898"/>
                  </a:lnTo>
                  <a:lnTo>
                    <a:pt x="473" y="888"/>
                  </a:lnTo>
                  <a:lnTo>
                    <a:pt x="465" y="876"/>
                  </a:lnTo>
                  <a:lnTo>
                    <a:pt x="456" y="868"/>
                  </a:lnTo>
                  <a:lnTo>
                    <a:pt x="448" y="860"/>
                  </a:lnTo>
                  <a:lnTo>
                    <a:pt x="445" y="856"/>
                  </a:lnTo>
                  <a:lnTo>
                    <a:pt x="440" y="854"/>
                  </a:lnTo>
                  <a:lnTo>
                    <a:pt x="436" y="852"/>
                  </a:lnTo>
                  <a:lnTo>
                    <a:pt x="433" y="852"/>
                  </a:lnTo>
                  <a:lnTo>
                    <a:pt x="416" y="851"/>
                  </a:lnTo>
                  <a:lnTo>
                    <a:pt x="400" y="850"/>
                  </a:lnTo>
                  <a:lnTo>
                    <a:pt x="386" y="846"/>
                  </a:lnTo>
                  <a:lnTo>
                    <a:pt x="372" y="842"/>
                  </a:lnTo>
                  <a:lnTo>
                    <a:pt x="359" y="837"/>
                  </a:lnTo>
                  <a:lnTo>
                    <a:pt x="348" y="831"/>
                  </a:lnTo>
                  <a:lnTo>
                    <a:pt x="337" y="823"/>
                  </a:lnTo>
                  <a:lnTo>
                    <a:pt x="327" y="813"/>
                  </a:lnTo>
                  <a:lnTo>
                    <a:pt x="302" y="787"/>
                  </a:lnTo>
                  <a:lnTo>
                    <a:pt x="280" y="763"/>
                  </a:lnTo>
                  <a:lnTo>
                    <a:pt x="259" y="740"/>
                  </a:lnTo>
                  <a:lnTo>
                    <a:pt x="237" y="718"/>
                  </a:lnTo>
                  <a:lnTo>
                    <a:pt x="204" y="684"/>
                  </a:lnTo>
                  <a:lnTo>
                    <a:pt x="163" y="642"/>
                  </a:lnTo>
                  <a:lnTo>
                    <a:pt x="120" y="600"/>
                  </a:lnTo>
                  <a:lnTo>
                    <a:pt x="87" y="567"/>
                  </a:lnTo>
                  <a:lnTo>
                    <a:pt x="78" y="557"/>
                  </a:lnTo>
                  <a:lnTo>
                    <a:pt x="69" y="548"/>
                  </a:lnTo>
                  <a:lnTo>
                    <a:pt x="62" y="539"/>
                  </a:lnTo>
                  <a:lnTo>
                    <a:pt x="58" y="533"/>
                  </a:lnTo>
                  <a:lnTo>
                    <a:pt x="53" y="525"/>
                  </a:lnTo>
                  <a:lnTo>
                    <a:pt x="50" y="519"/>
                  </a:lnTo>
                  <a:lnTo>
                    <a:pt x="49" y="514"/>
                  </a:lnTo>
                  <a:lnTo>
                    <a:pt x="48" y="508"/>
                  </a:lnTo>
                  <a:lnTo>
                    <a:pt x="48" y="504"/>
                  </a:lnTo>
                  <a:lnTo>
                    <a:pt x="48" y="498"/>
                  </a:lnTo>
                  <a:lnTo>
                    <a:pt x="49" y="495"/>
                  </a:lnTo>
                  <a:lnTo>
                    <a:pt x="51" y="490"/>
                  </a:lnTo>
                  <a:lnTo>
                    <a:pt x="56" y="482"/>
                  </a:lnTo>
                  <a:lnTo>
                    <a:pt x="62" y="475"/>
                  </a:lnTo>
                  <a:lnTo>
                    <a:pt x="69" y="468"/>
                  </a:lnTo>
                  <a:lnTo>
                    <a:pt x="75" y="459"/>
                  </a:lnTo>
                  <a:lnTo>
                    <a:pt x="79" y="455"/>
                  </a:lnTo>
                  <a:lnTo>
                    <a:pt x="81" y="449"/>
                  </a:lnTo>
                  <a:lnTo>
                    <a:pt x="83" y="443"/>
                  </a:lnTo>
                  <a:lnTo>
                    <a:pt x="85" y="438"/>
                  </a:lnTo>
                  <a:lnTo>
                    <a:pt x="87" y="431"/>
                  </a:lnTo>
                  <a:lnTo>
                    <a:pt x="87" y="424"/>
                  </a:lnTo>
                  <a:lnTo>
                    <a:pt x="87" y="417"/>
                  </a:lnTo>
                  <a:lnTo>
                    <a:pt x="85" y="408"/>
                  </a:lnTo>
                  <a:lnTo>
                    <a:pt x="83" y="398"/>
                  </a:lnTo>
                  <a:lnTo>
                    <a:pt x="80" y="388"/>
                  </a:lnTo>
                  <a:lnTo>
                    <a:pt x="75" y="376"/>
                  </a:lnTo>
                  <a:lnTo>
                    <a:pt x="70" y="364"/>
                  </a:lnTo>
                  <a:lnTo>
                    <a:pt x="66" y="357"/>
                  </a:lnTo>
                  <a:lnTo>
                    <a:pt x="65" y="351"/>
                  </a:lnTo>
                  <a:lnTo>
                    <a:pt x="63" y="345"/>
                  </a:lnTo>
                  <a:lnTo>
                    <a:pt x="63" y="339"/>
                  </a:lnTo>
                  <a:lnTo>
                    <a:pt x="64" y="327"/>
                  </a:lnTo>
                  <a:lnTo>
                    <a:pt x="66" y="317"/>
                  </a:lnTo>
                  <a:lnTo>
                    <a:pt x="74" y="301"/>
                  </a:lnTo>
                  <a:lnTo>
                    <a:pt x="78" y="287"/>
                  </a:lnTo>
                  <a:lnTo>
                    <a:pt x="78" y="276"/>
                  </a:lnTo>
                  <a:lnTo>
                    <a:pt x="77" y="268"/>
                  </a:lnTo>
                  <a:lnTo>
                    <a:pt x="73" y="260"/>
                  </a:lnTo>
                  <a:lnTo>
                    <a:pt x="68" y="254"/>
                  </a:lnTo>
                  <a:lnTo>
                    <a:pt x="50" y="235"/>
                  </a:lnTo>
                  <a:lnTo>
                    <a:pt x="20" y="205"/>
                  </a:lnTo>
                  <a:lnTo>
                    <a:pt x="16" y="200"/>
                  </a:lnTo>
                  <a:lnTo>
                    <a:pt x="14" y="195"/>
                  </a:lnTo>
                  <a:lnTo>
                    <a:pt x="12" y="189"/>
                  </a:lnTo>
                  <a:lnTo>
                    <a:pt x="11" y="182"/>
                  </a:lnTo>
                  <a:lnTo>
                    <a:pt x="10" y="174"/>
                  </a:lnTo>
                  <a:lnTo>
                    <a:pt x="7" y="168"/>
                  </a:lnTo>
                  <a:lnTo>
                    <a:pt x="4" y="161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8" name="Freeform 34"/>
            <p:cNvSpPr>
              <a:spLocks noChangeAspect="1"/>
            </p:cNvSpPr>
            <p:nvPr/>
          </p:nvSpPr>
          <p:spPr bwMode="gray">
            <a:xfrm rot="355651">
              <a:off x="5852507" y="3152775"/>
              <a:ext cx="336430" cy="201210"/>
            </a:xfrm>
            <a:custGeom>
              <a:avLst/>
              <a:gdLst/>
              <a:ahLst/>
              <a:cxnLst>
                <a:cxn ang="0">
                  <a:pos x="124" y="322"/>
                </a:cxn>
                <a:cxn ang="0">
                  <a:pos x="183" y="354"/>
                </a:cxn>
                <a:cxn ang="0">
                  <a:pos x="294" y="407"/>
                </a:cxn>
                <a:cxn ang="0">
                  <a:pos x="355" y="380"/>
                </a:cxn>
                <a:cxn ang="0">
                  <a:pos x="393" y="331"/>
                </a:cxn>
                <a:cxn ang="0">
                  <a:pos x="502" y="312"/>
                </a:cxn>
                <a:cxn ang="0">
                  <a:pos x="520" y="274"/>
                </a:cxn>
                <a:cxn ang="0">
                  <a:pos x="635" y="235"/>
                </a:cxn>
                <a:cxn ang="0">
                  <a:pos x="757" y="198"/>
                </a:cxn>
                <a:cxn ang="0">
                  <a:pos x="874" y="93"/>
                </a:cxn>
                <a:cxn ang="0">
                  <a:pos x="993" y="75"/>
                </a:cxn>
                <a:cxn ang="0">
                  <a:pos x="1151" y="28"/>
                </a:cxn>
                <a:cxn ang="0">
                  <a:pos x="1508" y="0"/>
                </a:cxn>
                <a:cxn ang="0">
                  <a:pos x="1585" y="34"/>
                </a:cxn>
                <a:cxn ang="0">
                  <a:pos x="1628" y="141"/>
                </a:cxn>
                <a:cxn ang="0">
                  <a:pos x="1738" y="175"/>
                </a:cxn>
                <a:cxn ang="0">
                  <a:pos x="1847" y="233"/>
                </a:cxn>
                <a:cxn ang="0">
                  <a:pos x="1778" y="283"/>
                </a:cxn>
                <a:cxn ang="0">
                  <a:pos x="1741" y="444"/>
                </a:cxn>
                <a:cxn ang="0">
                  <a:pos x="1701" y="720"/>
                </a:cxn>
                <a:cxn ang="0">
                  <a:pos x="1662" y="726"/>
                </a:cxn>
                <a:cxn ang="0">
                  <a:pos x="1634" y="760"/>
                </a:cxn>
                <a:cxn ang="0">
                  <a:pos x="1615" y="825"/>
                </a:cxn>
                <a:cxn ang="0">
                  <a:pos x="1586" y="864"/>
                </a:cxn>
                <a:cxn ang="0">
                  <a:pos x="1548" y="918"/>
                </a:cxn>
                <a:cxn ang="0">
                  <a:pos x="1518" y="1126"/>
                </a:cxn>
                <a:cxn ang="0">
                  <a:pos x="1576" y="1178"/>
                </a:cxn>
                <a:cxn ang="0">
                  <a:pos x="1582" y="1210"/>
                </a:cxn>
                <a:cxn ang="0">
                  <a:pos x="1498" y="1242"/>
                </a:cxn>
                <a:cxn ang="0">
                  <a:pos x="1380" y="1176"/>
                </a:cxn>
                <a:cxn ang="0">
                  <a:pos x="1352" y="1157"/>
                </a:cxn>
                <a:cxn ang="0">
                  <a:pos x="1331" y="1137"/>
                </a:cxn>
                <a:cxn ang="0">
                  <a:pos x="1262" y="1098"/>
                </a:cxn>
                <a:cxn ang="0">
                  <a:pos x="1202" y="1052"/>
                </a:cxn>
                <a:cxn ang="0">
                  <a:pos x="1144" y="989"/>
                </a:cxn>
                <a:cxn ang="0">
                  <a:pos x="1129" y="976"/>
                </a:cxn>
                <a:cxn ang="0">
                  <a:pos x="1097" y="927"/>
                </a:cxn>
                <a:cxn ang="0">
                  <a:pos x="1058" y="905"/>
                </a:cxn>
                <a:cxn ang="0">
                  <a:pos x="932" y="860"/>
                </a:cxn>
                <a:cxn ang="0">
                  <a:pos x="905" y="843"/>
                </a:cxn>
                <a:cxn ang="0">
                  <a:pos x="866" y="831"/>
                </a:cxn>
                <a:cxn ang="0">
                  <a:pos x="827" y="818"/>
                </a:cxn>
                <a:cxn ang="0">
                  <a:pos x="788" y="787"/>
                </a:cxn>
                <a:cxn ang="0">
                  <a:pos x="749" y="736"/>
                </a:cxn>
                <a:cxn ang="0">
                  <a:pos x="690" y="752"/>
                </a:cxn>
                <a:cxn ang="0">
                  <a:pos x="673" y="770"/>
                </a:cxn>
                <a:cxn ang="0">
                  <a:pos x="603" y="769"/>
                </a:cxn>
                <a:cxn ang="0">
                  <a:pos x="546" y="761"/>
                </a:cxn>
                <a:cxn ang="0">
                  <a:pos x="487" y="774"/>
                </a:cxn>
                <a:cxn ang="0">
                  <a:pos x="438" y="798"/>
                </a:cxn>
                <a:cxn ang="0">
                  <a:pos x="343" y="814"/>
                </a:cxn>
                <a:cxn ang="0">
                  <a:pos x="201" y="821"/>
                </a:cxn>
                <a:cxn ang="0">
                  <a:pos x="170" y="837"/>
                </a:cxn>
                <a:cxn ang="0">
                  <a:pos x="100" y="873"/>
                </a:cxn>
                <a:cxn ang="0">
                  <a:pos x="84" y="711"/>
                </a:cxn>
                <a:cxn ang="0">
                  <a:pos x="100" y="667"/>
                </a:cxn>
                <a:cxn ang="0">
                  <a:pos x="93" y="589"/>
                </a:cxn>
                <a:cxn ang="0">
                  <a:pos x="54" y="559"/>
                </a:cxn>
                <a:cxn ang="0">
                  <a:pos x="23" y="525"/>
                </a:cxn>
                <a:cxn ang="0">
                  <a:pos x="7" y="492"/>
                </a:cxn>
              </a:cxnLst>
              <a:rect l="0" t="0" r="r" b="b"/>
              <a:pathLst>
                <a:path w="1854" h="1242">
                  <a:moveTo>
                    <a:pt x="0" y="457"/>
                  </a:moveTo>
                  <a:lnTo>
                    <a:pt x="21" y="435"/>
                  </a:lnTo>
                  <a:lnTo>
                    <a:pt x="41" y="412"/>
                  </a:lnTo>
                  <a:lnTo>
                    <a:pt x="59" y="388"/>
                  </a:lnTo>
                  <a:lnTo>
                    <a:pt x="77" y="367"/>
                  </a:lnTo>
                  <a:lnTo>
                    <a:pt x="94" y="348"/>
                  </a:lnTo>
                  <a:lnTo>
                    <a:pt x="109" y="332"/>
                  </a:lnTo>
                  <a:lnTo>
                    <a:pt x="117" y="327"/>
                  </a:lnTo>
                  <a:lnTo>
                    <a:pt x="124" y="322"/>
                  </a:lnTo>
                  <a:lnTo>
                    <a:pt x="132" y="320"/>
                  </a:lnTo>
                  <a:lnTo>
                    <a:pt x="138" y="319"/>
                  </a:lnTo>
                  <a:lnTo>
                    <a:pt x="151" y="320"/>
                  </a:lnTo>
                  <a:lnTo>
                    <a:pt x="160" y="322"/>
                  </a:lnTo>
                  <a:lnTo>
                    <a:pt x="167" y="327"/>
                  </a:lnTo>
                  <a:lnTo>
                    <a:pt x="173" y="332"/>
                  </a:lnTo>
                  <a:lnTo>
                    <a:pt x="177" y="339"/>
                  </a:lnTo>
                  <a:lnTo>
                    <a:pt x="181" y="346"/>
                  </a:lnTo>
                  <a:lnTo>
                    <a:pt x="183" y="354"/>
                  </a:lnTo>
                  <a:lnTo>
                    <a:pt x="184" y="361"/>
                  </a:lnTo>
                  <a:lnTo>
                    <a:pt x="185" y="377"/>
                  </a:lnTo>
                  <a:lnTo>
                    <a:pt x="187" y="390"/>
                  </a:lnTo>
                  <a:lnTo>
                    <a:pt x="189" y="396"/>
                  </a:lnTo>
                  <a:lnTo>
                    <a:pt x="192" y="400"/>
                  </a:lnTo>
                  <a:lnTo>
                    <a:pt x="195" y="403"/>
                  </a:lnTo>
                  <a:lnTo>
                    <a:pt x="201" y="404"/>
                  </a:lnTo>
                  <a:lnTo>
                    <a:pt x="262" y="404"/>
                  </a:lnTo>
                  <a:lnTo>
                    <a:pt x="294" y="407"/>
                  </a:lnTo>
                  <a:lnTo>
                    <a:pt x="323" y="409"/>
                  </a:lnTo>
                  <a:lnTo>
                    <a:pt x="329" y="409"/>
                  </a:lnTo>
                  <a:lnTo>
                    <a:pt x="336" y="408"/>
                  </a:lnTo>
                  <a:lnTo>
                    <a:pt x="342" y="407"/>
                  </a:lnTo>
                  <a:lnTo>
                    <a:pt x="346" y="404"/>
                  </a:lnTo>
                  <a:lnTo>
                    <a:pt x="349" y="400"/>
                  </a:lnTo>
                  <a:lnTo>
                    <a:pt x="353" y="395"/>
                  </a:lnTo>
                  <a:lnTo>
                    <a:pt x="354" y="389"/>
                  </a:lnTo>
                  <a:lnTo>
                    <a:pt x="355" y="380"/>
                  </a:lnTo>
                  <a:lnTo>
                    <a:pt x="355" y="373"/>
                  </a:lnTo>
                  <a:lnTo>
                    <a:pt x="357" y="365"/>
                  </a:lnTo>
                  <a:lnTo>
                    <a:pt x="359" y="359"/>
                  </a:lnTo>
                  <a:lnTo>
                    <a:pt x="362" y="352"/>
                  </a:lnTo>
                  <a:lnTo>
                    <a:pt x="366" y="348"/>
                  </a:lnTo>
                  <a:lnTo>
                    <a:pt x="369" y="343"/>
                  </a:lnTo>
                  <a:lnTo>
                    <a:pt x="375" y="339"/>
                  </a:lnTo>
                  <a:lnTo>
                    <a:pt x="381" y="336"/>
                  </a:lnTo>
                  <a:lnTo>
                    <a:pt x="393" y="331"/>
                  </a:lnTo>
                  <a:lnTo>
                    <a:pt x="406" y="327"/>
                  </a:lnTo>
                  <a:lnTo>
                    <a:pt x="421" y="325"/>
                  </a:lnTo>
                  <a:lnTo>
                    <a:pt x="436" y="323"/>
                  </a:lnTo>
                  <a:lnTo>
                    <a:pt x="451" y="321"/>
                  </a:lnTo>
                  <a:lnTo>
                    <a:pt x="465" y="320"/>
                  </a:lnTo>
                  <a:lnTo>
                    <a:pt x="480" y="318"/>
                  </a:lnTo>
                  <a:lnTo>
                    <a:pt x="492" y="316"/>
                  </a:lnTo>
                  <a:lnTo>
                    <a:pt x="498" y="313"/>
                  </a:lnTo>
                  <a:lnTo>
                    <a:pt x="502" y="312"/>
                  </a:lnTo>
                  <a:lnTo>
                    <a:pt x="507" y="309"/>
                  </a:lnTo>
                  <a:lnTo>
                    <a:pt x="510" y="306"/>
                  </a:lnTo>
                  <a:lnTo>
                    <a:pt x="513" y="302"/>
                  </a:lnTo>
                  <a:lnTo>
                    <a:pt x="516" y="299"/>
                  </a:lnTo>
                  <a:lnTo>
                    <a:pt x="517" y="293"/>
                  </a:lnTo>
                  <a:lnTo>
                    <a:pt x="517" y="288"/>
                  </a:lnTo>
                  <a:lnTo>
                    <a:pt x="518" y="283"/>
                  </a:lnTo>
                  <a:lnTo>
                    <a:pt x="519" y="279"/>
                  </a:lnTo>
                  <a:lnTo>
                    <a:pt x="520" y="274"/>
                  </a:lnTo>
                  <a:lnTo>
                    <a:pt x="522" y="270"/>
                  </a:lnTo>
                  <a:lnTo>
                    <a:pt x="528" y="263"/>
                  </a:lnTo>
                  <a:lnTo>
                    <a:pt x="535" y="256"/>
                  </a:lnTo>
                  <a:lnTo>
                    <a:pt x="545" y="252"/>
                  </a:lnTo>
                  <a:lnTo>
                    <a:pt x="555" y="248"/>
                  </a:lnTo>
                  <a:lnTo>
                    <a:pt x="567" y="244"/>
                  </a:lnTo>
                  <a:lnTo>
                    <a:pt x="579" y="241"/>
                  </a:lnTo>
                  <a:lnTo>
                    <a:pt x="606" y="236"/>
                  </a:lnTo>
                  <a:lnTo>
                    <a:pt x="635" y="235"/>
                  </a:lnTo>
                  <a:lnTo>
                    <a:pt x="662" y="234"/>
                  </a:lnTo>
                  <a:lnTo>
                    <a:pt x="688" y="234"/>
                  </a:lnTo>
                  <a:lnTo>
                    <a:pt x="694" y="234"/>
                  </a:lnTo>
                  <a:lnTo>
                    <a:pt x="702" y="232"/>
                  </a:lnTo>
                  <a:lnTo>
                    <a:pt x="709" y="231"/>
                  </a:lnTo>
                  <a:lnTo>
                    <a:pt x="715" y="227"/>
                  </a:lnTo>
                  <a:lnTo>
                    <a:pt x="730" y="220"/>
                  </a:lnTo>
                  <a:lnTo>
                    <a:pt x="743" y="210"/>
                  </a:lnTo>
                  <a:lnTo>
                    <a:pt x="757" y="198"/>
                  </a:lnTo>
                  <a:lnTo>
                    <a:pt x="770" y="185"/>
                  </a:lnTo>
                  <a:lnTo>
                    <a:pt x="785" y="172"/>
                  </a:lnTo>
                  <a:lnTo>
                    <a:pt x="798" y="157"/>
                  </a:lnTo>
                  <a:lnTo>
                    <a:pt x="813" y="143"/>
                  </a:lnTo>
                  <a:lnTo>
                    <a:pt x="827" y="128"/>
                  </a:lnTo>
                  <a:lnTo>
                    <a:pt x="843" y="116"/>
                  </a:lnTo>
                  <a:lnTo>
                    <a:pt x="858" y="104"/>
                  </a:lnTo>
                  <a:lnTo>
                    <a:pt x="866" y="98"/>
                  </a:lnTo>
                  <a:lnTo>
                    <a:pt x="874" y="93"/>
                  </a:lnTo>
                  <a:lnTo>
                    <a:pt x="883" y="90"/>
                  </a:lnTo>
                  <a:lnTo>
                    <a:pt x="891" y="86"/>
                  </a:lnTo>
                  <a:lnTo>
                    <a:pt x="900" y="83"/>
                  </a:lnTo>
                  <a:lnTo>
                    <a:pt x="909" y="81"/>
                  </a:lnTo>
                  <a:lnTo>
                    <a:pt x="918" y="80"/>
                  </a:lnTo>
                  <a:lnTo>
                    <a:pt x="926" y="79"/>
                  </a:lnTo>
                  <a:lnTo>
                    <a:pt x="952" y="79"/>
                  </a:lnTo>
                  <a:lnTo>
                    <a:pt x="973" y="77"/>
                  </a:lnTo>
                  <a:lnTo>
                    <a:pt x="993" y="75"/>
                  </a:lnTo>
                  <a:lnTo>
                    <a:pt x="1010" y="71"/>
                  </a:lnTo>
                  <a:lnTo>
                    <a:pt x="1026" y="67"/>
                  </a:lnTo>
                  <a:lnTo>
                    <a:pt x="1040" y="62"/>
                  </a:lnTo>
                  <a:lnTo>
                    <a:pt x="1054" y="58"/>
                  </a:lnTo>
                  <a:lnTo>
                    <a:pt x="1067" y="52"/>
                  </a:lnTo>
                  <a:lnTo>
                    <a:pt x="1093" y="42"/>
                  </a:lnTo>
                  <a:lnTo>
                    <a:pt x="1120" y="34"/>
                  </a:lnTo>
                  <a:lnTo>
                    <a:pt x="1134" y="30"/>
                  </a:lnTo>
                  <a:lnTo>
                    <a:pt x="1151" y="28"/>
                  </a:lnTo>
                  <a:lnTo>
                    <a:pt x="1169" y="27"/>
                  </a:lnTo>
                  <a:lnTo>
                    <a:pt x="1190" y="25"/>
                  </a:lnTo>
                  <a:lnTo>
                    <a:pt x="1229" y="23"/>
                  </a:lnTo>
                  <a:lnTo>
                    <a:pt x="1284" y="19"/>
                  </a:lnTo>
                  <a:lnTo>
                    <a:pt x="1348" y="12"/>
                  </a:lnTo>
                  <a:lnTo>
                    <a:pt x="1415" y="6"/>
                  </a:lnTo>
                  <a:lnTo>
                    <a:pt x="1449" y="3"/>
                  </a:lnTo>
                  <a:lnTo>
                    <a:pt x="1480" y="1"/>
                  </a:lnTo>
                  <a:lnTo>
                    <a:pt x="1508" y="0"/>
                  </a:lnTo>
                  <a:lnTo>
                    <a:pt x="1534" y="0"/>
                  </a:lnTo>
                  <a:lnTo>
                    <a:pt x="1554" y="0"/>
                  </a:lnTo>
                  <a:lnTo>
                    <a:pt x="1571" y="2"/>
                  </a:lnTo>
                  <a:lnTo>
                    <a:pt x="1576" y="3"/>
                  </a:lnTo>
                  <a:lnTo>
                    <a:pt x="1581" y="5"/>
                  </a:lnTo>
                  <a:lnTo>
                    <a:pt x="1583" y="8"/>
                  </a:lnTo>
                  <a:lnTo>
                    <a:pt x="1584" y="10"/>
                  </a:lnTo>
                  <a:lnTo>
                    <a:pt x="1584" y="22"/>
                  </a:lnTo>
                  <a:lnTo>
                    <a:pt x="1585" y="34"/>
                  </a:lnTo>
                  <a:lnTo>
                    <a:pt x="1587" y="47"/>
                  </a:lnTo>
                  <a:lnTo>
                    <a:pt x="1590" y="60"/>
                  </a:lnTo>
                  <a:lnTo>
                    <a:pt x="1593" y="73"/>
                  </a:lnTo>
                  <a:lnTo>
                    <a:pt x="1597" y="86"/>
                  </a:lnTo>
                  <a:lnTo>
                    <a:pt x="1602" y="98"/>
                  </a:lnTo>
                  <a:lnTo>
                    <a:pt x="1607" y="110"/>
                  </a:lnTo>
                  <a:lnTo>
                    <a:pt x="1613" y="121"/>
                  </a:lnTo>
                  <a:lnTo>
                    <a:pt x="1621" y="131"/>
                  </a:lnTo>
                  <a:lnTo>
                    <a:pt x="1628" y="141"/>
                  </a:lnTo>
                  <a:lnTo>
                    <a:pt x="1636" y="149"/>
                  </a:lnTo>
                  <a:lnTo>
                    <a:pt x="1645" y="156"/>
                  </a:lnTo>
                  <a:lnTo>
                    <a:pt x="1655" y="160"/>
                  </a:lnTo>
                  <a:lnTo>
                    <a:pt x="1665" y="164"/>
                  </a:lnTo>
                  <a:lnTo>
                    <a:pt x="1677" y="165"/>
                  </a:lnTo>
                  <a:lnTo>
                    <a:pt x="1693" y="165"/>
                  </a:lnTo>
                  <a:lnTo>
                    <a:pt x="1709" y="167"/>
                  </a:lnTo>
                  <a:lnTo>
                    <a:pt x="1725" y="171"/>
                  </a:lnTo>
                  <a:lnTo>
                    <a:pt x="1738" y="175"/>
                  </a:lnTo>
                  <a:lnTo>
                    <a:pt x="1751" y="181"/>
                  </a:lnTo>
                  <a:lnTo>
                    <a:pt x="1764" y="186"/>
                  </a:lnTo>
                  <a:lnTo>
                    <a:pt x="1775" y="193"/>
                  </a:lnTo>
                  <a:lnTo>
                    <a:pt x="1786" y="200"/>
                  </a:lnTo>
                  <a:lnTo>
                    <a:pt x="1806" y="212"/>
                  </a:lnTo>
                  <a:lnTo>
                    <a:pt x="1824" y="223"/>
                  </a:lnTo>
                  <a:lnTo>
                    <a:pt x="1832" y="227"/>
                  </a:lnTo>
                  <a:lnTo>
                    <a:pt x="1840" y="231"/>
                  </a:lnTo>
                  <a:lnTo>
                    <a:pt x="1847" y="233"/>
                  </a:lnTo>
                  <a:lnTo>
                    <a:pt x="1854" y="234"/>
                  </a:lnTo>
                  <a:lnTo>
                    <a:pt x="1842" y="235"/>
                  </a:lnTo>
                  <a:lnTo>
                    <a:pt x="1831" y="237"/>
                  </a:lnTo>
                  <a:lnTo>
                    <a:pt x="1821" y="242"/>
                  </a:lnTo>
                  <a:lnTo>
                    <a:pt x="1811" y="248"/>
                  </a:lnTo>
                  <a:lnTo>
                    <a:pt x="1802" y="254"/>
                  </a:lnTo>
                  <a:lnTo>
                    <a:pt x="1793" y="263"/>
                  </a:lnTo>
                  <a:lnTo>
                    <a:pt x="1785" y="272"/>
                  </a:lnTo>
                  <a:lnTo>
                    <a:pt x="1778" y="283"/>
                  </a:lnTo>
                  <a:lnTo>
                    <a:pt x="1773" y="296"/>
                  </a:lnTo>
                  <a:lnTo>
                    <a:pt x="1767" y="309"/>
                  </a:lnTo>
                  <a:lnTo>
                    <a:pt x="1761" y="323"/>
                  </a:lnTo>
                  <a:lnTo>
                    <a:pt x="1757" y="338"/>
                  </a:lnTo>
                  <a:lnTo>
                    <a:pt x="1754" y="354"/>
                  </a:lnTo>
                  <a:lnTo>
                    <a:pt x="1750" y="370"/>
                  </a:lnTo>
                  <a:lnTo>
                    <a:pt x="1747" y="388"/>
                  </a:lnTo>
                  <a:lnTo>
                    <a:pt x="1745" y="406"/>
                  </a:lnTo>
                  <a:lnTo>
                    <a:pt x="1741" y="444"/>
                  </a:lnTo>
                  <a:lnTo>
                    <a:pt x="1739" y="483"/>
                  </a:lnTo>
                  <a:lnTo>
                    <a:pt x="1738" y="523"/>
                  </a:lnTo>
                  <a:lnTo>
                    <a:pt x="1738" y="563"/>
                  </a:lnTo>
                  <a:lnTo>
                    <a:pt x="1740" y="643"/>
                  </a:lnTo>
                  <a:lnTo>
                    <a:pt x="1744" y="715"/>
                  </a:lnTo>
                  <a:lnTo>
                    <a:pt x="1707" y="715"/>
                  </a:lnTo>
                  <a:lnTo>
                    <a:pt x="1706" y="717"/>
                  </a:lnTo>
                  <a:lnTo>
                    <a:pt x="1703" y="718"/>
                  </a:lnTo>
                  <a:lnTo>
                    <a:pt x="1701" y="720"/>
                  </a:lnTo>
                  <a:lnTo>
                    <a:pt x="1698" y="721"/>
                  </a:lnTo>
                  <a:lnTo>
                    <a:pt x="1690" y="721"/>
                  </a:lnTo>
                  <a:lnTo>
                    <a:pt x="1684" y="721"/>
                  </a:lnTo>
                  <a:lnTo>
                    <a:pt x="1683" y="723"/>
                  </a:lnTo>
                  <a:lnTo>
                    <a:pt x="1681" y="724"/>
                  </a:lnTo>
                  <a:lnTo>
                    <a:pt x="1679" y="725"/>
                  </a:lnTo>
                  <a:lnTo>
                    <a:pt x="1676" y="726"/>
                  </a:lnTo>
                  <a:lnTo>
                    <a:pt x="1668" y="726"/>
                  </a:lnTo>
                  <a:lnTo>
                    <a:pt x="1662" y="726"/>
                  </a:lnTo>
                  <a:lnTo>
                    <a:pt x="1661" y="730"/>
                  </a:lnTo>
                  <a:lnTo>
                    <a:pt x="1659" y="732"/>
                  </a:lnTo>
                  <a:lnTo>
                    <a:pt x="1655" y="732"/>
                  </a:lnTo>
                  <a:lnTo>
                    <a:pt x="1651" y="732"/>
                  </a:lnTo>
                  <a:lnTo>
                    <a:pt x="1649" y="737"/>
                  </a:lnTo>
                  <a:lnTo>
                    <a:pt x="1645" y="743"/>
                  </a:lnTo>
                  <a:lnTo>
                    <a:pt x="1640" y="746"/>
                  </a:lnTo>
                  <a:lnTo>
                    <a:pt x="1634" y="749"/>
                  </a:lnTo>
                  <a:lnTo>
                    <a:pt x="1634" y="760"/>
                  </a:lnTo>
                  <a:lnTo>
                    <a:pt x="1633" y="766"/>
                  </a:lnTo>
                  <a:lnTo>
                    <a:pt x="1629" y="782"/>
                  </a:lnTo>
                  <a:lnTo>
                    <a:pt x="1625" y="800"/>
                  </a:lnTo>
                  <a:lnTo>
                    <a:pt x="1623" y="810"/>
                  </a:lnTo>
                  <a:lnTo>
                    <a:pt x="1622" y="811"/>
                  </a:lnTo>
                  <a:lnTo>
                    <a:pt x="1620" y="813"/>
                  </a:lnTo>
                  <a:lnTo>
                    <a:pt x="1619" y="817"/>
                  </a:lnTo>
                  <a:lnTo>
                    <a:pt x="1617" y="821"/>
                  </a:lnTo>
                  <a:lnTo>
                    <a:pt x="1615" y="825"/>
                  </a:lnTo>
                  <a:lnTo>
                    <a:pt x="1613" y="828"/>
                  </a:lnTo>
                  <a:lnTo>
                    <a:pt x="1611" y="831"/>
                  </a:lnTo>
                  <a:lnTo>
                    <a:pt x="1606" y="832"/>
                  </a:lnTo>
                  <a:lnTo>
                    <a:pt x="1606" y="842"/>
                  </a:lnTo>
                  <a:lnTo>
                    <a:pt x="1603" y="843"/>
                  </a:lnTo>
                  <a:lnTo>
                    <a:pt x="1598" y="847"/>
                  </a:lnTo>
                  <a:lnTo>
                    <a:pt x="1595" y="850"/>
                  </a:lnTo>
                  <a:lnTo>
                    <a:pt x="1592" y="855"/>
                  </a:lnTo>
                  <a:lnTo>
                    <a:pt x="1586" y="864"/>
                  </a:lnTo>
                  <a:lnTo>
                    <a:pt x="1585" y="870"/>
                  </a:lnTo>
                  <a:lnTo>
                    <a:pt x="1574" y="876"/>
                  </a:lnTo>
                  <a:lnTo>
                    <a:pt x="1574" y="887"/>
                  </a:lnTo>
                  <a:lnTo>
                    <a:pt x="1568" y="893"/>
                  </a:lnTo>
                  <a:lnTo>
                    <a:pt x="1563" y="898"/>
                  </a:lnTo>
                  <a:lnTo>
                    <a:pt x="1557" y="902"/>
                  </a:lnTo>
                  <a:lnTo>
                    <a:pt x="1552" y="904"/>
                  </a:lnTo>
                  <a:lnTo>
                    <a:pt x="1552" y="915"/>
                  </a:lnTo>
                  <a:lnTo>
                    <a:pt x="1548" y="918"/>
                  </a:lnTo>
                  <a:lnTo>
                    <a:pt x="1546" y="929"/>
                  </a:lnTo>
                  <a:lnTo>
                    <a:pt x="1542" y="944"/>
                  </a:lnTo>
                  <a:lnTo>
                    <a:pt x="1538" y="962"/>
                  </a:lnTo>
                  <a:lnTo>
                    <a:pt x="1532" y="996"/>
                  </a:lnTo>
                  <a:lnTo>
                    <a:pt x="1529" y="1020"/>
                  </a:lnTo>
                  <a:lnTo>
                    <a:pt x="1527" y="1045"/>
                  </a:lnTo>
                  <a:lnTo>
                    <a:pt x="1524" y="1072"/>
                  </a:lnTo>
                  <a:lnTo>
                    <a:pt x="1520" y="1099"/>
                  </a:lnTo>
                  <a:lnTo>
                    <a:pt x="1518" y="1126"/>
                  </a:lnTo>
                  <a:lnTo>
                    <a:pt x="1525" y="1131"/>
                  </a:lnTo>
                  <a:lnTo>
                    <a:pt x="1534" y="1139"/>
                  </a:lnTo>
                  <a:lnTo>
                    <a:pt x="1543" y="1147"/>
                  </a:lnTo>
                  <a:lnTo>
                    <a:pt x="1546" y="1153"/>
                  </a:lnTo>
                  <a:lnTo>
                    <a:pt x="1552" y="1158"/>
                  </a:lnTo>
                  <a:lnTo>
                    <a:pt x="1563" y="1158"/>
                  </a:lnTo>
                  <a:lnTo>
                    <a:pt x="1565" y="1165"/>
                  </a:lnTo>
                  <a:lnTo>
                    <a:pt x="1571" y="1172"/>
                  </a:lnTo>
                  <a:lnTo>
                    <a:pt x="1576" y="1178"/>
                  </a:lnTo>
                  <a:lnTo>
                    <a:pt x="1580" y="1181"/>
                  </a:lnTo>
                  <a:lnTo>
                    <a:pt x="1580" y="1192"/>
                  </a:lnTo>
                  <a:lnTo>
                    <a:pt x="1581" y="1193"/>
                  </a:lnTo>
                  <a:lnTo>
                    <a:pt x="1582" y="1194"/>
                  </a:lnTo>
                  <a:lnTo>
                    <a:pt x="1583" y="1195"/>
                  </a:lnTo>
                  <a:lnTo>
                    <a:pt x="1584" y="1198"/>
                  </a:lnTo>
                  <a:lnTo>
                    <a:pt x="1584" y="1204"/>
                  </a:lnTo>
                  <a:lnTo>
                    <a:pt x="1585" y="1208"/>
                  </a:lnTo>
                  <a:lnTo>
                    <a:pt x="1582" y="1210"/>
                  </a:lnTo>
                  <a:lnTo>
                    <a:pt x="1580" y="1212"/>
                  </a:lnTo>
                  <a:lnTo>
                    <a:pt x="1577" y="1216"/>
                  </a:lnTo>
                  <a:lnTo>
                    <a:pt x="1574" y="1221"/>
                  </a:lnTo>
                  <a:lnTo>
                    <a:pt x="1569" y="1230"/>
                  </a:lnTo>
                  <a:lnTo>
                    <a:pt x="1568" y="1236"/>
                  </a:lnTo>
                  <a:lnTo>
                    <a:pt x="1563" y="1242"/>
                  </a:lnTo>
                  <a:lnTo>
                    <a:pt x="1548" y="1242"/>
                  </a:lnTo>
                  <a:lnTo>
                    <a:pt x="1526" y="1242"/>
                  </a:lnTo>
                  <a:lnTo>
                    <a:pt x="1498" y="1242"/>
                  </a:lnTo>
                  <a:lnTo>
                    <a:pt x="1467" y="1242"/>
                  </a:lnTo>
                  <a:lnTo>
                    <a:pt x="1463" y="1236"/>
                  </a:lnTo>
                  <a:lnTo>
                    <a:pt x="1460" y="1231"/>
                  </a:lnTo>
                  <a:lnTo>
                    <a:pt x="1444" y="1223"/>
                  </a:lnTo>
                  <a:lnTo>
                    <a:pt x="1430" y="1215"/>
                  </a:lnTo>
                  <a:lnTo>
                    <a:pt x="1414" y="1207"/>
                  </a:lnTo>
                  <a:lnTo>
                    <a:pt x="1399" y="1193"/>
                  </a:lnTo>
                  <a:lnTo>
                    <a:pt x="1383" y="1177"/>
                  </a:lnTo>
                  <a:lnTo>
                    <a:pt x="1380" y="1176"/>
                  </a:lnTo>
                  <a:lnTo>
                    <a:pt x="1377" y="1176"/>
                  </a:lnTo>
                  <a:lnTo>
                    <a:pt x="1375" y="1174"/>
                  </a:lnTo>
                  <a:lnTo>
                    <a:pt x="1372" y="1172"/>
                  </a:lnTo>
                  <a:lnTo>
                    <a:pt x="1371" y="1169"/>
                  </a:lnTo>
                  <a:lnTo>
                    <a:pt x="1369" y="1167"/>
                  </a:lnTo>
                  <a:lnTo>
                    <a:pt x="1367" y="1164"/>
                  </a:lnTo>
                  <a:lnTo>
                    <a:pt x="1367" y="1162"/>
                  </a:lnTo>
                  <a:lnTo>
                    <a:pt x="1352" y="1162"/>
                  </a:lnTo>
                  <a:lnTo>
                    <a:pt x="1352" y="1157"/>
                  </a:lnTo>
                  <a:lnTo>
                    <a:pt x="1351" y="1155"/>
                  </a:lnTo>
                  <a:lnTo>
                    <a:pt x="1350" y="1154"/>
                  </a:lnTo>
                  <a:lnTo>
                    <a:pt x="1348" y="1154"/>
                  </a:lnTo>
                  <a:lnTo>
                    <a:pt x="1347" y="1154"/>
                  </a:lnTo>
                  <a:lnTo>
                    <a:pt x="1345" y="1153"/>
                  </a:lnTo>
                  <a:lnTo>
                    <a:pt x="1345" y="1150"/>
                  </a:lnTo>
                  <a:lnTo>
                    <a:pt x="1344" y="1146"/>
                  </a:lnTo>
                  <a:lnTo>
                    <a:pt x="1336" y="1138"/>
                  </a:lnTo>
                  <a:lnTo>
                    <a:pt x="1331" y="1137"/>
                  </a:lnTo>
                  <a:lnTo>
                    <a:pt x="1324" y="1135"/>
                  </a:lnTo>
                  <a:lnTo>
                    <a:pt x="1316" y="1131"/>
                  </a:lnTo>
                  <a:lnTo>
                    <a:pt x="1308" y="1127"/>
                  </a:lnTo>
                  <a:lnTo>
                    <a:pt x="1300" y="1123"/>
                  </a:lnTo>
                  <a:lnTo>
                    <a:pt x="1293" y="1119"/>
                  </a:lnTo>
                  <a:lnTo>
                    <a:pt x="1284" y="1116"/>
                  </a:lnTo>
                  <a:lnTo>
                    <a:pt x="1275" y="1115"/>
                  </a:lnTo>
                  <a:lnTo>
                    <a:pt x="1267" y="1099"/>
                  </a:lnTo>
                  <a:lnTo>
                    <a:pt x="1262" y="1098"/>
                  </a:lnTo>
                  <a:lnTo>
                    <a:pt x="1256" y="1093"/>
                  </a:lnTo>
                  <a:lnTo>
                    <a:pt x="1246" y="1088"/>
                  </a:lnTo>
                  <a:lnTo>
                    <a:pt x="1236" y="1080"/>
                  </a:lnTo>
                  <a:lnTo>
                    <a:pt x="1226" y="1073"/>
                  </a:lnTo>
                  <a:lnTo>
                    <a:pt x="1217" y="1067"/>
                  </a:lnTo>
                  <a:lnTo>
                    <a:pt x="1210" y="1062"/>
                  </a:lnTo>
                  <a:lnTo>
                    <a:pt x="1206" y="1061"/>
                  </a:lnTo>
                  <a:lnTo>
                    <a:pt x="1204" y="1057"/>
                  </a:lnTo>
                  <a:lnTo>
                    <a:pt x="1202" y="1052"/>
                  </a:lnTo>
                  <a:lnTo>
                    <a:pt x="1200" y="1048"/>
                  </a:lnTo>
                  <a:lnTo>
                    <a:pt x="1196" y="1042"/>
                  </a:lnTo>
                  <a:lnTo>
                    <a:pt x="1185" y="1032"/>
                  </a:lnTo>
                  <a:lnTo>
                    <a:pt x="1174" y="1022"/>
                  </a:lnTo>
                  <a:lnTo>
                    <a:pt x="1163" y="1012"/>
                  </a:lnTo>
                  <a:lnTo>
                    <a:pt x="1153" y="1002"/>
                  </a:lnTo>
                  <a:lnTo>
                    <a:pt x="1149" y="998"/>
                  </a:lnTo>
                  <a:lnTo>
                    <a:pt x="1146" y="993"/>
                  </a:lnTo>
                  <a:lnTo>
                    <a:pt x="1144" y="989"/>
                  </a:lnTo>
                  <a:lnTo>
                    <a:pt x="1143" y="984"/>
                  </a:lnTo>
                  <a:lnTo>
                    <a:pt x="1139" y="983"/>
                  </a:lnTo>
                  <a:lnTo>
                    <a:pt x="1136" y="983"/>
                  </a:lnTo>
                  <a:lnTo>
                    <a:pt x="1136" y="981"/>
                  </a:lnTo>
                  <a:lnTo>
                    <a:pt x="1135" y="980"/>
                  </a:lnTo>
                  <a:lnTo>
                    <a:pt x="1135" y="979"/>
                  </a:lnTo>
                  <a:lnTo>
                    <a:pt x="1135" y="977"/>
                  </a:lnTo>
                  <a:lnTo>
                    <a:pt x="1132" y="976"/>
                  </a:lnTo>
                  <a:lnTo>
                    <a:pt x="1129" y="976"/>
                  </a:lnTo>
                  <a:lnTo>
                    <a:pt x="1121" y="968"/>
                  </a:lnTo>
                  <a:lnTo>
                    <a:pt x="1121" y="953"/>
                  </a:lnTo>
                  <a:lnTo>
                    <a:pt x="1117" y="952"/>
                  </a:lnTo>
                  <a:lnTo>
                    <a:pt x="1113" y="951"/>
                  </a:lnTo>
                  <a:lnTo>
                    <a:pt x="1110" y="947"/>
                  </a:lnTo>
                  <a:lnTo>
                    <a:pt x="1106" y="943"/>
                  </a:lnTo>
                  <a:lnTo>
                    <a:pt x="1103" y="938"/>
                  </a:lnTo>
                  <a:lnTo>
                    <a:pt x="1100" y="933"/>
                  </a:lnTo>
                  <a:lnTo>
                    <a:pt x="1097" y="927"/>
                  </a:lnTo>
                  <a:lnTo>
                    <a:pt x="1097" y="922"/>
                  </a:lnTo>
                  <a:lnTo>
                    <a:pt x="1089" y="914"/>
                  </a:lnTo>
                  <a:lnTo>
                    <a:pt x="1084" y="914"/>
                  </a:lnTo>
                  <a:lnTo>
                    <a:pt x="1078" y="913"/>
                  </a:lnTo>
                  <a:lnTo>
                    <a:pt x="1077" y="913"/>
                  </a:lnTo>
                  <a:lnTo>
                    <a:pt x="1075" y="910"/>
                  </a:lnTo>
                  <a:lnTo>
                    <a:pt x="1074" y="909"/>
                  </a:lnTo>
                  <a:lnTo>
                    <a:pt x="1074" y="906"/>
                  </a:lnTo>
                  <a:lnTo>
                    <a:pt x="1058" y="905"/>
                  </a:lnTo>
                  <a:lnTo>
                    <a:pt x="1040" y="902"/>
                  </a:lnTo>
                  <a:lnTo>
                    <a:pt x="1021" y="897"/>
                  </a:lnTo>
                  <a:lnTo>
                    <a:pt x="1002" y="891"/>
                  </a:lnTo>
                  <a:lnTo>
                    <a:pt x="985" y="885"/>
                  </a:lnTo>
                  <a:lnTo>
                    <a:pt x="968" y="880"/>
                  </a:lnTo>
                  <a:lnTo>
                    <a:pt x="953" y="877"/>
                  </a:lnTo>
                  <a:lnTo>
                    <a:pt x="942" y="876"/>
                  </a:lnTo>
                  <a:lnTo>
                    <a:pt x="934" y="860"/>
                  </a:lnTo>
                  <a:lnTo>
                    <a:pt x="932" y="860"/>
                  </a:lnTo>
                  <a:lnTo>
                    <a:pt x="929" y="859"/>
                  </a:lnTo>
                  <a:lnTo>
                    <a:pt x="926" y="857"/>
                  </a:lnTo>
                  <a:lnTo>
                    <a:pt x="924" y="856"/>
                  </a:lnTo>
                  <a:lnTo>
                    <a:pt x="922" y="852"/>
                  </a:lnTo>
                  <a:lnTo>
                    <a:pt x="921" y="850"/>
                  </a:lnTo>
                  <a:lnTo>
                    <a:pt x="920" y="848"/>
                  </a:lnTo>
                  <a:lnTo>
                    <a:pt x="920" y="845"/>
                  </a:lnTo>
                  <a:lnTo>
                    <a:pt x="912" y="845"/>
                  </a:lnTo>
                  <a:lnTo>
                    <a:pt x="905" y="843"/>
                  </a:lnTo>
                  <a:lnTo>
                    <a:pt x="901" y="842"/>
                  </a:lnTo>
                  <a:lnTo>
                    <a:pt x="899" y="841"/>
                  </a:lnTo>
                  <a:lnTo>
                    <a:pt x="896" y="839"/>
                  </a:lnTo>
                  <a:lnTo>
                    <a:pt x="896" y="837"/>
                  </a:lnTo>
                  <a:lnTo>
                    <a:pt x="889" y="837"/>
                  </a:lnTo>
                  <a:lnTo>
                    <a:pt x="877" y="836"/>
                  </a:lnTo>
                  <a:lnTo>
                    <a:pt x="873" y="835"/>
                  </a:lnTo>
                  <a:lnTo>
                    <a:pt x="868" y="833"/>
                  </a:lnTo>
                  <a:lnTo>
                    <a:pt x="866" y="831"/>
                  </a:lnTo>
                  <a:lnTo>
                    <a:pt x="865" y="829"/>
                  </a:lnTo>
                  <a:lnTo>
                    <a:pt x="834" y="829"/>
                  </a:lnTo>
                  <a:lnTo>
                    <a:pt x="834" y="825"/>
                  </a:lnTo>
                  <a:lnTo>
                    <a:pt x="833" y="822"/>
                  </a:lnTo>
                  <a:lnTo>
                    <a:pt x="832" y="821"/>
                  </a:lnTo>
                  <a:lnTo>
                    <a:pt x="830" y="821"/>
                  </a:lnTo>
                  <a:lnTo>
                    <a:pt x="829" y="821"/>
                  </a:lnTo>
                  <a:lnTo>
                    <a:pt x="828" y="820"/>
                  </a:lnTo>
                  <a:lnTo>
                    <a:pt x="827" y="818"/>
                  </a:lnTo>
                  <a:lnTo>
                    <a:pt x="826" y="813"/>
                  </a:lnTo>
                  <a:lnTo>
                    <a:pt x="819" y="806"/>
                  </a:lnTo>
                  <a:lnTo>
                    <a:pt x="807" y="806"/>
                  </a:lnTo>
                  <a:lnTo>
                    <a:pt x="796" y="806"/>
                  </a:lnTo>
                  <a:lnTo>
                    <a:pt x="796" y="790"/>
                  </a:lnTo>
                  <a:lnTo>
                    <a:pt x="791" y="790"/>
                  </a:lnTo>
                  <a:lnTo>
                    <a:pt x="789" y="789"/>
                  </a:lnTo>
                  <a:lnTo>
                    <a:pt x="788" y="788"/>
                  </a:lnTo>
                  <a:lnTo>
                    <a:pt x="788" y="787"/>
                  </a:lnTo>
                  <a:lnTo>
                    <a:pt x="788" y="785"/>
                  </a:lnTo>
                  <a:lnTo>
                    <a:pt x="787" y="784"/>
                  </a:lnTo>
                  <a:lnTo>
                    <a:pt x="785" y="783"/>
                  </a:lnTo>
                  <a:lnTo>
                    <a:pt x="780" y="783"/>
                  </a:lnTo>
                  <a:lnTo>
                    <a:pt x="780" y="768"/>
                  </a:lnTo>
                  <a:lnTo>
                    <a:pt x="772" y="760"/>
                  </a:lnTo>
                  <a:lnTo>
                    <a:pt x="765" y="752"/>
                  </a:lnTo>
                  <a:lnTo>
                    <a:pt x="757" y="744"/>
                  </a:lnTo>
                  <a:lnTo>
                    <a:pt x="749" y="736"/>
                  </a:lnTo>
                  <a:lnTo>
                    <a:pt x="736" y="737"/>
                  </a:lnTo>
                  <a:lnTo>
                    <a:pt x="719" y="740"/>
                  </a:lnTo>
                  <a:lnTo>
                    <a:pt x="704" y="743"/>
                  </a:lnTo>
                  <a:lnTo>
                    <a:pt x="695" y="744"/>
                  </a:lnTo>
                  <a:lnTo>
                    <a:pt x="694" y="749"/>
                  </a:lnTo>
                  <a:lnTo>
                    <a:pt x="694" y="751"/>
                  </a:lnTo>
                  <a:lnTo>
                    <a:pt x="693" y="752"/>
                  </a:lnTo>
                  <a:lnTo>
                    <a:pt x="691" y="752"/>
                  </a:lnTo>
                  <a:lnTo>
                    <a:pt x="690" y="752"/>
                  </a:lnTo>
                  <a:lnTo>
                    <a:pt x="689" y="753"/>
                  </a:lnTo>
                  <a:lnTo>
                    <a:pt x="688" y="755"/>
                  </a:lnTo>
                  <a:lnTo>
                    <a:pt x="688" y="760"/>
                  </a:lnTo>
                  <a:lnTo>
                    <a:pt x="684" y="760"/>
                  </a:lnTo>
                  <a:lnTo>
                    <a:pt x="682" y="761"/>
                  </a:lnTo>
                  <a:lnTo>
                    <a:pt x="679" y="762"/>
                  </a:lnTo>
                  <a:lnTo>
                    <a:pt x="676" y="764"/>
                  </a:lnTo>
                  <a:lnTo>
                    <a:pt x="674" y="766"/>
                  </a:lnTo>
                  <a:lnTo>
                    <a:pt x="673" y="770"/>
                  </a:lnTo>
                  <a:lnTo>
                    <a:pt x="672" y="772"/>
                  </a:lnTo>
                  <a:lnTo>
                    <a:pt x="672" y="775"/>
                  </a:lnTo>
                  <a:lnTo>
                    <a:pt x="657" y="775"/>
                  </a:lnTo>
                  <a:lnTo>
                    <a:pt x="634" y="774"/>
                  </a:lnTo>
                  <a:lnTo>
                    <a:pt x="623" y="773"/>
                  </a:lnTo>
                  <a:lnTo>
                    <a:pt x="612" y="772"/>
                  </a:lnTo>
                  <a:lnTo>
                    <a:pt x="608" y="771"/>
                  </a:lnTo>
                  <a:lnTo>
                    <a:pt x="605" y="770"/>
                  </a:lnTo>
                  <a:lnTo>
                    <a:pt x="603" y="769"/>
                  </a:lnTo>
                  <a:lnTo>
                    <a:pt x="603" y="768"/>
                  </a:lnTo>
                  <a:lnTo>
                    <a:pt x="597" y="768"/>
                  </a:lnTo>
                  <a:lnTo>
                    <a:pt x="592" y="766"/>
                  </a:lnTo>
                  <a:lnTo>
                    <a:pt x="589" y="765"/>
                  </a:lnTo>
                  <a:lnTo>
                    <a:pt x="588" y="764"/>
                  </a:lnTo>
                  <a:lnTo>
                    <a:pt x="587" y="762"/>
                  </a:lnTo>
                  <a:lnTo>
                    <a:pt x="587" y="760"/>
                  </a:lnTo>
                  <a:lnTo>
                    <a:pt x="571" y="760"/>
                  </a:lnTo>
                  <a:lnTo>
                    <a:pt x="546" y="761"/>
                  </a:lnTo>
                  <a:lnTo>
                    <a:pt x="532" y="762"/>
                  </a:lnTo>
                  <a:lnTo>
                    <a:pt x="520" y="763"/>
                  </a:lnTo>
                  <a:lnTo>
                    <a:pt x="516" y="764"/>
                  </a:lnTo>
                  <a:lnTo>
                    <a:pt x="512" y="764"/>
                  </a:lnTo>
                  <a:lnTo>
                    <a:pt x="510" y="766"/>
                  </a:lnTo>
                  <a:lnTo>
                    <a:pt x="510" y="768"/>
                  </a:lnTo>
                  <a:lnTo>
                    <a:pt x="501" y="769"/>
                  </a:lnTo>
                  <a:lnTo>
                    <a:pt x="491" y="772"/>
                  </a:lnTo>
                  <a:lnTo>
                    <a:pt x="487" y="774"/>
                  </a:lnTo>
                  <a:lnTo>
                    <a:pt x="482" y="778"/>
                  </a:lnTo>
                  <a:lnTo>
                    <a:pt x="480" y="780"/>
                  </a:lnTo>
                  <a:lnTo>
                    <a:pt x="479" y="783"/>
                  </a:lnTo>
                  <a:lnTo>
                    <a:pt x="469" y="784"/>
                  </a:lnTo>
                  <a:lnTo>
                    <a:pt x="460" y="787"/>
                  </a:lnTo>
                  <a:lnTo>
                    <a:pt x="451" y="789"/>
                  </a:lnTo>
                  <a:lnTo>
                    <a:pt x="440" y="790"/>
                  </a:lnTo>
                  <a:lnTo>
                    <a:pt x="440" y="794"/>
                  </a:lnTo>
                  <a:lnTo>
                    <a:pt x="438" y="798"/>
                  </a:lnTo>
                  <a:lnTo>
                    <a:pt x="434" y="801"/>
                  </a:lnTo>
                  <a:lnTo>
                    <a:pt x="430" y="804"/>
                  </a:lnTo>
                  <a:lnTo>
                    <a:pt x="424" y="807"/>
                  </a:lnTo>
                  <a:lnTo>
                    <a:pt x="417" y="809"/>
                  </a:lnTo>
                  <a:lnTo>
                    <a:pt x="411" y="810"/>
                  </a:lnTo>
                  <a:lnTo>
                    <a:pt x="403" y="811"/>
                  </a:lnTo>
                  <a:lnTo>
                    <a:pt x="384" y="813"/>
                  </a:lnTo>
                  <a:lnTo>
                    <a:pt x="364" y="814"/>
                  </a:lnTo>
                  <a:lnTo>
                    <a:pt x="343" y="814"/>
                  </a:lnTo>
                  <a:lnTo>
                    <a:pt x="320" y="814"/>
                  </a:lnTo>
                  <a:lnTo>
                    <a:pt x="276" y="813"/>
                  </a:lnTo>
                  <a:lnTo>
                    <a:pt x="238" y="813"/>
                  </a:lnTo>
                  <a:lnTo>
                    <a:pt x="222" y="814"/>
                  </a:lnTo>
                  <a:lnTo>
                    <a:pt x="211" y="816"/>
                  </a:lnTo>
                  <a:lnTo>
                    <a:pt x="206" y="817"/>
                  </a:lnTo>
                  <a:lnTo>
                    <a:pt x="203" y="818"/>
                  </a:lnTo>
                  <a:lnTo>
                    <a:pt x="201" y="819"/>
                  </a:lnTo>
                  <a:lnTo>
                    <a:pt x="201" y="821"/>
                  </a:lnTo>
                  <a:lnTo>
                    <a:pt x="177" y="821"/>
                  </a:lnTo>
                  <a:lnTo>
                    <a:pt x="176" y="826"/>
                  </a:lnTo>
                  <a:lnTo>
                    <a:pt x="176" y="828"/>
                  </a:lnTo>
                  <a:lnTo>
                    <a:pt x="175" y="829"/>
                  </a:lnTo>
                  <a:lnTo>
                    <a:pt x="173" y="829"/>
                  </a:lnTo>
                  <a:lnTo>
                    <a:pt x="172" y="829"/>
                  </a:lnTo>
                  <a:lnTo>
                    <a:pt x="171" y="830"/>
                  </a:lnTo>
                  <a:lnTo>
                    <a:pt x="170" y="832"/>
                  </a:lnTo>
                  <a:lnTo>
                    <a:pt x="170" y="837"/>
                  </a:lnTo>
                  <a:lnTo>
                    <a:pt x="154" y="841"/>
                  </a:lnTo>
                  <a:lnTo>
                    <a:pt x="138" y="845"/>
                  </a:lnTo>
                  <a:lnTo>
                    <a:pt x="127" y="856"/>
                  </a:lnTo>
                  <a:lnTo>
                    <a:pt x="115" y="868"/>
                  </a:lnTo>
                  <a:lnTo>
                    <a:pt x="109" y="868"/>
                  </a:lnTo>
                  <a:lnTo>
                    <a:pt x="105" y="869"/>
                  </a:lnTo>
                  <a:lnTo>
                    <a:pt x="103" y="869"/>
                  </a:lnTo>
                  <a:lnTo>
                    <a:pt x="102" y="871"/>
                  </a:lnTo>
                  <a:lnTo>
                    <a:pt x="100" y="873"/>
                  </a:lnTo>
                  <a:lnTo>
                    <a:pt x="100" y="876"/>
                  </a:lnTo>
                  <a:lnTo>
                    <a:pt x="11" y="876"/>
                  </a:lnTo>
                  <a:lnTo>
                    <a:pt x="19" y="855"/>
                  </a:lnTo>
                  <a:lnTo>
                    <a:pt x="27" y="828"/>
                  </a:lnTo>
                  <a:lnTo>
                    <a:pt x="35" y="801"/>
                  </a:lnTo>
                  <a:lnTo>
                    <a:pt x="43" y="781"/>
                  </a:lnTo>
                  <a:lnTo>
                    <a:pt x="62" y="748"/>
                  </a:lnTo>
                  <a:lnTo>
                    <a:pt x="78" y="721"/>
                  </a:lnTo>
                  <a:lnTo>
                    <a:pt x="84" y="711"/>
                  </a:lnTo>
                  <a:lnTo>
                    <a:pt x="88" y="701"/>
                  </a:lnTo>
                  <a:lnTo>
                    <a:pt x="91" y="692"/>
                  </a:lnTo>
                  <a:lnTo>
                    <a:pt x="93" y="683"/>
                  </a:lnTo>
                  <a:lnTo>
                    <a:pt x="95" y="682"/>
                  </a:lnTo>
                  <a:lnTo>
                    <a:pt x="97" y="681"/>
                  </a:lnTo>
                  <a:lnTo>
                    <a:pt x="98" y="679"/>
                  </a:lnTo>
                  <a:lnTo>
                    <a:pt x="99" y="677"/>
                  </a:lnTo>
                  <a:lnTo>
                    <a:pt x="99" y="673"/>
                  </a:lnTo>
                  <a:lnTo>
                    <a:pt x="100" y="667"/>
                  </a:lnTo>
                  <a:lnTo>
                    <a:pt x="102" y="666"/>
                  </a:lnTo>
                  <a:lnTo>
                    <a:pt x="103" y="664"/>
                  </a:lnTo>
                  <a:lnTo>
                    <a:pt x="104" y="662"/>
                  </a:lnTo>
                  <a:lnTo>
                    <a:pt x="105" y="657"/>
                  </a:lnTo>
                  <a:lnTo>
                    <a:pt x="106" y="647"/>
                  </a:lnTo>
                  <a:lnTo>
                    <a:pt x="107" y="635"/>
                  </a:lnTo>
                  <a:lnTo>
                    <a:pt x="107" y="611"/>
                  </a:lnTo>
                  <a:lnTo>
                    <a:pt x="107" y="597"/>
                  </a:lnTo>
                  <a:lnTo>
                    <a:pt x="93" y="589"/>
                  </a:lnTo>
                  <a:lnTo>
                    <a:pt x="85" y="582"/>
                  </a:lnTo>
                  <a:lnTo>
                    <a:pt x="84" y="579"/>
                  </a:lnTo>
                  <a:lnTo>
                    <a:pt x="80" y="575"/>
                  </a:lnTo>
                  <a:lnTo>
                    <a:pt x="77" y="571"/>
                  </a:lnTo>
                  <a:lnTo>
                    <a:pt x="71" y="568"/>
                  </a:lnTo>
                  <a:lnTo>
                    <a:pt x="67" y="564"/>
                  </a:lnTo>
                  <a:lnTo>
                    <a:pt x="61" y="561"/>
                  </a:lnTo>
                  <a:lnTo>
                    <a:pt x="57" y="559"/>
                  </a:lnTo>
                  <a:lnTo>
                    <a:pt x="54" y="559"/>
                  </a:lnTo>
                  <a:lnTo>
                    <a:pt x="52" y="556"/>
                  </a:lnTo>
                  <a:lnTo>
                    <a:pt x="51" y="553"/>
                  </a:lnTo>
                  <a:lnTo>
                    <a:pt x="48" y="550"/>
                  </a:lnTo>
                  <a:lnTo>
                    <a:pt x="45" y="548"/>
                  </a:lnTo>
                  <a:lnTo>
                    <a:pt x="37" y="544"/>
                  </a:lnTo>
                  <a:lnTo>
                    <a:pt x="30" y="543"/>
                  </a:lnTo>
                  <a:lnTo>
                    <a:pt x="29" y="537"/>
                  </a:lnTo>
                  <a:lnTo>
                    <a:pt x="26" y="529"/>
                  </a:lnTo>
                  <a:lnTo>
                    <a:pt x="23" y="525"/>
                  </a:lnTo>
                  <a:lnTo>
                    <a:pt x="20" y="522"/>
                  </a:lnTo>
                  <a:lnTo>
                    <a:pt x="18" y="521"/>
                  </a:lnTo>
                  <a:lnTo>
                    <a:pt x="14" y="520"/>
                  </a:lnTo>
                  <a:lnTo>
                    <a:pt x="14" y="496"/>
                  </a:lnTo>
                  <a:lnTo>
                    <a:pt x="10" y="496"/>
                  </a:lnTo>
                  <a:lnTo>
                    <a:pt x="8" y="495"/>
                  </a:lnTo>
                  <a:lnTo>
                    <a:pt x="8" y="494"/>
                  </a:lnTo>
                  <a:lnTo>
                    <a:pt x="7" y="493"/>
                  </a:lnTo>
                  <a:lnTo>
                    <a:pt x="7" y="492"/>
                  </a:lnTo>
                  <a:lnTo>
                    <a:pt x="7" y="491"/>
                  </a:lnTo>
                  <a:lnTo>
                    <a:pt x="4" y="490"/>
                  </a:lnTo>
                  <a:lnTo>
                    <a:pt x="0" y="489"/>
                  </a:lnTo>
                  <a:lnTo>
                    <a:pt x="0" y="45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9" name="Freeform 35"/>
            <p:cNvSpPr>
              <a:spLocks noChangeAspect="1"/>
            </p:cNvSpPr>
            <p:nvPr/>
          </p:nvSpPr>
          <p:spPr bwMode="gray">
            <a:xfrm rot="355651">
              <a:off x="5470525" y="3136900"/>
              <a:ext cx="266605" cy="186306"/>
            </a:xfrm>
            <a:custGeom>
              <a:avLst/>
              <a:gdLst/>
              <a:ahLst/>
              <a:cxnLst>
                <a:cxn ang="0">
                  <a:pos x="1271" y="34"/>
                </a:cxn>
                <a:cxn ang="0">
                  <a:pos x="1242" y="75"/>
                </a:cxn>
                <a:cxn ang="0">
                  <a:pos x="1203" y="113"/>
                </a:cxn>
                <a:cxn ang="0">
                  <a:pos x="1185" y="126"/>
                </a:cxn>
                <a:cxn ang="0">
                  <a:pos x="1164" y="162"/>
                </a:cxn>
                <a:cxn ang="0">
                  <a:pos x="1109" y="162"/>
                </a:cxn>
                <a:cxn ang="0">
                  <a:pos x="957" y="101"/>
                </a:cxn>
                <a:cxn ang="0">
                  <a:pos x="943" y="112"/>
                </a:cxn>
                <a:cxn ang="0">
                  <a:pos x="894" y="112"/>
                </a:cxn>
                <a:cxn ang="0">
                  <a:pos x="879" y="126"/>
                </a:cxn>
                <a:cxn ang="0">
                  <a:pos x="851" y="161"/>
                </a:cxn>
                <a:cxn ang="0">
                  <a:pos x="742" y="185"/>
                </a:cxn>
                <a:cxn ang="0">
                  <a:pos x="630" y="207"/>
                </a:cxn>
                <a:cxn ang="0">
                  <a:pos x="506" y="228"/>
                </a:cxn>
                <a:cxn ang="0">
                  <a:pos x="385" y="250"/>
                </a:cxn>
                <a:cxn ang="0">
                  <a:pos x="374" y="252"/>
                </a:cxn>
                <a:cxn ang="0">
                  <a:pos x="281" y="170"/>
                </a:cxn>
                <a:cxn ang="0">
                  <a:pos x="174" y="129"/>
                </a:cxn>
                <a:cxn ang="0">
                  <a:pos x="14" y="119"/>
                </a:cxn>
                <a:cxn ang="0">
                  <a:pos x="3" y="132"/>
                </a:cxn>
                <a:cxn ang="0">
                  <a:pos x="4" y="227"/>
                </a:cxn>
                <a:cxn ang="0">
                  <a:pos x="159" y="233"/>
                </a:cxn>
                <a:cxn ang="0">
                  <a:pos x="260" y="231"/>
                </a:cxn>
                <a:cxn ang="0">
                  <a:pos x="281" y="250"/>
                </a:cxn>
                <a:cxn ang="0">
                  <a:pos x="323" y="294"/>
                </a:cxn>
                <a:cxn ang="0">
                  <a:pos x="371" y="416"/>
                </a:cxn>
                <a:cxn ang="0">
                  <a:pos x="387" y="464"/>
                </a:cxn>
                <a:cxn ang="0">
                  <a:pos x="461" y="580"/>
                </a:cxn>
                <a:cxn ang="0">
                  <a:pos x="554" y="686"/>
                </a:cxn>
                <a:cxn ang="0">
                  <a:pos x="636" y="818"/>
                </a:cxn>
                <a:cxn ang="0">
                  <a:pos x="657" y="859"/>
                </a:cxn>
                <a:cxn ang="0">
                  <a:pos x="673" y="892"/>
                </a:cxn>
                <a:cxn ang="0">
                  <a:pos x="692" y="950"/>
                </a:cxn>
                <a:cxn ang="0">
                  <a:pos x="721" y="996"/>
                </a:cxn>
                <a:cxn ang="0">
                  <a:pos x="751" y="968"/>
                </a:cxn>
                <a:cxn ang="0">
                  <a:pos x="759" y="931"/>
                </a:cxn>
                <a:cxn ang="0">
                  <a:pos x="799" y="879"/>
                </a:cxn>
                <a:cxn ang="0">
                  <a:pos x="871" y="789"/>
                </a:cxn>
                <a:cxn ang="0">
                  <a:pos x="888" y="747"/>
                </a:cxn>
                <a:cxn ang="0">
                  <a:pos x="935" y="692"/>
                </a:cxn>
                <a:cxn ang="0">
                  <a:pos x="1050" y="640"/>
                </a:cxn>
                <a:cxn ang="0">
                  <a:pos x="1067" y="612"/>
                </a:cxn>
                <a:cxn ang="0">
                  <a:pos x="1084" y="588"/>
                </a:cxn>
                <a:cxn ang="0">
                  <a:pos x="1108" y="507"/>
                </a:cxn>
                <a:cxn ang="0">
                  <a:pos x="1144" y="484"/>
                </a:cxn>
                <a:cxn ang="0">
                  <a:pos x="1150" y="476"/>
                </a:cxn>
                <a:cxn ang="0">
                  <a:pos x="1169" y="462"/>
                </a:cxn>
                <a:cxn ang="0">
                  <a:pos x="1178" y="453"/>
                </a:cxn>
                <a:cxn ang="0">
                  <a:pos x="1191" y="442"/>
                </a:cxn>
                <a:cxn ang="0">
                  <a:pos x="1205" y="433"/>
                </a:cxn>
                <a:cxn ang="0">
                  <a:pos x="1240" y="409"/>
                </a:cxn>
                <a:cxn ang="0">
                  <a:pos x="1261" y="377"/>
                </a:cxn>
                <a:cxn ang="0">
                  <a:pos x="1272" y="323"/>
                </a:cxn>
                <a:cxn ang="0">
                  <a:pos x="1311" y="237"/>
                </a:cxn>
                <a:cxn ang="0">
                  <a:pos x="1318" y="229"/>
                </a:cxn>
                <a:cxn ang="0">
                  <a:pos x="1327" y="214"/>
                </a:cxn>
                <a:cxn ang="0">
                  <a:pos x="1361" y="108"/>
                </a:cxn>
                <a:cxn ang="0">
                  <a:pos x="1367" y="48"/>
                </a:cxn>
                <a:cxn ang="0">
                  <a:pos x="1356" y="26"/>
                </a:cxn>
                <a:cxn ang="0">
                  <a:pos x="1338" y="13"/>
                </a:cxn>
              </a:cxnLst>
              <a:rect l="0" t="0" r="r" b="b"/>
              <a:pathLst>
                <a:path w="1369" h="996">
                  <a:moveTo>
                    <a:pt x="1338" y="0"/>
                  </a:moveTo>
                  <a:lnTo>
                    <a:pt x="1320" y="3"/>
                  </a:lnTo>
                  <a:lnTo>
                    <a:pt x="1306" y="4"/>
                  </a:lnTo>
                  <a:lnTo>
                    <a:pt x="1272" y="13"/>
                  </a:lnTo>
                  <a:lnTo>
                    <a:pt x="1272" y="23"/>
                  </a:lnTo>
                  <a:lnTo>
                    <a:pt x="1271" y="34"/>
                  </a:lnTo>
                  <a:lnTo>
                    <a:pt x="1270" y="44"/>
                  </a:lnTo>
                  <a:lnTo>
                    <a:pt x="1270" y="53"/>
                  </a:lnTo>
                  <a:lnTo>
                    <a:pt x="1262" y="56"/>
                  </a:lnTo>
                  <a:lnTo>
                    <a:pt x="1252" y="67"/>
                  </a:lnTo>
                  <a:lnTo>
                    <a:pt x="1248" y="71"/>
                  </a:lnTo>
                  <a:lnTo>
                    <a:pt x="1242" y="75"/>
                  </a:lnTo>
                  <a:lnTo>
                    <a:pt x="1238" y="79"/>
                  </a:lnTo>
                  <a:lnTo>
                    <a:pt x="1233" y="80"/>
                  </a:lnTo>
                  <a:lnTo>
                    <a:pt x="1229" y="85"/>
                  </a:lnTo>
                  <a:lnTo>
                    <a:pt x="1220" y="96"/>
                  </a:lnTo>
                  <a:lnTo>
                    <a:pt x="1209" y="106"/>
                  </a:lnTo>
                  <a:lnTo>
                    <a:pt x="1203" y="113"/>
                  </a:lnTo>
                  <a:lnTo>
                    <a:pt x="1198" y="113"/>
                  </a:lnTo>
                  <a:lnTo>
                    <a:pt x="1194" y="116"/>
                  </a:lnTo>
                  <a:lnTo>
                    <a:pt x="1192" y="117"/>
                  </a:lnTo>
                  <a:lnTo>
                    <a:pt x="1191" y="119"/>
                  </a:lnTo>
                  <a:lnTo>
                    <a:pt x="1185" y="119"/>
                  </a:lnTo>
                  <a:lnTo>
                    <a:pt x="1185" y="126"/>
                  </a:lnTo>
                  <a:lnTo>
                    <a:pt x="1178" y="135"/>
                  </a:lnTo>
                  <a:lnTo>
                    <a:pt x="1173" y="144"/>
                  </a:lnTo>
                  <a:lnTo>
                    <a:pt x="1172" y="150"/>
                  </a:lnTo>
                  <a:lnTo>
                    <a:pt x="1171" y="155"/>
                  </a:lnTo>
                  <a:lnTo>
                    <a:pt x="1167" y="159"/>
                  </a:lnTo>
                  <a:lnTo>
                    <a:pt x="1164" y="162"/>
                  </a:lnTo>
                  <a:lnTo>
                    <a:pt x="1159" y="165"/>
                  </a:lnTo>
                  <a:lnTo>
                    <a:pt x="1154" y="167"/>
                  </a:lnTo>
                  <a:lnTo>
                    <a:pt x="1148" y="167"/>
                  </a:lnTo>
                  <a:lnTo>
                    <a:pt x="1142" y="168"/>
                  </a:lnTo>
                  <a:lnTo>
                    <a:pt x="1126" y="166"/>
                  </a:lnTo>
                  <a:lnTo>
                    <a:pt x="1109" y="162"/>
                  </a:lnTo>
                  <a:lnTo>
                    <a:pt x="1091" y="157"/>
                  </a:lnTo>
                  <a:lnTo>
                    <a:pt x="1072" y="149"/>
                  </a:lnTo>
                  <a:lnTo>
                    <a:pt x="1033" y="133"/>
                  </a:lnTo>
                  <a:lnTo>
                    <a:pt x="999" y="118"/>
                  </a:lnTo>
                  <a:lnTo>
                    <a:pt x="972" y="106"/>
                  </a:lnTo>
                  <a:lnTo>
                    <a:pt x="957" y="101"/>
                  </a:lnTo>
                  <a:lnTo>
                    <a:pt x="956" y="103"/>
                  </a:lnTo>
                  <a:lnTo>
                    <a:pt x="954" y="107"/>
                  </a:lnTo>
                  <a:lnTo>
                    <a:pt x="950" y="109"/>
                  </a:lnTo>
                  <a:lnTo>
                    <a:pt x="945" y="110"/>
                  </a:lnTo>
                  <a:lnTo>
                    <a:pt x="944" y="111"/>
                  </a:lnTo>
                  <a:lnTo>
                    <a:pt x="943" y="112"/>
                  </a:lnTo>
                  <a:lnTo>
                    <a:pt x="940" y="113"/>
                  </a:lnTo>
                  <a:lnTo>
                    <a:pt x="936" y="113"/>
                  </a:lnTo>
                  <a:lnTo>
                    <a:pt x="926" y="112"/>
                  </a:lnTo>
                  <a:lnTo>
                    <a:pt x="915" y="112"/>
                  </a:lnTo>
                  <a:lnTo>
                    <a:pt x="904" y="111"/>
                  </a:lnTo>
                  <a:lnTo>
                    <a:pt x="894" y="112"/>
                  </a:lnTo>
                  <a:lnTo>
                    <a:pt x="890" y="115"/>
                  </a:lnTo>
                  <a:lnTo>
                    <a:pt x="887" y="116"/>
                  </a:lnTo>
                  <a:lnTo>
                    <a:pt x="885" y="119"/>
                  </a:lnTo>
                  <a:lnTo>
                    <a:pt x="885" y="122"/>
                  </a:lnTo>
                  <a:lnTo>
                    <a:pt x="881" y="123"/>
                  </a:lnTo>
                  <a:lnTo>
                    <a:pt x="879" y="126"/>
                  </a:lnTo>
                  <a:lnTo>
                    <a:pt x="877" y="128"/>
                  </a:lnTo>
                  <a:lnTo>
                    <a:pt x="875" y="132"/>
                  </a:lnTo>
                  <a:lnTo>
                    <a:pt x="871" y="139"/>
                  </a:lnTo>
                  <a:lnTo>
                    <a:pt x="869" y="144"/>
                  </a:lnTo>
                  <a:lnTo>
                    <a:pt x="859" y="152"/>
                  </a:lnTo>
                  <a:lnTo>
                    <a:pt x="851" y="161"/>
                  </a:lnTo>
                  <a:lnTo>
                    <a:pt x="835" y="162"/>
                  </a:lnTo>
                  <a:lnTo>
                    <a:pt x="819" y="164"/>
                  </a:lnTo>
                  <a:lnTo>
                    <a:pt x="806" y="166"/>
                  </a:lnTo>
                  <a:lnTo>
                    <a:pt x="791" y="169"/>
                  </a:lnTo>
                  <a:lnTo>
                    <a:pt x="766" y="176"/>
                  </a:lnTo>
                  <a:lnTo>
                    <a:pt x="742" y="185"/>
                  </a:lnTo>
                  <a:lnTo>
                    <a:pt x="717" y="193"/>
                  </a:lnTo>
                  <a:lnTo>
                    <a:pt x="692" y="200"/>
                  </a:lnTo>
                  <a:lnTo>
                    <a:pt x="677" y="203"/>
                  </a:lnTo>
                  <a:lnTo>
                    <a:pt x="663" y="205"/>
                  </a:lnTo>
                  <a:lnTo>
                    <a:pt x="647" y="207"/>
                  </a:lnTo>
                  <a:lnTo>
                    <a:pt x="630" y="207"/>
                  </a:lnTo>
                  <a:lnTo>
                    <a:pt x="615" y="208"/>
                  </a:lnTo>
                  <a:lnTo>
                    <a:pt x="599" y="209"/>
                  </a:lnTo>
                  <a:lnTo>
                    <a:pt x="583" y="212"/>
                  </a:lnTo>
                  <a:lnTo>
                    <a:pt x="568" y="214"/>
                  </a:lnTo>
                  <a:lnTo>
                    <a:pt x="537" y="221"/>
                  </a:lnTo>
                  <a:lnTo>
                    <a:pt x="506" y="228"/>
                  </a:lnTo>
                  <a:lnTo>
                    <a:pt x="475" y="236"/>
                  </a:lnTo>
                  <a:lnTo>
                    <a:pt x="445" y="243"/>
                  </a:lnTo>
                  <a:lnTo>
                    <a:pt x="429" y="246"/>
                  </a:lnTo>
                  <a:lnTo>
                    <a:pt x="414" y="247"/>
                  </a:lnTo>
                  <a:lnTo>
                    <a:pt x="399" y="250"/>
                  </a:lnTo>
                  <a:lnTo>
                    <a:pt x="385" y="250"/>
                  </a:lnTo>
                  <a:lnTo>
                    <a:pt x="384" y="252"/>
                  </a:lnTo>
                  <a:lnTo>
                    <a:pt x="384" y="253"/>
                  </a:lnTo>
                  <a:lnTo>
                    <a:pt x="382" y="254"/>
                  </a:lnTo>
                  <a:lnTo>
                    <a:pt x="381" y="254"/>
                  </a:lnTo>
                  <a:lnTo>
                    <a:pt x="378" y="254"/>
                  </a:lnTo>
                  <a:lnTo>
                    <a:pt x="374" y="252"/>
                  </a:lnTo>
                  <a:lnTo>
                    <a:pt x="362" y="244"/>
                  </a:lnTo>
                  <a:lnTo>
                    <a:pt x="349" y="233"/>
                  </a:lnTo>
                  <a:lnTo>
                    <a:pt x="324" y="208"/>
                  </a:lnTo>
                  <a:lnTo>
                    <a:pt x="312" y="195"/>
                  </a:lnTo>
                  <a:lnTo>
                    <a:pt x="297" y="181"/>
                  </a:lnTo>
                  <a:lnTo>
                    <a:pt x="281" y="170"/>
                  </a:lnTo>
                  <a:lnTo>
                    <a:pt x="265" y="160"/>
                  </a:lnTo>
                  <a:lnTo>
                    <a:pt x="247" y="151"/>
                  </a:lnTo>
                  <a:lnTo>
                    <a:pt x="230" y="144"/>
                  </a:lnTo>
                  <a:lnTo>
                    <a:pt x="212" y="138"/>
                  </a:lnTo>
                  <a:lnTo>
                    <a:pt x="193" y="132"/>
                  </a:lnTo>
                  <a:lnTo>
                    <a:pt x="174" y="129"/>
                  </a:lnTo>
                  <a:lnTo>
                    <a:pt x="154" y="126"/>
                  </a:lnTo>
                  <a:lnTo>
                    <a:pt x="134" y="123"/>
                  </a:lnTo>
                  <a:lnTo>
                    <a:pt x="113" y="121"/>
                  </a:lnTo>
                  <a:lnTo>
                    <a:pt x="93" y="120"/>
                  </a:lnTo>
                  <a:lnTo>
                    <a:pt x="54" y="119"/>
                  </a:lnTo>
                  <a:lnTo>
                    <a:pt x="14" y="119"/>
                  </a:lnTo>
                  <a:lnTo>
                    <a:pt x="13" y="121"/>
                  </a:lnTo>
                  <a:lnTo>
                    <a:pt x="11" y="123"/>
                  </a:lnTo>
                  <a:lnTo>
                    <a:pt x="9" y="125"/>
                  </a:lnTo>
                  <a:lnTo>
                    <a:pt x="5" y="126"/>
                  </a:lnTo>
                  <a:lnTo>
                    <a:pt x="5" y="131"/>
                  </a:lnTo>
                  <a:lnTo>
                    <a:pt x="3" y="132"/>
                  </a:lnTo>
                  <a:lnTo>
                    <a:pt x="2" y="136"/>
                  </a:lnTo>
                  <a:lnTo>
                    <a:pt x="1" y="141"/>
                  </a:lnTo>
                  <a:lnTo>
                    <a:pt x="1" y="148"/>
                  </a:lnTo>
                  <a:lnTo>
                    <a:pt x="0" y="166"/>
                  </a:lnTo>
                  <a:lnTo>
                    <a:pt x="1" y="186"/>
                  </a:lnTo>
                  <a:lnTo>
                    <a:pt x="4" y="227"/>
                  </a:lnTo>
                  <a:lnTo>
                    <a:pt x="5" y="253"/>
                  </a:lnTo>
                  <a:lnTo>
                    <a:pt x="9" y="256"/>
                  </a:lnTo>
                  <a:lnTo>
                    <a:pt x="32" y="253"/>
                  </a:lnTo>
                  <a:lnTo>
                    <a:pt x="68" y="247"/>
                  </a:lnTo>
                  <a:lnTo>
                    <a:pt x="112" y="241"/>
                  </a:lnTo>
                  <a:lnTo>
                    <a:pt x="159" y="233"/>
                  </a:lnTo>
                  <a:lnTo>
                    <a:pt x="183" y="231"/>
                  </a:lnTo>
                  <a:lnTo>
                    <a:pt x="205" y="229"/>
                  </a:lnTo>
                  <a:lnTo>
                    <a:pt x="226" y="228"/>
                  </a:lnTo>
                  <a:lnTo>
                    <a:pt x="244" y="228"/>
                  </a:lnTo>
                  <a:lnTo>
                    <a:pt x="252" y="229"/>
                  </a:lnTo>
                  <a:lnTo>
                    <a:pt x="260" y="231"/>
                  </a:lnTo>
                  <a:lnTo>
                    <a:pt x="265" y="233"/>
                  </a:lnTo>
                  <a:lnTo>
                    <a:pt x="271" y="235"/>
                  </a:lnTo>
                  <a:lnTo>
                    <a:pt x="275" y="238"/>
                  </a:lnTo>
                  <a:lnTo>
                    <a:pt x="279" y="242"/>
                  </a:lnTo>
                  <a:lnTo>
                    <a:pt x="281" y="245"/>
                  </a:lnTo>
                  <a:lnTo>
                    <a:pt x="281" y="250"/>
                  </a:lnTo>
                  <a:lnTo>
                    <a:pt x="288" y="250"/>
                  </a:lnTo>
                  <a:lnTo>
                    <a:pt x="301" y="262"/>
                  </a:lnTo>
                  <a:lnTo>
                    <a:pt x="314" y="274"/>
                  </a:lnTo>
                  <a:lnTo>
                    <a:pt x="321" y="274"/>
                  </a:lnTo>
                  <a:lnTo>
                    <a:pt x="321" y="283"/>
                  </a:lnTo>
                  <a:lnTo>
                    <a:pt x="323" y="294"/>
                  </a:lnTo>
                  <a:lnTo>
                    <a:pt x="327" y="305"/>
                  </a:lnTo>
                  <a:lnTo>
                    <a:pt x="330" y="317"/>
                  </a:lnTo>
                  <a:lnTo>
                    <a:pt x="340" y="341"/>
                  </a:lnTo>
                  <a:lnTo>
                    <a:pt x="351" y="367"/>
                  </a:lnTo>
                  <a:lnTo>
                    <a:pt x="362" y="391"/>
                  </a:lnTo>
                  <a:lnTo>
                    <a:pt x="371" y="416"/>
                  </a:lnTo>
                  <a:lnTo>
                    <a:pt x="376" y="428"/>
                  </a:lnTo>
                  <a:lnTo>
                    <a:pt x="379" y="439"/>
                  </a:lnTo>
                  <a:lnTo>
                    <a:pt x="380" y="449"/>
                  </a:lnTo>
                  <a:lnTo>
                    <a:pt x="381" y="458"/>
                  </a:lnTo>
                  <a:lnTo>
                    <a:pt x="384" y="460"/>
                  </a:lnTo>
                  <a:lnTo>
                    <a:pt x="387" y="464"/>
                  </a:lnTo>
                  <a:lnTo>
                    <a:pt x="391" y="469"/>
                  </a:lnTo>
                  <a:lnTo>
                    <a:pt x="397" y="477"/>
                  </a:lnTo>
                  <a:lnTo>
                    <a:pt x="408" y="495"/>
                  </a:lnTo>
                  <a:lnTo>
                    <a:pt x="422" y="517"/>
                  </a:lnTo>
                  <a:lnTo>
                    <a:pt x="446" y="559"/>
                  </a:lnTo>
                  <a:lnTo>
                    <a:pt x="461" y="580"/>
                  </a:lnTo>
                  <a:lnTo>
                    <a:pt x="480" y="600"/>
                  </a:lnTo>
                  <a:lnTo>
                    <a:pt x="512" y="635"/>
                  </a:lnTo>
                  <a:lnTo>
                    <a:pt x="528" y="651"/>
                  </a:lnTo>
                  <a:lnTo>
                    <a:pt x="541" y="667"/>
                  </a:lnTo>
                  <a:lnTo>
                    <a:pt x="551" y="679"/>
                  </a:lnTo>
                  <a:lnTo>
                    <a:pt x="554" y="686"/>
                  </a:lnTo>
                  <a:lnTo>
                    <a:pt x="559" y="693"/>
                  </a:lnTo>
                  <a:lnTo>
                    <a:pt x="570" y="709"/>
                  </a:lnTo>
                  <a:lnTo>
                    <a:pt x="586" y="733"/>
                  </a:lnTo>
                  <a:lnTo>
                    <a:pt x="604" y="762"/>
                  </a:lnTo>
                  <a:lnTo>
                    <a:pt x="621" y="791"/>
                  </a:lnTo>
                  <a:lnTo>
                    <a:pt x="636" y="818"/>
                  </a:lnTo>
                  <a:lnTo>
                    <a:pt x="643" y="830"/>
                  </a:lnTo>
                  <a:lnTo>
                    <a:pt x="647" y="840"/>
                  </a:lnTo>
                  <a:lnTo>
                    <a:pt x="650" y="848"/>
                  </a:lnTo>
                  <a:lnTo>
                    <a:pt x="652" y="853"/>
                  </a:lnTo>
                  <a:lnTo>
                    <a:pt x="655" y="854"/>
                  </a:lnTo>
                  <a:lnTo>
                    <a:pt x="657" y="859"/>
                  </a:lnTo>
                  <a:lnTo>
                    <a:pt x="660" y="866"/>
                  </a:lnTo>
                  <a:lnTo>
                    <a:pt x="663" y="872"/>
                  </a:lnTo>
                  <a:lnTo>
                    <a:pt x="665" y="880"/>
                  </a:lnTo>
                  <a:lnTo>
                    <a:pt x="668" y="886"/>
                  </a:lnTo>
                  <a:lnTo>
                    <a:pt x="670" y="890"/>
                  </a:lnTo>
                  <a:lnTo>
                    <a:pt x="673" y="892"/>
                  </a:lnTo>
                  <a:lnTo>
                    <a:pt x="673" y="899"/>
                  </a:lnTo>
                  <a:lnTo>
                    <a:pt x="674" y="907"/>
                  </a:lnTo>
                  <a:lnTo>
                    <a:pt x="676" y="914"/>
                  </a:lnTo>
                  <a:lnTo>
                    <a:pt x="678" y="921"/>
                  </a:lnTo>
                  <a:lnTo>
                    <a:pt x="685" y="937"/>
                  </a:lnTo>
                  <a:lnTo>
                    <a:pt x="692" y="950"/>
                  </a:lnTo>
                  <a:lnTo>
                    <a:pt x="705" y="975"/>
                  </a:lnTo>
                  <a:lnTo>
                    <a:pt x="712" y="989"/>
                  </a:lnTo>
                  <a:lnTo>
                    <a:pt x="717" y="989"/>
                  </a:lnTo>
                  <a:lnTo>
                    <a:pt x="718" y="993"/>
                  </a:lnTo>
                  <a:lnTo>
                    <a:pt x="720" y="995"/>
                  </a:lnTo>
                  <a:lnTo>
                    <a:pt x="721" y="996"/>
                  </a:lnTo>
                  <a:lnTo>
                    <a:pt x="724" y="996"/>
                  </a:lnTo>
                  <a:lnTo>
                    <a:pt x="730" y="994"/>
                  </a:lnTo>
                  <a:lnTo>
                    <a:pt x="736" y="989"/>
                  </a:lnTo>
                  <a:lnTo>
                    <a:pt x="743" y="982"/>
                  </a:lnTo>
                  <a:lnTo>
                    <a:pt x="749" y="973"/>
                  </a:lnTo>
                  <a:lnTo>
                    <a:pt x="751" y="968"/>
                  </a:lnTo>
                  <a:lnTo>
                    <a:pt x="753" y="963"/>
                  </a:lnTo>
                  <a:lnTo>
                    <a:pt x="754" y="958"/>
                  </a:lnTo>
                  <a:lnTo>
                    <a:pt x="754" y="953"/>
                  </a:lnTo>
                  <a:lnTo>
                    <a:pt x="754" y="946"/>
                  </a:lnTo>
                  <a:lnTo>
                    <a:pt x="756" y="938"/>
                  </a:lnTo>
                  <a:lnTo>
                    <a:pt x="759" y="931"/>
                  </a:lnTo>
                  <a:lnTo>
                    <a:pt x="762" y="924"/>
                  </a:lnTo>
                  <a:lnTo>
                    <a:pt x="766" y="916"/>
                  </a:lnTo>
                  <a:lnTo>
                    <a:pt x="771" y="909"/>
                  </a:lnTo>
                  <a:lnTo>
                    <a:pt x="778" y="901"/>
                  </a:lnTo>
                  <a:lnTo>
                    <a:pt x="784" y="894"/>
                  </a:lnTo>
                  <a:lnTo>
                    <a:pt x="799" y="879"/>
                  </a:lnTo>
                  <a:lnTo>
                    <a:pt x="817" y="864"/>
                  </a:lnTo>
                  <a:lnTo>
                    <a:pt x="837" y="850"/>
                  </a:lnTo>
                  <a:lnTo>
                    <a:pt x="859" y="835"/>
                  </a:lnTo>
                  <a:lnTo>
                    <a:pt x="866" y="793"/>
                  </a:lnTo>
                  <a:lnTo>
                    <a:pt x="869" y="792"/>
                  </a:lnTo>
                  <a:lnTo>
                    <a:pt x="871" y="789"/>
                  </a:lnTo>
                  <a:lnTo>
                    <a:pt x="875" y="783"/>
                  </a:lnTo>
                  <a:lnTo>
                    <a:pt x="877" y="777"/>
                  </a:lnTo>
                  <a:lnTo>
                    <a:pt x="880" y="764"/>
                  </a:lnTo>
                  <a:lnTo>
                    <a:pt x="881" y="755"/>
                  </a:lnTo>
                  <a:lnTo>
                    <a:pt x="885" y="753"/>
                  </a:lnTo>
                  <a:lnTo>
                    <a:pt x="888" y="747"/>
                  </a:lnTo>
                  <a:lnTo>
                    <a:pt x="893" y="739"/>
                  </a:lnTo>
                  <a:lnTo>
                    <a:pt x="896" y="731"/>
                  </a:lnTo>
                  <a:lnTo>
                    <a:pt x="902" y="713"/>
                  </a:lnTo>
                  <a:lnTo>
                    <a:pt x="905" y="700"/>
                  </a:lnTo>
                  <a:lnTo>
                    <a:pt x="913" y="693"/>
                  </a:lnTo>
                  <a:lnTo>
                    <a:pt x="935" y="692"/>
                  </a:lnTo>
                  <a:lnTo>
                    <a:pt x="957" y="689"/>
                  </a:lnTo>
                  <a:lnTo>
                    <a:pt x="979" y="687"/>
                  </a:lnTo>
                  <a:lnTo>
                    <a:pt x="998" y="686"/>
                  </a:lnTo>
                  <a:lnTo>
                    <a:pt x="1008" y="677"/>
                  </a:lnTo>
                  <a:lnTo>
                    <a:pt x="1029" y="658"/>
                  </a:lnTo>
                  <a:lnTo>
                    <a:pt x="1050" y="640"/>
                  </a:lnTo>
                  <a:lnTo>
                    <a:pt x="1059" y="631"/>
                  </a:lnTo>
                  <a:lnTo>
                    <a:pt x="1059" y="616"/>
                  </a:lnTo>
                  <a:lnTo>
                    <a:pt x="1063" y="616"/>
                  </a:lnTo>
                  <a:lnTo>
                    <a:pt x="1066" y="614"/>
                  </a:lnTo>
                  <a:lnTo>
                    <a:pt x="1067" y="613"/>
                  </a:lnTo>
                  <a:lnTo>
                    <a:pt x="1067" y="612"/>
                  </a:lnTo>
                  <a:lnTo>
                    <a:pt x="1067" y="611"/>
                  </a:lnTo>
                  <a:lnTo>
                    <a:pt x="1068" y="609"/>
                  </a:lnTo>
                  <a:lnTo>
                    <a:pt x="1070" y="609"/>
                  </a:lnTo>
                  <a:lnTo>
                    <a:pt x="1075" y="608"/>
                  </a:lnTo>
                  <a:lnTo>
                    <a:pt x="1082" y="600"/>
                  </a:lnTo>
                  <a:lnTo>
                    <a:pt x="1084" y="588"/>
                  </a:lnTo>
                  <a:lnTo>
                    <a:pt x="1086" y="572"/>
                  </a:lnTo>
                  <a:lnTo>
                    <a:pt x="1089" y="555"/>
                  </a:lnTo>
                  <a:lnTo>
                    <a:pt x="1090" y="539"/>
                  </a:lnTo>
                  <a:lnTo>
                    <a:pt x="1106" y="531"/>
                  </a:lnTo>
                  <a:lnTo>
                    <a:pt x="1106" y="507"/>
                  </a:lnTo>
                  <a:lnTo>
                    <a:pt x="1108" y="507"/>
                  </a:lnTo>
                  <a:lnTo>
                    <a:pt x="1111" y="505"/>
                  </a:lnTo>
                  <a:lnTo>
                    <a:pt x="1115" y="503"/>
                  </a:lnTo>
                  <a:lnTo>
                    <a:pt x="1117" y="498"/>
                  </a:lnTo>
                  <a:lnTo>
                    <a:pt x="1123" y="492"/>
                  </a:lnTo>
                  <a:lnTo>
                    <a:pt x="1129" y="484"/>
                  </a:lnTo>
                  <a:lnTo>
                    <a:pt x="1144" y="484"/>
                  </a:lnTo>
                  <a:lnTo>
                    <a:pt x="1145" y="481"/>
                  </a:lnTo>
                  <a:lnTo>
                    <a:pt x="1145" y="477"/>
                  </a:lnTo>
                  <a:lnTo>
                    <a:pt x="1147" y="477"/>
                  </a:lnTo>
                  <a:lnTo>
                    <a:pt x="1148" y="477"/>
                  </a:lnTo>
                  <a:lnTo>
                    <a:pt x="1149" y="476"/>
                  </a:lnTo>
                  <a:lnTo>
                    <a:pt x="1150" y="476"/>
                  </a:lnTo>
                  <a:lnTo>
                    <a:pt x="1152" y="474"/>
                  </a:lnTo>
                  <a:lnTo>
                    <a:pt x="1152" y="469"/>
                  </a:lnTo>
                  <a:lnTo>
                    <a:pt x="1167" y="469"/>
                  </a:lnTo>
                  <a:lnTo>
                    <a:pt x="1167" y="465"/>
                  </a:lnTo>
                  <a:lnTo>
                    <a:pt x="1168" y="463"/>
                  </a:lnTo>
                  <a:lnTo>
                    <a:pt x="1169" y="462"/>
                  </a:lnTo>
                  <a:lnTo>
                    <a:pt x="1172" y="462"/>
                  </a:lnTo>
                  <a:lnTo>
                    <a:pt x="1173" y="462"/>
                  </a:lnTo>
                  <a:lnTo>
                    <a:pt x="1174" y="460"/>
                  </a:lnTo>
                  <a:lnTo>
                    <a:pt x="1175" y="458"/>
                  </a:lnTo>
                  <a:lnTo>
                    <a:pt x="1175" y="454"/>
                  </a:lnTo>
                  <a:lnTo>
                    <a:pt x="1178" y="453"/>
                  </a:lnTo>
                  <a:lnTo>
                    <a:pt x="1181" y="453"/>
                  </a:lnTo>
                  <a:lnTo>
                    <a:pt x="1184" y="450"/>
                  </a:lnTo>
                  <a:lnTo>
                    <a:pt x="1186" y="448"/>
                  </a:lnTo>
                  <a:lnTo>
                    <a:pt x="1187" y="446"/>
                  </a:lnTo>
                  <a:lnTo>
                    <a:pt x="1190" y="444"/>
                  </a:lnTo>
                  <a:lnTo>
                    <a:pt x="1191" y="442"/>
                  </a:lnTo>
                  <a:lnTo>
                    <a:pt x="1191" y="438"/>
                  </a:lnTo>
                  <a:lnTo>
                    <a:pt x="1196" y="438"/>
                  </a:lnTo>
                  <a:lnTo>
                    <a:pt x="1201" y="437"/>
                  </a:lnTo>
                  <a:lnTo>
                    <a:pt x="1203" y="436"/>
                  </a:lnTo>
                  <a:lnTo>
                    <a:pt x="1205" y="435"/>
                  </a:lnTo>
                  <a:lnTo>
                    <a:pt x="1205" y="433"/>
                  </a:lnTo>
                  <a:lnTo>
                    <a:pt x="1206" y="430"/>
                  </a:lnTo>
                  <a:lnTo>
                    <a:pt x="1222" y="430"/>
                  </a:lnTo>
                  <a:lnTo>
                    <a:pt x="1222" y="415"/>
                  </a:lnTo>
                  <a:lnTo>
                    <a:pt x="1238" y="415"/>
                  </a:lnTo>
                  <a:lnTo>
                    <a:pt x="1238" y="412"/>
                  </a:lnTo>
                  <a:lnTo>
                    <a:pt x="1240" y="409"/>
                  </a:lnTo>
                  <a:lnTo>
                    <a:pt x="1242" y="406"/>
                  </a:lnTo>
                  <a:lnTo>
                    <a:pt x="1245" y="404"/>
                  </a:lnTo>
                  <a:lnTo>
                    <a:pt x="1253" y="398"/>
                  </a:lnTo>
                  <a:lnTo>
                    <a:pt x="1260" y="391"/>
                  </a:lnTo>
                  <a:lnTo>
                    <a:pt x="1260" y="385"/>
                  </a:lnTo>
                  <a:lnTo>
                    <a:pt x="1261" y="377"/>
                  </a:lnTo>
                  <a:lnTo>
                    <a:pt x="1262" y="373"/>
                  </a:lnTo>
                  <a:lnTo>
                    <a:pt x="1263" y="371"/>
                  </a:lnTo>
                  <a:lnTo>
                    <a:pt x="1265" y="369"/>
                  </a:lnTo>
                  <a:lnTo>
                    <a:pt x="1268" y="369"/>
                  </a:lnTo>
                  <a:lnTo>
                    <a:pt x="1269" y="348"/>
                  </a:lnTo>
                  <a:lnTo>
                    <a:pt x="1272" y="323"/>
                  </a:lnTo>
                  <a:lnTo>
                    <a:pt x="1274" y="300"/>
                  </a:lnTo>
                  <a:lnTo>
                    <a:pt x="1276" y="283"/>
                  </a:lnTo>
                  <a:lnTo>
                    <a:pt x="1291" y="269"/>
                  </a:lnTo>
                  <a:lnTo>
                    <a:pt x="1307" y="253"/>
                  </a:lnTo>
                  <a:lnTo>
                    <a:pt x="1307" y="237"/>
                  </a:lnTo>
                  <a:lnTo>
                    <a:pt x="1311" y="237"/>
                  </a:lnTo>
                  <a:lnTo>
                    <a:pt x="1313" y="236"/>
                  </a:lnTo>
                  <a:lnTo>
                    <a:pt x="1315" y="235"/>
                  </a:lnTo>
                  <a:lnTo>
                    <a:pt x="1315" y="233"/>
                  </a:lnTo>
                  <a:lnTo>
                    <a:pt x="1315" y="232"/>
                  </a:lnTo>
                  <a:lnTo>
                    <a:pt x="1316" y="231"/>
                  </a:lnTo>
                  <a:lnTo>
                    <a:pt x="1318" y="229"/>
                  </a:lnTo>
                  <a:lnTo>
                    <a:pt x="1322" y="229"/>
                  </a:lnTo>
                  <a:lnTo>
                    <a:pt x="1322" y="224"/>
                  </a:lnTo>
                  <a:lnTo>
                    <a:pt x="1324" y="218"/>
                  </a:lnTo>
                  <a:lnTo>
                    <a:pt x="1324" y="217"/>
                  </a:lnTo>
                  <a:lnTo>
                    <a:pt x="1326" y="215"/>
                  </a:lnTo>
                  <a:lnTo>
                    <a:pt x="1327" y="214"/>
                  </a:lnTo>
                  <a:lnTo>
                    <a:pt x="1330" y="214"/>
                  </a:lnTo>
                  <a:lnTo>
                    <a:pt x="1332" y="203"/>
                  </a:lnTo>
                  <a:lnTo>
                    <a:pt x="1339" y="180"/>
                  </a:lnTo>
                  <a:lnTo>
                    <a:pt x="1348" y="154"/>
                  </a:lnTo>
                  <a:lnTo>
                    <a:pt x="1357" y="123"/>
                  </a:lnTo>
                  <a:lnTo>
                    <a:pt x="1361" y="108"/>
                  </a:lnTo>
                  <a:lnTo>
                    <a:pt x="1365" y="93"/>
                  </a:lnTo>
                  <a:lnTo>
                    <a:pt x="1367" y="80"/>
                  </a:lnTo>
                  <a:lnTo>
                    <a:pt x="1369" y="69"/>
                  </a:lnTo>
                  <a:lnTo>
                    <a:pt x="1369" y="59"/>
                  </a:lnTo>
                  <a:lnTo>
                    <a:pt x="1368" y="51"/>
                  </a:lnTo>
                  <a:lnTo>
                    <a:pt x="1367" y="48"/>
                  </a:lnTo>
                  <a:lnTo>
                    <a:pt x="1366" y="45"/>
                  </a:lnTo>
                  <a:lnTo>
                    <a:pt x="1364" y="44"/>
                  </a:lnTo>
                  <a:lnTo>
                    <a:pt x="1360" y="44"/>
                  </a:lnTo>
                  <a:lnTo>
                    <a:pt x="1360" y="29"/>
                  </a:lnTo>
                  <a:lnTo>
                    <a:pt x="1358" y="27"/>
                  </a:lnTo>
                  <a:lnTo>
                    <a:pt x="1356" y="26"/>
                  </a:lnTo>
                  <a:lnTo>
                    <a:pt x="1354" y="24"/>
                  </a:lnTo>
                  <a:lnTo>
                    <a:pt x="1353" y="21"/>
                  </a:lnTo>
                  <a:lnTo>
                    <a:pt x="1349" y="17"/>
                  </a:lnTo>
                  <a:lnTo>
                    <a:pt x="1347" y="15"/>
                  </a:lnTo>
                  <a:lnTo>
                    <a:pt x="1343" y="14"/>
                  </a:lnTo>
                  <a:lnTo>
                    <a:pt x="1338" y="13"/>
                  </a:lnTo>
                  <a:lnTo>
                    <a:pt x="133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0" name="Freeform 36"/>
            <p:cNvSpPr>
              <a:spLocks noChangeAspect="1"/>
            </p:cNvSpPr>
            <p:nvPr/>
          </p:nvSpPr>
          <p:spPr bwMode="gray">
            <a:xfrm rot="355651">
              <a:off x="5783740" y="3006725"/>
              <a:ext cx="373458" cy="212921"/>
            </a:xfrm>
            <a:custGeom>
              <a:avLst/>
              <a:gdLst/>
              <a:ahLst/>
              <a:cxnLst>
                <a:cxn ang="0">
                  <a:pos x="249" y="127"/>
                </a:cxn>
                <a:cxn ang="0">
                  <a:pos x="262" y="192"/>
                </a:cxn>
                <a:cxn ang="0">
                  <a:pos x="258" y="259"/>
                </a:cxn>
                <a:cxn ang="0">
                  <a:pos x="229" y="334"/>
                </a:cxn>
                <a:cxn ang="0">
                  <a:pos x="192" y="419"/>
                </a:cxn>
                <a:cxn ang="0">
                  <a:pos x="117" y="457"/>
                </a:cxn>
                <a:cxn ang="0">
                  <a:pos x="56" y="482"/>
                </a:cxn>
                <a:cxn ang="0">
                  <a:pos x="11" y="517"/>
                </a:cxn>
                <a:cxn ang="0">
                  <a:pos x="12" y="569"/>
                </a:cxn>
                <a:cxn ang="0">
                  <a:pos x="44" y="585"/>
                </a:cxn>
                <a:cxn ang="0">
                  <a:pos x="86" y="604"/>
                </a:cxn>
                <a:cxn ang="0">
                  <a:pos x="115" y="703"/>
                </a:cxn>
                <a:cxn ang="0">
                  <a:pos x="125" y="913"/>
                </a:cxn>
                <a:cxn ang="0">
                  <a:pos x="123" y="1014"/>
                </a:cxn>
                <a:cxn ang="0">
                  <a:pos x="135" y="1049"/>
                </a:cxn>
                <a:cxn ang="0">
                  <a:pos x="165" y="1097"/>
                </a:cxn>
                <a:cxn ang="0">
                  <a:pos x="225" y="1125"/>
                </a:cxn>
                <a:cxn ang="0">
                  <a:pos x="270" y="1165"/>
                </a:cxn>
                <a:cxn ang="0">
                  <a:pos x="305" y="1206"/>
                </a:cxn>
                <a:cxn ang="0">
                  <a:pos x="344" y="1245"/>
                </a:cxn>
                <a:cxn ang="0">
                  <a:pos x="388" y="1284"/>
                </a:cxn>
                <a:cxn ang="0">
                  <a:pos x="444" y="1306"/>
                </a:cxn>
                <a:cxn ang="0">
                  <a:pos x="511" y="1259"/>
                </a:cxn>
                <a:cxn ang="0">
                  <a:pos x="619" y="1198"/>
                </a:cxn>
                <a:cxn ang="0">
                  <a:pos x="647" y="1274"/>
                </a:cxn>
                <a:cxn ang="0">
                  <a:pos x="805" y="1266"/>
                </a:cxn>
                <a:cxn ang="0">
                  <a:pos x="833" y="1207"/>
                </a:cxn>
                <a:cxn ang="0">
                  <a:pos x="954" y="1183"/>
                </a:cxn>
                <a:cxn ang="0">
                  <a:pos x="974" y="1141"/>
                </a:cxn>
                <a:cxn ang="0">
                  <a:pos x="1140" y="1105"/>
                </a:cxn>
                <a:cxn ang="0">
                  <a:pos x="1250" y="1028"/>
                </a:cxn>
                <a:cxn ang="0">
                  <a:pos x="1361" y="952"/>
                </a:cxn>
                <a:cxn ang="0">
                  <a:pos x="1519" y="923"/>
                </a:cxn>
                <a:cxn ang="0">
                  <a:pos x="1821" y="881"/>
                </a:cxn>
                <a:cxn ang="0">
                  <a:pos x="2048" y="855"/>
                </a:cxn>
                <a:cxn ang="0">
                  <a:pos x="2036" y="755"/>
                </a:cxn>
                <a:cxn ang="0">
                  <a:pos x="2006" y="714"/>
                </a:cxn>
                <a:cxn ang="0">
                  <a:pos x="1940" y="644"/>
                </a:cxn>
                <a:cxn ang="0">
                  <a:pos x="1886" y="572"/>
                </a:cxn>
                <a:cxn ang="0">
                  <a:pos x="1866" y="511"/>
                </a:cxn>
                <a:cxn ang="0">
                  <a:pos x="1824" y="454"/>
                </a:cxn>
                <a:cxn ang="0">
                  <a:pos x="1757" y="449"/>
                </a:cxn>
                <a:cxn ang="0">
                  <a:pos x="1712" y="459"/>
                </a:cxn>
                <a:cxn ang="0">
                  <a:pos x="1621" y="433"/>
                </a:cxn>
                <a:cxn ang="0">
                  <a:pos x="1583" y="381"/>
                </a:cxn>
                <a:cxn ang="0">
                  <a:pos x="1555" y="315"/>
                </a:cxn>
                <a:cxn ang="0">
                  <a:pos x="1514" y="211"/>
                </a:cxn>
                <a:cxn ang="0">
                  <a:pos x="1451" y="119"/>
                </a:cxn>
                <a:cxn ang="0">
                  <a:pos x="1430" y="134"/>
                </a:cxn>
                <a:cxn ang="0">
                  <a:pos x="1294" y="130"/>
                </a:cxn>
                <a:cxn ang="0">
                  <a:pos x="964" y="81"/>
                </a:cxn>
                <a:cxn ang="0">
                  <a:pos x="887" y="71"/>
                </a:cxn>
                <a:cxn ang="0">
                  <a:pos x="839" y="36"/>
                </a:cxn>
                <a:cxn ang="0">
                  <a:pos x="577" y="57"/>
                </a:cxn>
                <a:cxn ang="0">
                  <a:pos x="523" y="94"/>
                </a:cxn>
                <a:cxn ang="0">
                  <a:pos x="441" y="75"/>
                </a:cxn>
                <a:cxn ang="0">
                  <a:pos x="407" y="86"/>
                </a:cxn>
                <a:cxn ang="0">
                  <a:pos x="341" y="85"/>
                </a:cxn>
              </a:cxnLst>
              <a:rect l="0" t="0" r="r" b="b"/>
              <a:pathLst>
                <a:path w="2057" h="1328">
                  <a:moveTo>
                    <a:pt x="334" y="71"/>
                  </a:moveTo>
                  <a:lnTo>
                    <a:pt x="314" y="81"/>
                  </a:lnTo>
                  <a:lnTo>
                    <a:pt x="289" y="93"/>
                  </a:lnTo>
                  <a:lnTo>
                    <a:pt x="277" y="101"/>
                  </a:lnTo>
                  <a:lnTo>
                    <a:pt x="267" y="108"/>
                  </a:lnTo>
                  <a:lnTo>
                    <a:pt x="263" y="112"/>
                  </a:lnTo>
                  <a:lnTo>
                    <a:pt x="260" y="115"/>
                  </a:lnTo>
                  <a:lnTo>
                    <a:pt x="259" y="120"/>
                  </a:lnTo>
                  <a:lnTo>
                    <a:pt x="258" y="123"/>
                  </a:lnTo>
                  <a:lnTo>
                    <a:pt x="249" y="127"/>
                  </a:lnTo>
                  <a:lnTo>
                    <a:pt x="249" y="136"/>
                  </a:lnTo>
                  <a:lnTo>
                    <a:pt x="249" y="149"/>
                  </a:lnTo>
                  <a:lnTo>
                    <a:pt x="249" y="161"/>
                  </a:lnTo>
                  <a:lnTo>
                    <a:pt x="249" y="170"/>
                  </a:lnTo>
                  <a:lnTo>
                    <a:pt x="252" y="173"/>
                  </a:lnTo>
                  <a:lnTo>
                    <a:pt x="255" y="178"/>
                  </a:lnTo>
                  <a:lnTo>
                    <a:pt x="257" y="182"/>
                  </a:lnTo>
                  <a:lnTo>
                    <a:pt x="258" y="189"/>
                  </a:lnTo>
                  <a:lnTo>
                    <a:pt x="260" y="190"/>
                  </a:lnTo>
                  <a:lnTo>
                    <a:pt x="262" y="192"/>
                  </a:lnTo>
                  <a:lnTo>
                    <a:pt x="264" y="194"/>
                  </a:lnTo>
                  <a:lnTo>
                    <a:pt x="266" y="198"/>
                  </a:lnTo>
                  <a:lnTo>
                    <a:pt x="269" y="204"/>
                  </a:lnTo>
                  <a:lnTo>
                    <a:pt x="270" y="213"/>
                  </a:lnTo>
                  <a:lnTo>
                    <a:pt x="272" y="232"/>
                  </a:lnTo>
                  <a:lnTo>
                    <a:pt x="272" y="249"/>
                  </a:lnTo>
                  <a:lnTo>
                    <a:pt x="269" y="252"/>
                  </a:lnTo>
                  <a:lnTo>
                    <a:pt x="264" y="256"/>
                  </a:lnTo>
                  <a:lnTo>
                    <a:pt x="261" y="258"/>
                  </a:lnTo>
                  <a:lnTo>
                    <a:pt x="258" y="259"/>
                  </a:lnTo>
                  <a:lnTo>
                    <a:pt x="258" y="268"/>
                  </a:lnTo>
                  <a:lnTo>
                    <a:pt x="253" y="270"/>
                  </a:lnTo>
                  <a:lnTo>
                    <a:pt x="249" y="273"/>
                  </a:lnTo>
                  <a:lnTo>
                    <a:pt x="248" y="277"/>
                  </a:lnTo>
                  <a:lnTo>
                    <a:pt x="245" y="281"/>
                  </a:lnTo>
                  <a:lnTo>
                    <a:pt x="242" y="286"/>
                  </a:lnTo>
                  <a:lnTo>
                    <a:pt x="239" y="287"/>
                  </a:lnTo>
                  <a:lnTo>
                    <a:pt x="234" y="292"/>
                  </a:lnTo>
                  <a:lnTo>
                    <a:pt x="233" y="305"/>
                  </a:lnTo>
                  <a:lnTo>
                    <a:pt x="229" y="334"/>
                  </a:lnTo>
                  <a:lnTo>
                    <a:pt x="226" y="350"/>
                  </a:lnTo>
                  <a:lnTo>
                    <a:pt x="224" y="363"/>
                  </a:lnTo>
                  <a:lnTo>
                    <a:pt x="222" y="373"/>
                  </a:lnTo>
                  <a:lnTo>
                    <a:pt x="221" y="376"/>
                  </a:lnTo>
                  <a:lnTo>
                    <a:pt x="221" y="400"/>
                  </a:lnTo>
                  <a:lnTo>
                    <a:pt x="215" y="404"/>
                  </a:lnTo>
                  <a:lnTo>
                    <a:pt x="211" y="406"/>
                  </a:lnTo>
                  <a:lnTo>
                    <a:pt x="206" y="409"/>
                  </a:lnTo>
                  <a:lnTo>
                    <a:pt x="202" y="419"/>
                  </a:lnTo>
                  <a:lnTo>
                    <a:pt x="192" y="419"/>
                  </a:lnTo>
                  <a:lnTo>
                    <a:pt x="187" y="422"/>
                  </a:lnTo>
                  <a:lnTo>
                    <a:pt x="180" y="427"/>
                  </a:lnTo>
                  <a:lnTo>
                    <a:pt x="171" y="432"/>
                  </a:lnTo>
                  <a:lnTo>
                    <a:pt x="161" y="437"/>
                  </a:lnTo>
                  <a:lnTo>
                    <a:pt x="151" y="440"/>
                  </a:lnTo>
                  <a:lnTo>
                    <a:pt x="142" y="443"/>
                  </a:lnTo>
                  <a:lnTo>
                    <a:pt x="133" y="446"/>
                  </a:lnTo>
                  <a:lnTo>
                    <a:pt x="126" y="447"/>
                  </a:lnTo>
                  <a:lnTo>
                    <a:pt x="122" y="451"/>
                  </a:lnTo>
                  <a:lnTo>
                    <a:pt x="117" y="457"/>
                  </a:lnTo>
                  <a:lnTo>
                    <a:pt x="103" y="457"/>
                  </a:lnTo>
                  <a:lnTo>
                    <a:pt x="101" y="458"/>
                  </a:lnTo>
                  <a:lnTo>
                    <a:pt x="98" y="460"/>
                  </a:lnTo>
                  <a:lnTo>
                    <a:pt x="94" y="462"/>
                  </a:lnTo>
                  <a:lnTo>
                    <a:pt x="88" y="465"/>
                  </a:lnTo>
                  <a:lnTo>
                    <a:pt x="77" y="469"/>
                  </a:lnTo>
                  <a:lnTo>
                    <a:pt x="70" y="470"/>
                  </a:lnTo>
                  <a:lnTo>
                    <a:pt x="68" y="475"/>
                  </a:lnTo>
                  <a:lnTo>
                    <a:pt x="66" y="480"/>
                  </a:lnTo>
                  <a:lnTo>
                    <a:pt x="56" y="482"/>
                  </a:lnTo>
                  <a:lnTo>
                    <a:pt x="42" y="485"/>
                  </a:lnTo>
                  <a:lnTo>
                    <a:pt x="41" y="487"/>
                  </a:lnTo>
                  <a:lnTo>
                    <a:pt x="39" y="489"/>
                  </a:lnTo>
                  <a:lnTo>
                    <a:pt x="36" y="489"/>
                  </a:lnTo>
                  <a:lnTo>
                    <a:pt x="32" y="489"/>
                  </a:lnTo>
                  <a:lnTo>
                    <a:pt x="28" y="494"/>
                  </a:lnTo>
                  <a:lnTo>
                    <a:pt x="28" y="504"/>
                  </a:lnTo>
                  <a:lnTo>
                    <a:pt x="21" y="506"/>
                  </a:lnTo>
                  <a:lnTo>
                    <a:pt x="13" y="508"/>
                  </a:lnTo>
                  <a:lnTo>
                    <a:pt x="11" y="517"/>
                  </a:lnTo>
                  <a:lnTo>
                    <a:pt x="9" y="527"/>
                  </a:lnTo>
                  <a:lnTo>
                    <a:pt x="5" y="528"/>
                  </a:lnTo>
                  <a:lnTo>
                    <a:pt x="3" y="530"/>
                  </a:lnTo>
                  <a:lnTo>
                    <a:pt x="2" y="535"/>
                  </a:lnTo>
                  <a:lnTo>
                    <a:pt x="1" y="539"/>
                  </a:lnTo>
                  <a:lnTo>
                    <a:pt x="0" y="550"/>
                  </a:lnTo>
                  <a:lnTo>
                    <a:pt x="0" y="559"/>
                  </a:lnTo>
                  <a:lnTo>
                    <a:pt x="3" y="562"/>
                  </a:lnTo>
                  <a:lnTo>
                    <a:pt x="9" y="565"/>
                  </a:lnTo>
                  <a:lnTo>
                    <a:pt x="12" y="569"/>
                  </a:lnTo>
                  <a:lnTo>
                    <a:pt x="13" y="574"/>
                  </a:lnTo>
                  <a:lnTo>
                    <a:pt x="23" y="574"/>
                  </a:lnTo>
                  <a:lnTo>
                    <a:pt x="23" y="576"/>
                  </a:lnTo>
                  <a:lnTo>
                    <a:pt x="26" y="577"/>
                  </a:lnTo>
                  <a:lnTo>
                    <a:pt x="29" y="578"/>
                  </a:lnTo>
                  <a:lnTo>
                    <a:pt x="32" y="578"/>
                  </a:lnTo>
                  <a:lnTo>
                    <a:pt x="33" y="581"/>
                  </a:lnTo>
                  <a:lnTo>
                    <a:pt x="37" y="582"/>
                  </a:lnTo>
                  <a:lnTo>
                    <a:pt x="40" y="584"/>
                  </a:lnTo>
                  <a:lnTo>
                    <a:pt x="44" y="585"/>
                  </a:lnTo>
                  <a:lnTo>
                    <a:pt x="55" y="587"/>
                  </a:lnTo>
                  <a:lnTo>
                    <a:pt x="60" y="587"/>
                  </a:lnTo>
                  <a:lnTo>
                    <a:pt x="61" y="590"/>
                  </a:lnTo>
                  <a:lnTo>
                    <a:pt x="62" y="591"/>
                  </a:lnTo>
                  <a:lnTo>
                    <a:pt x="63" y="592"/>
                  </a:lnTo>
                  <a:lnTo>
                    <a:pt x="66" y="592"/>
                  </a:lnTo>
                  <a:lnTo>
                    <a:pt x="70" y="593"/>
                  </a:lnTo>
                  <a:lnTo>
                    <a:pt x="75" y="593"/>
                  </a:lnTo>
                  <a:lnTo>
                    <a:pt x="79" y="597"/>
                  </a:lnTo>
                  <a:lnTo>
                    <a:pt x="86" y="604"/>
                  </a:lnTo>
                  <a:lnTo>
                    <a:pt x="91" y="611"/>
                  </a:lnTo>
                  <a:lnTo>
                    <a:pt x="94" y="616"/>
                  </a:lnTo>
                  <a:lnTo>
                    <a:pt x="97" y="617"/>
                  </a:lnTo>
                  <a:lnTo>
                    <a:pt x="99" y="621"/>
                  </a:lnTo>
                  <a:lnTo>
                    <a:pt x="103" y="626"/>
                  </a:lnTo>
                  <a:lnTo>
                    <a:pt x="105" y="632"/>
                  </a:lnTo>
                  <a:lnTo>
                    <a:pt x="108" y="644"/>
                  </a:lnTo>
                  <a:lnTo>
                    <a:pt x="113" y="649"/>
                  </a:lnTo>
                  <a:lnTo>
                    <a:pt x="113" y="675"/>
                  </a:lnTo>
                  <a:lnTo>
                    <a:pt x="115" y="703"/>
                  </a:lnTo>
                  <a:lnTo>
                    <a:pt x="116" y="730"/>
                  </a:lnTo>
                  <a:lnTo>
                    <a:pt x="119" y="756"/>
                  </a:lnTo>
                  <a:lnTo>
                    <a:pt x="122" y="783"/>
                  </a:lnTo>
                  <a:lnTo>
                    <a:pt x="124" y="808"/>
                  </a:lnTo>
                  <a:lnTo>
                    <a:pt x="125" y="833"/>
                  </a:lnTo>
                  <a:lnTo>
                    <a:pt x="126" y="857"/>
                  </a:lnTo>
                  <a:lnTo>
                    <a:pt x="127" y="857"/>
                  </a:lnTo>
                  <a:lnTo>
                    <a:pt x="127" y="873"/>
                  </a:lnTo>
                  <a:lnTo>
                    <a:pt x="126" y="900"/>
                  </a:lnTo>
                  <a:lnTo>
                    <a:pt x="125" y="913"/>
                  </a:lnTo>
                  <a:lnTo>
                    <a:pt x="124" y="924"/>
                  </a:lnTo>
                  <a:lnTo>
                    <a:pt x="123" y="929"/>
                  </a:lnTo>
                  <a:lnTo>
                    <a:pt x="122" y="932"/>
                  </a:lnTo>
                  <a:lnTo>
                    <a:pt x="120" y="934"/>
                  </a:lnTo>
                  <a:lnTo>
                    <a:pt x="119" y="935"/>
                  </a:lnTo>
                  <a:lnTo>
                    <a:pt x="119" y="954"/>
                  </a:lnTo>
                  <a:lnTo>
                    <a:pt x="120" y="983"/>
                  </a:lnTo>
                  <a:lnTo>
                    <a:pt x="120" y="997"/>
                  </a:lnTo>
                  <a:lnTo>
                    <a:pt x="123" y="1009"/>
                  </a:lnTo>
                  <a:lnTo>
                    <a:pt x="123" y="1014"/>
                  </a:lnTo>
                  <a:lnTo>
                    <a:pt x="124" y="1017"/>
                  </a:lnTo>
                  <a:lnTo>
                    <a:pt x="125" y="1019"/>
                  </a:lnTo>
                  <a:lnTo>
                    <a:pt x="127" y="1020"/>
                  </a:lnTo>
                  <a:lnTo>
                    <a:pt x="127" y="1044"/>
                  </a:lnTo>
                  <a:lnTo>
                    <a:pt x="132" y="1044"/>
                  </a:lnTo>
                  <a:lnTo>
                    <a:pt x="134" y="1045"/>
                  </a:lnTo>
                  <a:lnTo>
                    <a:pt x="135" y="1046"/>
                  </a:lnTo>
                  <a:lnTo>
                    <a:pt x="135" y="1047"/>
                  </a:lnTo>
                  <a:lnTo>
                    <a:pt x="135" y="1048"/>
                  </a:lnTo>
                  <a:lnTo>
                    <a:pt x="135" y="1049"/>
                  </a:lnTo>
                  <a:lnTo>
                    <a:pt x="138" y="1050"/>
                  </a:lnTo>
                  <a:lnTo>
                    <a:pt x="143" y="1050"/>
                  </a:lnTo>
                  <a:lnTo>
                    <a:pt x="149" y="1058"/>
                  </a:lnTo>
                  <a:lnTo>
                    <a:pt x="151" y="1066"/>
                  </a:lnTo>
                  <a:lnTo>
                    <a:pt x="152" y="1073"/>
                  </a:lnTo>
                  <a:lnTo>
                    <a:pt x="154" y="1076"/>
                  </a:lnTo>
                  <a:lnTo>
                    <a:pt x="156" y="1079"/>
                  </a:lnTo>
                  <a:lnTo>
                    <a:pt x="161" y="1082"/>
                  </a:lnTo>
                  <a:lnTo>
                    <a:pt x="165" y="1082"/>
                  </a:lnTo>
                  <a:lnTo>
                    <a:pt x="165" y="1097"/>
                  </a:lnTo>
                  <a:lnTo>
                    <a:pt x="181" y="1097"/>
                  </a:lnTo>
                  <a:lnTo>
                    <a:pt x="182" y="1101"/>
                  </a:lnTo>
                  <a:lnTo>
                    <a:pt x="183" y="1103"/>
                  </a:lnTo>
                  <a:lnTo>
                    <a:pt x="185" y="1105"/>
                  </a:lnTo>
                  <a:lnTo>
                    <a:pt x="188" y="1107"/>
                  </a:lnTo>
                  <a:lnTo>
                    <a:pt x="195" y="1112"/>
                  </a:lnTo>
                  <a:lnTo>
                    <a:pt x="204" y="1115"/>
                  </a:lnTo>
                  <a:lnTo>
                    <a:pt x="213" y="1120"/>
                  </a:lnTo>
                  <a:lnTo>
                    <a:pt x="220" y="1122"/>
                  </a:lnTo>
                  <a:lnTo>
                    <a:pt x="225" y="1125"/>
                  </a:lnTo>
                  <a:lnTo>
                    <a:pt x="228" y="1129"/>
                  </a:lnTo>
                  <a:lnTo>
                    <a:pt x="243" y="1129"/>
                  </a:lnTo>
                  <a:lnTo>
                    <a:pt x="250" y="1136"/>
                  </a:lnTo>
                  <a:lnTo>
                    <a:pt x="251" y="1140"/>
                  </a:lnTo>
                  <a:lnTo>
                    <a:pt x="253" y="1144"/>
                  </a:lnTo>
                  <a:lnTo>
                    <a:pt x="255" y="1149"/>
                  </a:lnTo>
                  <a:lnTo>
                    <a:pt x="259" y="1154"/>
                  </a:lnTo>
                  <a:lnTo>
                    <a:pt x="263" y="1159"/>
                  </a:lnTo>
                  <a:lnTo>
                    <a:pt x="267" y="1163"/>
                  </a:lnTo>
                  <a:lnTo>
                    <a:pt x="270" y="1165"/>
                  </a:lnTo>
                  <a:lnTo>
                    <a:pt x="273" y="1167"/>
                  </a:lnTo>
                  <a:lnTo>
                    <a:pt x="274" y="1171"/>
                  </a:lnTo>
                  <a:lnTo>
                    <a:pt x="277" y="1175"/>
                  </a:lnTo>
                  <a:lnTo>
                    <a:pt x="279" y="1180"/>
                  </a:lnTo>
                  <a:lnTo>
                    <a:pt x="282" y="1185"/>
                  </a:lnTo>
                  <a:lnTo>
                    <a:pt x="286" y="1190"/>
                  </a:lnTo>
                  <a:lnTo>
                    <a:pt x="290" y="1194"/>
                  </a:lnTo>
                  <a:lnTo>
                    <a:pt x="293" y="1197"/>
                  </a:lnTo>
                  <a:lnTo>
                    <a:pt x="297" y="1198"/>
                  </a:lnTo>
                  <a:lnTo>
                    <a:pt x="305" y="1206"/>
                  </a:lnTo>
                  <a:lnTo>
                    <a:pt x="312" y="1213"/>
                  </a:lnTo>
                  <a:lnTo>
                    <a:pt x="312" y="1217"/>
                  </a:lnTo>
                  <a:lnTo>
                    <a:pt x="315" y="1220"/>
                  </a:lnTo>
                  <a:lnTo>
                    <a:pt x="318" y="1225"/>
                  </a:lnTo>
                  <a:lnTo>
                    <a:pt x="321" y="1228"/>
                  </a:lnTo>
                  <a:lnTo>
                    <a:pt x="325" y="1231"/>
                  </a:lnTo>
                  <a:lnTo>
                    <a:pt x="328" y="1233"/>
                  </a:lnTo>
                  <a:lnTo>
                    <a:pt x="332" y="1236"/>
                  </a:lnTo>
                  <a:lnTo>
                    <a:pt x="336" y="1237"/>
                  </a:lnTo>
                  <a:lnTo>
                    <a:pt x="344" y="1245"/>
                  </a:lnTo>
                  <a:lnTo>
                    <a:pt x="344" y="1259"/>
                  </a:lnTo>
                  <a:lnTo>
                    <a:pt x="351" y="1267"/>
                  </a:lnTo>
                  <a:lnTo>
                    <a:pt x="366" y="1271"/>
                  </a:lnTo>
                  <a:lnTo>
                    <a:pt x="382" y="1275"/>
                  </a:lnTo>
                  <a:lnTo>
                    <a:pt x="382" y="1279"/>
                  </a:lnTo>
                  <a:lnTo>
                    <a:pt x="383" y="1281"/>
                  </a:lnTo>
                  <a:lnTo>
                    <a:pt x="384" y="1283"/>
                  </a:lnTo>
                  <a:lnTo>
                    <a:pt x="386" y="1283"/>
                  </a:lnTo>
                  <a:lnTo>
                    <a:pt x="387" y="1283"/>
                  </a:lnTo>
                  <a:lnTo>
                    <a:pt x="388" y="1284"/>
                  </a:lnTo>
                  <a:lnTo>
                    <a:pt x="389" y="1286"/>
                  </a:lnTo>
                  <a:lnTo>
                    <a:pt x="389" y="1290"/>
                  </a:lnTo>
                  <a:lnTo>
                    <a:pt x="396" y="1292"/>
                  </a:lnTo>
                  <a:lnTo>
                    <a:pt x="403" y="1293"/>
                  </a:lnTo>
                  <a:lnTo>
                    <a:pt x="410" y="1296"/>
                  </a:lnTo>
                  <a:lnTo>
                    <a:pt x="416" y="1298"/>
                  </a:lnTo>
                  <a:lnTo>
                    <a:pt x="424" y="1302"/>
                  </a:lnTo>
                  <a:lnTo>
                    <a:pt x="431" y="1304"/>
                  </a:lnTo>
                  <a:lnTo>
                    <a:pt x="437" y="1305"/>
                  </a:lnTo>
                  <a:lnTo>
                    <a:pt x="444" y="1306"/>
                  </a:lnTo>
                  <a:lnTo>
                    <a:pt x="444" y="1312"/>
                  </a:lnTo>
                  <a:lnTo>
                    <a:pt x="444" y="1317"/>
                  </a:lnTo>
                  <a:lnTo>
                    <a:pt x="445" y="1318"/>
                  </a:lnTo>
                  <a:lnTo>
                    <a:pt x="447" y="1321"/>
                  </a:lnTo>
                  <a:lnTo>
                    <a:pt x="449" y="1322"/>
                  </a:lnTo>
                  <a:lnTo>
                    <a:pt x="452" y="1322"/>
                  </a:lnTo>
                  <a:lnTo>
                    <a:pt x="452" y="1328"/>
                  </a:lnTo>
                  <a:lnTo>
                    <a:pt x="473" y="1306"/>
                  </a:lnTo>
                  <a:lnTo>
                    <a:pt x="493" y="1283"/>
                  </a:lnTo>
                  <a:lnTo>
                    <a:pt x="511" y="1259"/>
                  </a:lnTo>
                  <a:lnTo>
                    <a:pt x="529" y="1238"/>
                  </a:lnTo>
                  <a:lnTo>
                    <a:pt x="546" y="1219"/>
                  </a:lnTo>
                  <a:lnTo>
                    <a:pt x="561" y="1203"/>
                  </a:lnTo>
                  <a:lnTo>
                    <a:pt x="569" y="1198"/>
                  </a:lnTo>
                  <a:lnTo>
                    <a:pt x="576" y="1193"/>
                  </a:lnTo>
                  <a:lnTo>
                    <a:pt x="584" y="1191"/>
                  </a:lnTo>
                  <a:lnTo>
                    <a:pt x="590" y="1190"/>
                  </a:lnTo>
                  <a:lnTo>
                    <a:pt x="603" y="1191"/>
                  </a:lnTo>
                  <a:lnTo>
                    <a:pt x="612" y="1193"/>
                  </a:lnTo>
                  <a:lnTo>
                    <a:pt x="619" y="1198"/>
                  </a:lnTo>
                  <a:lnTo>
                    <a:pt x="625" y="1203"/>
                  </a:lnTo>
                  <a:lnTo>
                    <a:pt x="629" y="1210"/>
                  </a:lnTo>
                  <a:lnTo>
                    <a:pt x="633" y="1217"/>
                  </a:lnTo>
                  <a:lnTo>
                    <a:pt x="635" y="1225"/>
                  </a:lnTo>
                  <a:lnTo>
                    <a:pt x="636" y="1232"/>
                  </a:lnTo>
                  <a:lnTo>
                    <a:pt x="637" y="1248"/>
                  </a:lnTo>
                  <a:lnTo>
                    <a:pt x="639" y="1261"/>
                  </a:lnTo>
                  <a:lnTo>
                    <a:pt x="641" y="1267"/>
                  </a:lnTo>
                  <a:lnTo>
                    <a:pt x="644" y="1271"/>
                  </a:lnTo>
                  <a:lnTo>
                    <a:pt x="647" y="1274"/>
                  </a:lnTo>
                  <a:lnTo>
                    <a:pt x="653" y="1275"/>
                  </a:lnTo>
                  <a:lnTo>
                    <a:pt x="714" y="1275"/>
                  </a:lnTo>
                  <a:lnTo>
                    <a:pt x="746" y="1278"/>
                  </a:lnTo>
                  <a:lnTo>
                    <a:pt x="775" y="1280"/>
                  </a:lnTo>
                  <a:lnTo>
                    <a:pt x="781" y="1280"/>
                  </a:lnTo>
                  <a:lnTo>
                    <a:pt x="788" y="1279"/>
                  </a:lnTo>
                  <a:lnTo>
                    <a:pt x="794" y="1278"/>
                  </a:lnTo>
                  <a:lnTo>
                    <a:pt x="798" y="1275"/>
                  </a:lnTo>
                  <a:lnTo>
                    <a:pt x="801" y="1271"/>
                  </a:lnTo>
                  <a:lnTo>
                    <a:pt x="805" y="1266"/>
                  </a:lnTo>
                  <a:lnTo>
                    <a:pt x="806" y="1260"/>
                  </a:lnTo>
                  <a:lnTo>
                    <a:pt x="807" y="1251"/>
                  </a:lnTo>
                  <a:lnTo>
                    <a:pt x="807" y="1244"/>
                  </a:lnTo>
                  <a:lnTo>
                    <a:pt x="809" y="1236"/>
                  </a:lnTo>
                  <a:lnTo>
                    <a:pt x="811" y="1230"/>
                  </a:lnTo>
                  <a:lnTo>
                    <a:pt x="814" y="1223"/>
                  </a:lnTo>
                  <a:lnTo>
                    <a:pt x="818" y="1219"/>
                  </a:lnTo>
                  <a:lnTo>
                    <a:pt x="821" y="1214"/>
                  </a:lnTo>
                  <a:lnTo>
                    <a:pt x="827" y="1210"/>
                  </a:lnTo>
                  <a:lnTo>
                    <a:pt x="833" y="1207"/>
                  </a:lnTo>
                  <a:lnTo>
                    <a:pt x="845" y="1202"/>
                  </a:lnTo>
                  <a:lnTo>
                    <a:pt x="858" y="1198"/>
                  </a:lnTo>
                  <a:lnTo>
                    <a:pt x="873" y="1196"/>
                  </a:lnTo>
                  <a:lnTo>
                    <a:pt x="888" y="1194"/>
                  </a:lnTo>
                  <a:lnTo>
                    <a:pt x="903" y="1192"/>
                  </a:lnTo>
                  <a:lnTo>
                    <a:pt x="917" y="1191"/>
                  </a:lnTo>
                  <a:lnTo>
                    <a:pt x="932" y="1189"/>
                  </a:lnTo>
                  <a:lnTo>
                    <a:pt x="944" y="1187"/>
                  </a:lnTo>
                  <a:lnTo>
                    <a:pt x="950" y="1184"/>
                  </a:lnTo>
                  <a:lnTo>
                    <a:pt x="954" y="1183"/>
                  </a:lnTo>
                  <a:lnTo>
                    <a:pt x="959" y="1180"/>
                  </a:lnTo>
                  <a:lnTo>
                    <a:pt x="962" y="1177"/>
                  </a:lnTo>
                  <a:lnTo>
                    <a:pt x="965" y="1173"/>
                  </a:lnTo>
                  <a:lnTo>
                    <a:pt x="968" y="1170"/>
                  </a:lnTo>
                  <a:lnTo>
                    <a:pt x="969" y="1164"/>
                  </a:lnTo>
                  <a:lnTo>
                    <a:pt x="969" y="1159"/>
                  </a:lnTo>
                  <a:lnTo>
                    <a:pt x="970" y="1154"/>
                  </a:lnTo>
                  <a:lnTo>
                    <a:pt x="971" y="1150"/>
                  </a:lnTo>
                  <a:lnTo>
                    <a:pt x="972" y="1145"/>
                  </a:lnTo>
                  <a:lnTo>
                    <a:pt x="974" y="1141"/>
                  </a:lnTo>
                  <a:lnTo>
                    <a:pt x="980" y="1134"/>
                  </a:lnTo>
                  <a:lnTo>
                    <a:pt x="987" y="1127"/>
                  </a:lnTo>
                  <a:lnTo>
                    <a:pt x="997" y="1123"/>
                  </a:lnTo>
                  <a:lnTo>
                    <a:pt x="1007" y="1119"/>
                  </a:lnTo>
                  <a:lnTo>
                    <a:pt x="1019" y="1115"/>
                  </a:lnTo>
                  <a:lnTo>
                    <a:pt x="1031" y="1112"/>
                  </a:lnTo>
                  <a:lnTo>
                    <a:pt x="1058" y="1107"/>
                  </a:lnTo>
                  <a:lnTo>
                    <a:pt x="1087" y="1106"/>
                  </a:lnTo>
                  <a:lnTo>
                    <a:pt x="1114" y="1105"/>
                  </a:lnTo>
                  <a:lnTo>
                    <a:pt x="1140" y="1105"/>
                  </a:lnTo>
                  <a:lnTo>
                    <a:pt x="1146" y="1105"/>
                  </a:lnTo>
                  <a:lnTo>
                    <a:pt x="1154" y="1103"/>
                  </a:lnTo>
                  <a:lnTo>
                    <a:pt x="1161" y="1102"/>
                  </a:lnTo>
                  <a:lnTo>
                    <a:pt x="1167" y="1098"/>
                  </a:lnTo>
                  <a:lnTo>
                    <a:pt x="1182" y="1091"/>
                  </a:lnTo>
                  <a:lnTo>
                    <a:pt x="1195" y="1081"/>
                  </a:lnTo>
                  <a:lnTo>
                    <a:pt x="1209" y="1069"/>
                  </a:lnTo>
                  <a:lnTo>
                    <a:pt x="1222" y="1056"/>
                  </a:lnTo>
                  <a:lnTo>
                    <a:pt x="1237" y="1043"/>
                  </a:lnTo>
                  <a:lnTo>
                    <a:pt x="1250" y="1028"/>
                  </a:lnTo>
                  <a:lnTo>
                    <a:pt x="1265" y="1014"/>
                  </a:lnTo>
                  <a:lnTo>
                    <a:pt x="1279" y="999"/>
                  </a:lnTo>
                  <a:lnTo>
                    <a:pt x="1295" y="987"/>
                  </a:lnTo>
                  <a:lnTo>
                    <a:pt x="1310" y="975"/>
                  </a:lnTo>
                  <a:lnTo>
                    <a:pt x="1318" y="969"/>
                  </a:lnTo>
                  <a:lnTo>
                    <a:pt x="1326" y="964"/>
                  </a:lnTo>
                  <a:lnTo>
                    <a:pt x="1335" y="961"/>
                  </a:lnTo>
                  <a:lnTo>
                    <a:pt x="1343" y="957"/>
                  </a:lnTo>
                  <a:lnTo>
                    <a:pt x="1352" y="954"/>
                  </a:lnTo>
                  <a:lnTo>
                    <a:pt x="1361" y="952"/>
                  </a:lnTo>
                  <a:lnTo>
                    <a:pt x="1370" y="951"/>
                  </a:lnTo>
                  <a:lnTo>
                    <a:pt x="1378" y="950"/>
                  </a:lnTo>
                  <a:lnTo>
                    <a:pt x="1404" y="950"/>
                  </a:lnTo>
                  <a:lnTo>
                    <a:pt x="1425" y="948"/>
                  </a:lnTo>
                  <a:lnTo>
                    <a:pt x="1445" y="946"/>
                  </a:lnTo>
                  <a:lnTo>
                    <a:pt x="1462" y="942"/>
                  </a:lnTo>
                  <a:lnTo>
                    <a:pt x="1478" y="938"/>
                  </a:lnTo>
                  <a:lnTo>
                    <a:pt x="1492" y="933"/>
                  </a:lnTo>
                  <a:lnTo>
                    <a:pt x="1506" y="929"/>
                  </a:lnTo>
                  <a:lnTo>
                    <a:pt x="1519" y="923"/>
                  </a:lnTo>
                  <a:lnTo>
                    <a:pt x="1545" y="913"/>
                  </a:lnTo>
                  <a:lnTo>
                    <a:pt x="1572" y="905"/>
                  </a:lnTo>
                  <a:lnTo>
                    <a:pt x="1586" y="901"/>
                  </a:lnTo>
                  <a:lnTo>
                    <a:pt x="1603" y="899"/>
                  </a:lnTo>
                  <a:lnTo>
                    <a:pt x="1621" y="898"/>
                  </a:lnTo>
                  <a:lnTo>
                    <a:pt x="1642" y="896"/>
                  </a:lnTo>
                  <a:lnTo>
                    <a:pt x="1673" y="895"/>
                  </a:lnTo>
                  <a:lnTo>
                    <a:pt x="1716" y="892"/>
                  </a:lnTo>
                  <a:lnTo>
                    <a:pt x="1766" y="886"/>
                  </a:lnTo>
                  <a:lnTo>
                    <a:pt x="1821" y="881"/>
                  </a:lnTo>
                  <a:lnTo>
                    <a:pt x="1876" y="876"/>
                  </a:lnTo>
                  <a:lnTo>
                    <a:pt x="1929" y="872"/>
                  </a:lnTo>
                  <a:lnTo>
                    <a:pt x="1952" y="871"/>
                  </a:lnTo>
                  <a:lnTo>
                    <a:pt x="1975" y="871"/>
                  </a:lnTo>
                  <a:lnTo>
                    <a:pt x="1994" y="871"/>
                  </a:lnTo>
                  <a:lnTo>
                    <a:pt x="2010" y="871"/>
                  </a:lnTo>
                  <a:lnTo>
                    <a:pt x="2016" y="865"/>
                  </a:lnTo>
                  <a:lnTo>
                    <a:pt x="2019" y="861"/>
                  </a:lnTo>
                  <a:lnTo>
                    <a:pt x="2034" y="857"/>
                  </a:lnTo>
                  <a:lnTo>
                    <a:pt x="2048" y="855"/>
                  </a:lnTo>
                  <a:lnTo>
                    <a:pt x="2048" y="852"/>
                  </a:lnTo>
                  <a:lnTo>
                    <a:pt x="2050" y="850"/>
                  </a:lnTo>
                  <a:lnTo>
                    <a:pt x="2054" y="847"/>
                  </a:lnTo>
                  <a:lnTo>
                    <a:pt x="2057" y="846"/>
                  </a:lnTo>
                  <a:lnTo>
                    <a:pt x="2056" y="824"/>
                  </a:lnTo>
                  <a:lnTo>
                    <a:pt x="2053" y="803"/>
                  </a:lnTo>
                  <a:lnTo>
                    <a:pt x="2049" y="783"/>
                  </a:lnTo>
                  <a:lnTo>
                    <a:pt x="2048" y="766"/>
                  </a:lnTo>
                  <a:lnTo>
                    <a:pt x="2038" y="761"/>
                  </a:lnTo>
                  <a:lnTo>
                    <a:pt x="2036" y="755"/>
                  </a:lnTo>
                  <a:lnTo>
                    <a:pt x="2034" y="748"/>
                  </a:lnTo>
                  <a:lnTo>
                    <a:pt x="2032" y="747"/>
                  </a:lnTo>
                  <a:lnTo>
                    <a:pt x="2029" y="745"/>
                  </a:lnTo>
                  <a:lnTo>
                    <a:pt x="2026" y="741"/>
                  </a:lnTo>
                  <a:lnTo>
                    <a:pt x="2023" y="737"/>
                  </a:lnTo>
                  <a:lnTo>
                    <a:pt x="2019" y="732"/>
                  </a:lnTo>
                  <a:lnTo>
                    <a:pt x="2017" y="728"/>
                  </a:lnTo>
                  <a:lnTo>
                    <a:pt x="2016" y="723"/>
                  </a:lnTo>
                  <a:lnTo>
                    <a:pt x="2015" y="719"/>
                  </a:lnTo>
                  <a:lnTo>
                    <a:pt x="2006" y="714"/>
                  </a:lnTo>
                  <a:lnTo>
                    <a:pt x="2000" y="706"/>
                  </a:lnTo>
                  <a:lnTo>
                    <a:pt x="1989" y="692"/>
                  </a:lnTo>
                  <a:lnTo>
                    <a:pt x="1976" y="679"/>
                  </a:lnTo>
                  <a:lnTo>
                    <a:pt x="1968" y="672"/>
                  </a:lnTo>
                  <a:lnTo>
                    <a:pt x="1963" y="668"/>
                  </a:lnTo>
                  <a:lnTo>
                    <a:pt x="1954" y="660"/>
                  </a:lnTo>
                  <a:lnTo>
                    <a:pt x="1949" y="656"/>
                  </a:lnTo>
                  <a:lnTo>
                    <a:pt x="1944" y="652"/>
                  </a:lnTo>
                  <a:lnTo>
                    <a:pt x="1941" y="648"/>
                  </a:lnTo>
                  <a:lnTo>
                    <a:pt x="1940" y="644"/>
                  </a:lnTo>
                  <a:lnTo>
                    <a:pt x="1931" y="640"/>
                  </a:lnTo>
                  <a:lnTo>
                    <a:pt x="1921" y="635"/>
                  </a:lnTo>
                  <a:lnTo>
                    <a:pt x="1912" y="630"/>
                  </a:lnTo>
                  <a:lnTo>
                    <a:pt x="1910" y="625"/>
                  </a:lnTo>
                  <a:lnTo>
                    <a:pt x="1906" y="619"/>
                  </a:lnTo>
                  <a:lnTo>
                    <a:pt x="1902" y="612"/>
                  </a:lnTo>
                  <a:lnTo>
                    <a:pt x="1898" y="606"/>
                  </a:lnTo>
                  <a:lnTo>
                    <a:pt x="1898" y="597"/>
                  </a:lnTo>
                  <a:lnTo>
                    <a:pt x="1889" y="587"/>
                  </a:lnTo>
                  <a:lnTo>
                    <a:pt x="1886" y="572"/>
                  </a:lnTo>
                  <a:lnTo>
                    <a:pt x="1881" y="555"/>
                  </a:lnTo>
                  <a:lnTo>
                    <a:pt x="1879" y="546"/>
                  </a:lnTo>
                  <a:lnTo>
                    <a:pt x="1876" y="537"/>
                  </a:lnTo>
                  <a:lnTo>
                    <a:pt x="1875" y="529"/>
                  </a:lnTo>
                  <a:lnTo>
                    <a:pt x="1874" y="523"/>
                  </a:lnTo>
                  <a:lnTo>
                    <a:pt x="1872" y="521"/>
                  </a:lnTo>
                  <a:lnTo>
                    <a:pt x="1870" y="519"/>
                  </a:lnTo>
                  <a:lnTo>
                    <a:pt x="1870" y="516"/>
                  </a:lnTo>
                  <a:lnTo>
                    <a:pt x="1870" y="512"/>
                  </a:lnTo>
                  <a:lnTo>
                    <a:pt x="1866" y="511"/>
                  </a:lnTo>
                  <a:lnTo>
                    <a:pt x="1865" y="509"/>
                  </a:lnTo>
                  <a:lnTo>
                    <a:pt x="1865" y="507"/>
                  </a:lnTo>
                  <a:lnTo>
                    <a:pt x="1865" y="504"/>
                  </a:lnTo>
                  <a:lnTo>
                    <a:pt x="1857" y="496"/>
                  </a:lnTo>
                  <a:lnTo>
                    <a:pt x="1851" y="485"/>
                  </a:lnTo>
                  <a:lnTo>
                    <a:pt x="1842" y="475"/>
                  </a:lnTo>
                  <a:lnTo>
                    <a:pt x="1832" y="461"/>
                  </a:lnTo>
                  <a:lnTo>
                    <a:pt x="1831" y="460"/>
                  </a:lnTo>
                  <a:lnTo>
                    <a:pt x="1827" y="458"/>
                  </a:lnTo>
                  <a:lnTo>
                    <a:pt x="1824" y="454"/>
                  </a:lnTo>
                  <a:lnTo>
                    <a:pt x="1823" y="451"/>
                  </a:lnTo>
                  <a:lnTo>
                    <a:pt x="1813" y="451"/>
                  </a:lnTo>
                  <a:lnTo>
                    <a:pt x="1812" y="450"/>
                  </a:lnTo>
                  <a:lnTo>
                    <a:pt x="1808" y="449"/>
                  </a:lnTo>
                  <a:lnTo>
                    <a:pt x="1804" y="448"/>
                  </a:lnTo>
                  <a:lnTo>
                    <a:pt x="1798" y="448"/>
                  </a:lnTo>
                  <a:lnTo>
                    <a:pt x="1787" y="447"/>
                  </a:lnTo>
                  <a:lnTo>
                    <a:pt x="1780" y="447"/>
                  </a:lnTo>
                  <a:lnTo>
                    <a:pt x="1769" y="448"/>
                  </a:lnTo>
                  <a:lnTo>
                    <a:pt x="1757" y="449"/>
                  </a:lnTo>
                  <a:lnTo>
                    <a:pt x="1747" y="451"/>
                  </a:lnTo>
                  <a:lnTo>
                    <a:pt x="1738" y="451"/>
                  </a:lnTo>
                  <a:lnTo>
                    <a:pt x="1737" y="453"/>
                  </a:lnTo>
                  <a:lnTo>
                    <a:pt x="1736" y="454"/>
                  </a:lnTo>
                  <a:lnTo>
                    <a:pt x="1733" y="456"/>
                  </a:lnTo>
                  <a:lnTo>
                    <a:pt x="1730" y="456"/>
                  </a:lnTo>
                  <a:lnTo>
                    <a:pt x="1725" y="457"/>
                  </a:lnTo>
                  <a:lnTo>
                    <a:pt x="1719" y="457"/>
                  </a:lnTo>
                  <a:lnTo>
                    <a:pt x="1717" y="458"/>
                  </a:lnTo>
                  <a:lnTo>
                    <a:pt x="1712" y="459"/>
                  </a:lnTo>
                  <a:lnTo>
                    <a:pt x="1706" y="460"/>
                  </a:lnTo>
                  <a:lnTo>
                    <a:pt x="1697" y="460"/>
                  </a:lnTo>
                  <a:lnTo>
                    <a:pt x="1680" y="461"/>
                  </a:lnTo>
                  <a:lnTo>
                    <a:pt x="1668" y="461"/>
                  </a:lnTo>
                  <a:lnTo>
                    <a:pt x="1653" y="451"/>
                  </a:lnTo>
                  <a:lnTo>
                    <a:pt x="1634" y="442"/>
                  </a:lnTo>
                  <a:lnTo>
                    <a:pt x="1633" y="439"/>
                  </a:lnTo>
                  <a:lnTo>
                    <a:pt x="1630" y="435"/>
                  </a:lnTo>
                  <a:lnTo>
                    <a:pt x="1624" y="433"/>
                  </a:lnTo>
                  <a:lnTo>
                    <a:pt x="1621" y="433"/>
                  </a:lnTo>
                  <a:lnTo>
                    <a:pt x="1616" y="428"/>
                  </a:lnTo>
                  <a:lnTo>
                    <a:pt x="1608" y="418"/>
                  </a:lnTo>
                  <a:lnTo>
                    <a:pt x="1602" y="404"/>
                  </a:lnTo>
                  <a:lnTo>
                    <a:pt x="1596" y="404"/>
                  </a:lnTo>
                  <a:lnTo>
                    <a:pt x="1594" y="403"/>
                  </a:lnTo>
                  <a:lnTo>
                    <a:pt x="1593" y="401"/>
                  </a:lnTo>
                  <a:lnTo>
                    <a:pt x="1592" y="395"/>
                  </a:lnTo>
                  <a:lnTo>
                    <a:pt x="1587" y="393"/>
                  </a:lnTo>
                  <a:lnTo>
                    <a:pt x="1583" y="391"/>
                  </a:lnTo>
                  <a:lnTo>
                    <a:pt x="1583" y="381"/>
                  </a:lnTo>
                  <a:lnTo>
                    <a:pt x="1574" y="376"/>
                  </a:lnTo>
                  <a:lnTo>
                    <a:pt x="1572" y="365"/>
                  </a:lnTo>
                  <a:lnTo>
                    <a:pt x="1568" y="353"/>
                  </a:lnTo>
                  <a:lnTo>
                    <a:pt x="1567" y="352"/>
                  </a:lnTo>
                  <a:lnTo>
                    <a:pt x="1565" y="350"/>
                  </a:lnTo>
                  <a:lnTo>
                    <a:pt x="1563" y="345"/>
                  </a:lnTo>
                  <a:lnTo>
                    <a:pt x="1560" y="341"/>
                  </a:lnTo>
                  <a:lnTo>
                    <a:pt x="1556" y="333"/>
                  </a:lnTo>
                  <a:lnTo>
                    <a:pt x="1555" y="329"/>
                  </a:lnTo>
                  <a:lnTo>
                    <a:pt x="1555" y="315"/>
                  </a:lnTo>
                  <a:lnTo>
                    <a:pt x="1547" y="308"/>
                  </a:lnTo>
                  <a:lnTo>
                    <a:pt x="1540" y="302"/>
                  </a:lnTo>
                  <a:lnTo>
                    <a:pt x="1540" y="287"/>
                  </a:lnTo>
                  <a:lnTo>
                    <a:pt x="1534" y="279"/>
                  </a:lnTo>
                  <a:lnTo>
                    <a:pt x="1528" y="270"/>
                  </a:lnTo>
                  <a:lnTo>
                    <a:pt x="1524" y="260"/>
                  </a:lnTo>
                  <a:lnTo>
                    <a:pt x="1520" y="249"/>
                  </a:lnTo>
                  <a:lnTo>
                    <a:pt x="1517" y="237"/>
                  </a:lnTo>
                  <a:lnTo>
                    <a:pt x="1515" y="225"/>
                  </a:lnTo>
                  <a:lnTo>
                    <a:pt x="1514" y="211"/>
                  </a:lnTo>
                  <a:lnTo>
                    <a:pt x="1512" y="198"/>
                  </a:lnTo>
                  <a:lnTo>
                    <a:pt x="1511" y="170"/>
                  </a:lnTo>
                  <a:lnTo>
                    <a:pt x="1511" y="143"/>
                  </a:lnTo>
                  <a:lnTo>
                    <a:pt x="1512" y="117"/>
                  </a:lnTo>
                  <a:lnTo>
                    <a:pt x="1512" y="94"/>
                  </a:lnTo>
                  <a:lnTo>
                    <a:pt x="1485" y="94"/>
                  </a:lnTo>
                  <a:lnTo>
                    <a:pt x="1470" y="104"/>
                  </a:lnTo>
                  <a:lnTo>
                    <a:pt x="1466" y="113"/>
                  </a:lnTo>
                  <a:lnTo>
                    <a:pt x="1461" y="119"/>
                  </a:lnTo>
                  <a:lnTo>
                    <a:pt x="1451" y="119"/>
                  </a:lnTo>
                  <a:lnTo>
                    <a:pt x="1451" y="121"/>
                  </a:lnTo>
                  <a:lnTo>
                    <a:pt x="1450" y="123"/>
                  </a:lnTo>
                  <a:lnTo>
                    <a:pt x="1448" y="125"/>
                  </a:lnTo>
                  <a:lnTo>
                    <a:pt x="1445" y="126"/>
                  </a:lnTo>
                  <a:lnTo>
                    <a:pt x="1441" y="127"/>
                  </a:lnTo>
                  <a:lnTo>
                    <a:pt x="1438" y="127"/>
                  </a:lnTo>
                  <a:lnTo>
                    <a:pt x="1437" y="130"/>
                  </a:lnTo>
                  <a:lnTo>
                    <a:pt x="1435" y="131"/>
                  </a:lnTo>
                  <a:lnTo>
                    <a:pt x="1432" y="132"/>
                  </a:lnTo>
                  <a:lnTo>
                    <a:pt x="1430" y="134"/>
                  </a:lnTo>
                  <a:lnTo>
                    <a:pt x="1423" y="136"/>
                  </a:lnTo>
                  <a:lnTo>
                    <a:pt x="1419" y="136"/>
                  </a:lnTo>
                  <a:lnTo>
                    <a:pt x="1418" y="139"/>
                  </a:lnTo>
                  <a:lnTo>
                    <a:pt x="1415" y="140"/>
                  </a:lnTo>
                  <a:lnTo>
                    <a:pt x="1412" y="141"/>
                  </a:lnTo>
                  <a:lnTo>
                    <a:pt x="1408" y="141"/>
                  </a:lnTo>
                  <a:lnTo>
                    <a:pt x="1396" y="141"/>
                  </a:lnTo>
                  <a:lnTo>
                    <a:pt x="1381" y="141"/>
                  </a:lnTo>
                  <a:lnTo>
                    <a:pt x="1341" y="136"/>
                  </a:lnTo>
                  <a:lnTo>
                    <a:pt x="1294" y="130"/>
                  </a:lnTo>
                  <a:lnTo>
                    <a:pt x="1246" y="123"/>
                  </a:lnTo>
                  <a:lnTo>
                    <a:pt x="1200" y="115"/>
                  </a:lnTo>
                  <a:lnTo>
                    <a:pt x="1164" y="111"/>
                  </a:lnTo>
                  <a:lnTo>
                    <a:pt x="1141" y="108"/>
                  </a:lnTo>
                  <a:lnTo>
                    <a:pt x="1114" y="107"/>
                  </a:lnTo>
                  <a:lnTo>
                    <a:pt x="1086" y="104"/>
                  </a:lnTo>
                  <a:lnTo>
                    <a:pt x="1057" y="98"/>
                  </a:lnTo>
                  <a:lnTo>
                    <a:pt x="1027" y="92"/>
                  </a:lnTo>
                  <a:lnTo>
                    <a:pt x="996" y="86"/>
                  </a:lnTo>
                  <a:lnTo>
                    <a:pt x="964" y="81"/>
                  </a:lnTo>
                  <a:lnTo>
                    <a:pt x="949" y="78"/>
                  </a:lnTo>
                  <a:lnTo>
                    <a:pt x="933" y="77"/>
                  </a:lnTo>
                  <a:lnTo>
                    <a:pt x="917" y="76"/>
                  </a:lnTo>
                  <a:lnTo>
                    <a:pt x="902" y="76"/>
                  </a:lnTo>
                  <a:lnTo>
                    <a:pt x="901" y="74"/>
                  </a:lnTo>
                  <a:lnTo>
                    <a:pt x="900" y="73"/>
                  </a:lnTo>
                  <a:lnTo>
                    <a:pt x="898" y="73"/>
                  </a:lnTo>
                  <a:lnTo>
                    <a:pt x="896" y="72"/>
                  </a:lnTo>
                  <a:lnTo>
                    <a:pt x="892" y="72"/>
                  </a:lnTo>
                  <a:lnTo>
                    <a:pt x="887" y="71"/>
                  </a:lnTo>
                  <a:lnTo>
                    <a:pt x="883" y="66"/>
                  </a:lnTo>
                  <a:lnTo>
                    <a:pt x="878" y="57"/>
                  </a:lnTo>
                  <a:lnTo>
                    <a:pt x="871" y="55"/>
                  </a:lnTo>
                  <a:lnTo>
                    <a:pt x="864" y="53"/>
                  </a:lnTo>
                  <a:lnTo>
                    <a:pt x="862" y="47"/>
                  </a:lnTo>
                  <a:lnTo>
                    <a:pt x="859" y="43"/>
                  </a:lnTo>
                  <a:lnTo>
                    <a:pt x="849" y="40"/>
                  </a:lnTo>
                  <a:lnTo>
                    <a:pt x="840" y="38"/>
                  </a:lnTo>
                  <a:lnTo>
                    <a:pt x="840" y="37"/>
                  </a:lnTo>
                  <a:lnTo>
                    <a:pt x="839" y="36"/>
                  </a:lnTo>
                  <a:lnTo>
                    <a:pt x="837" y="35"/>
                  </a:lnTo>
                  <a:lnTo>
                    <a:pt x="835" y="34"/>
                  </a:lnTo>
                  <a:lnTo>
                    <a:pt x="830" y="34"/>
                  </a:lnTo>
                  <a:lnTo>
                    <a:pt x="826" y="34"/>
                  </a:lnTo>
                  <a:lnTo>
                    <a:pt x="610" y="0"/>
                  </a:lnTo>
                  <a:lnTo>
                    <a:pt x="600" y="12"/>
                  </a:lnTo>
                  <a:lnTo>
                    <a:pt x="591" y="29"/>
                  </a:lnTo>
                  <a:lnTo>
                    <a:pt x="583" y="34"/>
                  </a:lnTo>
                  <a:lnTo>
                    <a:pt x="580" y="44"/>
                  </a:lnTo>
                  <a:lnTo>
                    <a:pt x="577" y="57"/>
                  </a:lnTo>
                  <a:lnTo>
                    <a:pt x="574" y="71"/>
                  </a:lnTo>
                  <a:lnTo>
                    <a:pt x="573" y="81"/>
                  </a:lnTo>
                  <a:lnTo>
                    <a:pt x="564" y="81"/>
                  </a:lnTo>
                  <a:lnTo>
                    <a:pt x="562" y="83"/>
                  </a:lnTo>
                  <a:lnTo>
                    <a:pt x="561" y="85"/>
                  </a:lnTo>
                  <a:lnTo>
                    <a:pt x="559" y="87"/>
                  </a:lnTo>
                  <a:lnTo>
                    <a:pt x="557" y="88"/>
                  </a:lnTo>
                  <a:lnTo>
                    <a:pt x="549" y="91"/>
                  </a:lnTo>
                  <a:lnTo>
                    <a:pt x="541" y="93"/>
                  </a:lnTo>
                  <a:lnTo>
                    <a:pt x="523" y="94"/>
                  </a:lnTo>
                  <a:lnTo>
                    <a:pt x="511" y="94"/>
                  </a:lnTo>
                  <a:lnTo>
                    <a:pt x="502" y="85"/>
                  </a:lnTo>
                  <a:lnTo>
                    <a:pt x="493" y="85"/>
                  </a:lnTo>
                  <a:lnTo>
                    <a:pt x="488" y="76"/>
                  </a:lnTo>
                  <a:lnTo>
                    <a:pt x="475" y="74"/>
                  </a:lnTo>
                  <a:lnTo>
                    <a:pt x="461" y="71"/>
                  </a:lnTo>
                  <a:lnTo>
                    <a:pt x="453" y="71"/>
                  </a:lnTo>
                  <a:lnTo>
                    <a:pt x="446" y="72"/>
                  </a:lnTo>
                  <a:lnTo>
                    <a:pt x="443" y="73"/>
                  </a:lnTo>
                  <a:lnTo>
                    <a:pt x="441" y="75"/>
                  </a:lnTo>
                  <a:lnTo>
                    <a:pt x="439" y="77"/>
                  </a:lnTo>
                  <a:lnTo>
                    <a:pt x="436" y="81"/>
                  </a:lnTo>
                  <a:lnTo>
                    <a:pt x="422" y="81"/>
                  </a:lnTo>
                  <a:lnTo>
                    <a:pt x="422" y="82"/>
                  </a:lnTo>
                  <a:lnTo>
                    <a:pt x="421" y="83"/>
                  </a:lnTo>
                  <a:lnTo>
                    <a:pt x="420" y="84"/>
                  </a:lnTo>
                  <a:lnTo>
                    <a:pt x="417" y="85"/>
                  </a:lnTo>
                  <a:lnTo>
                    <a:pt x="413" y="85"/>
                  </a:lnTo>
                  <a:lnTo>
                    <a:pt x="408" y="85"/>
                  </a:lnTo>
                  <a:lnTo>
                    <a:pt x="407" y="86"/>
                  </a:lnTo>
                  <a:lnTo>
                    <a:pt x="404" y="88"/>
                  </a:lnTo>
                  <a:lnTo>
                    <a:pt x="399" y="88"/>
                  </a:lnTo>
                  <a:lnTo>
                    <a:pt x="394" y="90"/>
                  </a:lnTo>
                  <a:lnTo>
                    <a:pt x="383" y="90"/>
                  </a:lnTo>
                  <a:lnTo>
                    <a:pt x="375" y="90"/>
                  </a:lnTo>
                  <a:lnTo>
                    <a:pt x="374" y="88"/>
                  </a:lnTo>
                  <a:lnTo>
                    <a:pt x="369" y="87"/>
                  </a:lnTo>
                  <a:lnTo>
                    <a:pt x="364" y="86"/>
                  </a:lnTo>
                  <a:lnTo>
                    <a:pt x="356" y="86"/>
                  </a:lnTo>
                  <a:lnTo>
                    <a:pt x="341" y="85"/>
                  </a:lnTo>
                  <a:lnTo>
                    <a:pt x="334" y="85"/>
                  </a:lnTo>
                  <a:lnTo>
                    <a:pt x="334" y="7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1" name="Freeform 37"/>
            <p:cNvSpPr>
              <a:spLocks noChangeAspect="1"/>
            </p:cNvSpPr>
            <p:nvPr/>
          </p:nvSpPr>
          <p:spPr bwMode="gray">
            <a:xfrm rot="355651">
              <a:off x="6232525" y="3170238"/>
              <a:ext cx="304692" cy="254441"/>
            </a:xfrm>
            <a:custGeom>
              <a:avLst/>
              <a:gdLst/>
              <a:ahLst/>
              <a:cxnLst>
                <a:cxn ang="0">
                  <a:pos x="809" y="159"/>
                </a:cxn>
                <a:cxn ang="0">
                  <a:pos x="708" y="191"/>
                </a:cxn>
                <a:cxn ang="0">
                  <a:pos x="606" y="265"/>
                </a:cxn>
                <a:cxn ang="0">
                  <a:pos x="564" y="389"/>
                </a:cxn>
                <a:cxn ang="0">
                  <a:pos x="658" y="462"/>
                </a:cxn>
                <a:cxn ang="0">
                  <a:pos x="714" y="488"/>
                </a:cxn>
                <a:cxn ang="0">
                  <a:pos x="676" y="549"/>
                </a:cxn>
                <a:cxn ang="0">
                  <a:pos x="621" y="533"/>
                </a:cxn>
                <a:cxn ang="0">
                  <a:pos x="547" y="537"/>
                </a:cxn>
                <a:cxn ang="0">
                  <a:pos x="451" y="587"/>
                </a:cxn>
                <a:cxn ang="0">
                  <a:pos x="322" y="549"/>
                </a:cxn>
                <a:cxn ang="0">
                  <a:pos x="305" y="598"/>
                </a:cxn>
                <a:cxn ang="0">
                  <a:pos x="411" y="699"/>
                </a:cxn>
                <a:cxn ang="0">
                  <a:pos x="383" y="781"/>
                </a:cxn>
                <a:cxn ang="0">
                  <a:pos x="236" y="846"/>
                </a:cxn>
                <a:cxn ang="0">
                  <a:pos x="182" y="883"/>
                </a:cxn>
                <a:cxn ang="0">
                  <a:pos x="216" y="1086"/>
                </a:cxn>
                <a:cxn ang="0">
                  <a:pos x="150" y="1180"/>
                </a:cxn>
                <a:cxn ang="0">
                  <a:pos x="0" y="1209"/>
                </a:cxn>
                <a:cxn ang="0">
                  <a:pos x="17" y="1262"/>
                </a:cxn>
                <a:cxn ang="0">
                  <a:pos x="45" y="1309"/>
                </a:cxn>
                <a:cxn ang="0">
                  <a:pos x="65" y="1352"/>
                </a:cxn>
                <a:cxn ang="0">
                  <a:pos x="89" y="1414"/>
                </a:cxn>
                <a:cxn ang="0">
                  <a:pos x="117" y="1420"/>
                </a:cxn>
                <a:cxn ang="0">
                  <a:pos x="203" y="1398"/>
                </a:cxn>
                <a:cxn ang="0">
                  <a:pos x="354" y="1425"/>
                </a:cxn>
                <a:cxn ang="0">
                  <a:pos x="382" y="1434"/>
                </a:cxn>
                <a:cxn ang="0">
                  <a:pos x="454" y="1462"/>
                </a:cxn>
                <a:cxn ang="0">
                  <a:pos x="554" y="1491"/>
                </a:cxn>
                <a:cxn ang="0">
                  <a:pos x="609" y="1514"/>
                </a:cxn>
                <a:cxn ang="0">
                  <a:pos x="670" y="1539"/>
                </a:cxn>
                <a:cxn ang="0">
                  <a:pos x="754" y="1564"/>
                </a:cxn>
                <a:cxn ang="0">
                  <a:pos x="803" y="1575"/>
                </a:cxn>
                <a:cxn ang="0">
                  <a:pos x="928" y="1558"/>
                </a:cxn>
                <a:cxn ang="0">
                  <a:pos x="971" y="1515"/>
                </a:cxn>
                <a:cxn ang="0">
                  <a:pos x="965" y="1464"/>
                </a:cxn>
                <a:cxn ang="0">
                  <a:pos x="894" y="1111"/>
                </a:cxn>
                <a:cxn ang="0">
                  <a:pos x="767" y="1021"/>
                </a:cxn>
                <a:cxn ang="0">
                  <a:pos x="676" y="1031"/>
                </a:cxn>
                <a:cxn ang="0">
                  <a:pos x="666" y="944"/>
                </a:cxn>
                <a:cxn ang="0">
                  <a:pos x="757" y="832"/>
                </a:cxn>
                <a:cxn ang="0">
                  <a:pos x="943" y="694"/>
                </a:cxn>
                <a:cxn ang="0">
                  <a:pos x="994" y="625"/>
                </a:cxn>
                <a:cxn ang="0">
                  <a:pos x="1049" y="743"/>
                </a:cxn>
                <a:cxn ang="0">
                  <a:pos x="1203" y="726"/>
                </a:cxn>
                <a:cxn ang="0">
                  <a:pos x="1293" y="813"/>
                </a:cxn>
                <a:cxn ang="0">
                  <a:pos x="1379" y="982"/>
                </a:cxn>
                <a:cxn ang="0">
                  <a:pos x="1358" y="1112"/>
                </a:cxn>
                <a:cxn ang="0">
                  <a:pos x="1295" y="1178"/>
                </a:cxn>
                <a:cxn ang="0">
                  <a:pos x="1240" y="1067"/>
                </a:cxn>
                <a:cxn ang="0">
                  <a:pos x="1183" y="1088"/>
                </a:cxn>
                <a:cxn ang="0">
                  <a:pos x="1092" y="1308"/>
                </a:cxn>
                <a:cxn ang="0">
                  <a:pos x="1145" y="1345"/>
                </a:cxn>
                <a:cxn ang="0">
                  <a:pos x="1341" y="1319"/>
                </a:cxn>
                <a:cxn ang="0">
                  <a:pos x="1540" y="1187"/>
                </a:cxn>
                <a:cxn ang="0">
                  <a:pos x="1672" y="1075"/>
                </a:cxn>
                <a:cxn ang="0">
                  <a:pos x="1641" y="1006"/>
                </a:cxn>
                <a:cxn ang="0">
                  <a:pos x="1616" y="913"/>
                </a:cxn>
                <a:cxn ang="0">
                  <a:pos x="1608" y="743"/>
                </a:cxn>
                <a:cxn ang="0">
                  <a:pos x="1453" y="576"/>
                </a:cxn>
                <a:cxn ang="0">
                  <a:pos x="1273" y="302"/>
                </a:cxn>
                <a:cxn ang="0">
                  <a:pos x="1021" y="41"/>
                </a:cxn>
              </a:cxnLst>
              <a:rect l="0" t="0" r="r" b="b"/>
              <a:pathLst>
                <a:path w="1675" h="1575">
                  <a:moveTo>
                    <a:pt x="923" y="0"/>
                  </a:moveTo>
                  <a:lnTo>
                    <a:pt x="914" y="12"/>
                  </a:lnTo>
                  <a:lnTo>
                    <a:pt x="905" y="27"/>
                  </a:lnTo>
                  <a:lnTo>
                    <a:pt x="896" y="41"/>
                  </a:lnTo>
                  <a:lnTo>
                    <a:pt x="887" y="57"/>
                  </a:lnTo>
                  <a:lnTo>
                    <a:pt x="868" y="88"/>
                  </a:lnTo>
                  <a:lnTo>
                    <a:pt x="847" y="120"/>
                  </a:lnTo>
                  <a:lnTo>
                    <a:pt x="835" y="133"/>
                  </a:lnTo>
                  <a:lnTo>
                    <a:pt x="823" y="146"/>
                  </a:lnTo>
                  <a:lnTo>
                    <a:pt x="809" y="159"/>
                  </a:lnTo>
                  <a:lnTo>
                    <a:pt x="794" y="169"/>
                  </a:lnTo>
                  <a:lnTo>
                    <a:pt x="786" y="174"/>
                  </a:lnTo>
                  <a:lnTo>
                    <a:pt x="777" y="178"/>
                  </a:lnTo>
                  <a:lnTo>
                    <a:pt x="770" y="181"/>
                  </a:lnTo>
                  <a:lnTo>
                    <a:pt x="760" y="184"/>
                  </a:lnTo>
                  <a:lnTo>
                    <a:pt x="751" y="187"/>
                  </a:lnTo>
                  <a:lnTo>
                    <a:pt x="741" y="189"/>
                  </a:lnTo>
                  <a:lnTo>
                    <a:pt x="729" y="190"/>
                  </a:lnTo>
                  <a:lnTo>
                    <a:pt x="718" y="190"/>
                  </a:lnTo>
                  <a:lnTo>
                    <a:pt x="708" y="191"/>
                  </a:lnTo>
                  <a:lnTo>
                    <a:pt x="697" y="193"/>
                  </a:lnTo>
                  <a:lnTo>
                    <a:pt x="686" y="197"/>
                  </a:lnTo>
                  <a:lnTo>
                    <a:pt x="675" y="201"/>
                  </a:lnTo>
                  <a:lnTo>
                    <a:pt x="664" y="208"/>
                  </a:lnTo>
                  <a:lnTo>
                    <a:pt x="654" y="214"/>
                  </a:lnTo>
                  <a:lnTo>
                    <a:pt x="642" y="223"/>
                  </a:lnTo>
                  <a:lnTo>
                    <a:pt x="632" y="232"/>
                  </a:lnTo>
                  <a:lnTo>
                    <a:pt x="623" y="242"/>
                  </a:lnTo>
                  <a:lnTo>
                    <a:pt x="614" y="254"/>
                  </a:lnTo>
                  <a:lnTo>
                    <a:pt x="606" y="265"/>
                  </a:lnTo>
                  <a:lnTo>
                    <a:pt x="598" y="276"/>
                  </a:lnTo>
                  <a:lnTo>
                    <a:pt x="590" y="288"/>
                  </a:lnTo>
                  <a:lnTo>
                    <a:pt x="583" y="302"/>
                  </a:lnTo>
                  <a:lnTo>
                    <a:pt x="578" y="314"/>
                  </a:lnTo>
                  <a:lnTo>
                    <a:pt x="573" y="326"/>
                  </a:lnTo>
                  <a:lnTo>
                    <a:pt x="569" y="339"/>
                  </a:lnTo>
                  <a:lnTo>
                    <a:pt x="566" y="352"/>
                  </a:lnTo>
                  <a:lnTo>
                    <a:pt x="564" y="364"/>
                  </a:lnTo>
                  <a:lnTo>
                    <a:pt x="564" y="376"/>
                  </a:lnTo>
                  <a:lnTo>
                    <a:pt x="564" y="389"/>
                  </a:lnTo>
                  <a:lnTo>
                    <a:pt x="566" y="400"/>
                  </a:lnTo>
                  <a:lnTo>
                    <a:pt x="571" y="411"/>
                  </a:lnTo>
                  <a:lnTo>
                    <a:pt x="575" y="421"/>
                  </a:lnTo>
                  <a:lnTo>
                    <a:pt x="582" y="430"/>
                  </a:lnTo>
                  <a:lnTo>
                    <a:pt x="590" y="438"/>
                  </a:lnTo>
                  <a:lnTo>
                    <a:pt x="600" y="446"/>
                  </a:lnTo>
                  <a:lnTo>
                    <a:pt x="611" y="451"/>
                  </a:lnTo>
                  <a:lnTo>
                    <a:pt x="624" y="457"/>
                  </a:lnTo>
                  <a:lnTo>
                    <a:pt x="640" y="460"/>
                  </a:lnTo>
                  <a:lnTo>
                    <a:pt x="658" y="462"/>
                  </a:lnTo>
                  <a:lnTo>
                    <a:pt x="677" y="463"/>
                  </a:lnTo>
                  <a:lnTo>
                    <a:pt x="685" y="463"/>
                  </a:lnTo>
                  <a:lnTo>
                    <a:pt x="690" y="464"/>
                  </a:lnTo>
                  <a:lnTo>
                    <a:pt x="697" y="467"/>
                  </a:lnTo>
                  <a:lnTo>
                    <a:pt x="702" y="469"/>
                  </a:lnTo>
                  <a:lnTo>
                    <a:pt x="705" y="472"/>
                  </a:lnTo>
                  <a:lnTo>
                    <a:pt x="708" y="476"/>
                  </a:lnTo>
                  <a:lnTo>
                    <a:pt x="710" y="479"/>
                  </a:lnTo>
                  <a:lnTo>
                    <a:pt x="713" y="483"/>
                  </a:lnTo>
                  <a:lnTo>
                    <a:pt x="714" y="488"/>
                  </a:lnTo>
                  <a:lnTo>
                    <a:pt x="715" y="492"/>
                  </a:lnTo>
                  <a:lnTo>
                    <a:pt x="714" y="498"/>
                  </a:lnTo>
                  <a:lnTo>
                    <a:pt x="714" y="502"/>
                  </a:lnTo>
                  <a:lnTo>
                    <a:pt x="710" y="512"/>
                  </a:lnTo>
                  <a:lnTo>
                    <a:pt x="706" y="523"/>
                  </a:lnTo>
                  <a:lnTo>
                    <a:pt x="699" y="533"/>
                  </a:lnTo>
                  <a:lnTo>
                    <a:pt x="690" y="540"/>
                  </a:lnTo>
                  <a:lnTo>
                    <a:pt x="686" y="544"/>
                  </a:lnTo>
                  <a:lnTo>
                    <a:pt x="681" y="547"/>
                  </a:lnTo>
                  <a:lnTo>
                    <a:pt x="676" y="549"/>
                  </a:lnTo>
                  <a:lnTo>
                    <a:pt x="671" y="552"/>
                  </a:lnTo>
                  <a:lnTo>
                    <a:pt x="666" y="553"/>
                  </a:lnTo>
                  <a:lnTo>
                    <a:pt x="660" y="553"/>
                  </a:lnTo>
                  <a:lnTo>
                    <a:pt x="655" y="553"/>
                  </a:lnTo>
                  <a:lnTo>
                    <a:pt x="649" y="552"/>
                  </a:lnTo>
                  <a:lnTo>
                    <a:pt x="643" y="549"/>
                  </a:lnTo>
                  <a:lnTo>
                    <a:pt x="638" y="546"/>
                  </a:lnTo>
                  <a:lnTo>
                    <a:pt x="632" y="543"/>
                  </a:lnTo>
                  <a:lnTo>
                    <a:pt x="626" y="537"/>
                  </a:lnTo>
                  <a:lnTo>
                    <a:pt x="621" y="533"/>
                  </a:lnTo>
                  <a:lnTo>
                    <a:pt x="616" y="529"/>
                  </a:lnTo>
                  <a:lnTo>
                    <a:pt x="610" y="526"/>
                  </a:lnTo>
                  <a:lnTo>
                    <a:pt x="604" y="524"/>
                  </a:lnTo>
                  <a:lnTo>
                    <a:pt x="599" y="523"/>
                  </a:lnTo>
                  <a:lnTo>
                    <a:pt x="593" y="521"/>
                  </a:lnTo>
                  <a:lnTo>
                    <a:pt x="588" y="521"/>
                  </a:lnTo>
                  <a:lnTo>
                    <a:pt x="581" y="523"/>
                  </a:lnTo>
                  <a:lnTo>
                    <a:pt x="570" y="526"/>
                  </a:lnTo>
                  <a:lnTo>
                    <a:pt x="559" y="530"/>
                  </a:lnTo>
                  <a:lnTo>
                    <a:pt x="547" y="537"/>
                  </a:lnTo>
                  <a:lnTo>
                    <a:pt x="536" y="545"/>
                  </a:lnTo>
                  <a:lnTo>
                    <a:pt x="516" y="560"/>
                  </a:lnTo>
                  <a:lnTo>
                    <a:pt x="499" y="576"/>
                  </a:lnTo>
                  <a:lnTo>
                    <a:pt x="492" y="583"/>
                  </a:lnTo>
                  <a:lnTo>
                    <a:pt x="486" y="588"/>
                  </a:lnTo>
                  <a:lnTo>
                    <a:pt x="482" y="592"/>
                  </a:lnTo>
                  <a:lnTo>
                    <a:pt x="478" y="593"/>
                  </a:lnTo>
                  <a:lnTo>
                    <a:pt x="470" y="592"/>
                  </a:lnTo>
                  <a:lnTo>
                    <a:pt x="461" y="589"/>
                  </a:lnTo>
                  <a:lnTo>
                    <a:pt x="451" y="587"/>
                  </a:lnTo>
                  <a:lnTo>
                    <a:pt x="440" y="583"/>
                  </a:lnTo>
                  <a:lnTo>
                    <a:pt x="417" y="573"/>
                  </a:lnTo>
                  <a:lnTo>
                    <a:pt x="392" y="563"/>
                  </a:lnTo>
                  <a:lnTo>
                    <a:pt x="380" y="557"/>
                  </a:lnTo>
                  <a:lnTo>
                    <a:pt x="368" y="554"/>
                  </a:lnTo>
                  <a:lnTo>
                    <a:pt x="357" y="550"/>
                  </a:lnTo>
                  <a:lnTo>
                    <a:pt x="345" y="548"/>
                  </a:lnTo>
                  <a:lnTo>
                    <a:pt x="335" y="547"/>
                  </a:lnTo>
                  <a:lnTo>
                    <a:pt x="326" y="548"/>
                  </a:lnTo>
                  <a:lnTo>
                    <a:pt x="322" y="549"/>
                  </a:lnTo>
                  <a:lnTo>
                    <a:pt x="317" y="550"/>
                  </a:lnTo>
                  <a:lnTo>
                    <a:pt x="314" y="553"/>
                  </a:lnTo>
                  <a:lnTo>
                    <a:pt x="311" y="556"/>
                  </a:lnTo>
                  <a:lnTo>
                    <a:pt x="305" y="562"/>
                  </a:lnTo>
                  <a:lnTo>
                    <a:pt x="302" y="568"/>
                  </a:lnTo>
                  <a:lnTo>
                    <a:pt x="301" y="574"/>
                  </a:lnTo>
                  <a:lnTo>
                    <a:pt x="300" y="581"/>
                  </a:lnTo>
                  <a:lnTo>
                    <a:pt x="301" y="586"/>
                  </a:lnTo>
                  <a:lnTo>
                    <a:pt x="303" y="592"/>
                  </a:lnTo>
                  <a:lnTo>
                    <a:pt x="305" y="598"/>
                  </a:lnTo>
                  <a:lnTo>
                    <a:pt x="310" y="604"/>
                  </a:lnTo>
                  <a:lnTo>
                    <a:pt x="321" y="616"/>
                  </a:lnTo>
                  <a:lnTo>
                    <a:pt x="334" y="629"/>
                  </a:lnTo>
                  <a:lnTo>
                    <a:pt x="349" y="641"/>
                  </a:lnTo>
                  <a:lnTo>
                    <a:pt x="364" y="653"/>
                  </a:lnTo>
                  <a:lnTo>
                    <a:pt x="380" y="665"/>
                  </a:lnTo>
                  <a:lnTo>
                    <a:pt x="393" y="679"/>
                  </a:lnTo>
                  <a:lnTo>
                    <a:pt x="400" y="685"/>
                  </a:lnTo>
                  <a:lnTo>
                    <a:pt x="406" y="692"/>
                  </a:lnTo>
                  <a:lnTo>
                    <a:pt x="411" y="699"/>
                  </a:lnTo>
                  <a:lnTo>
                    <a:pt x="416" y="706"/>
                  </a:lnTo>
                  <a:lnTo>
                    <a:pt x="418" y="712"/>
                  </a:lnTo>
                  <a:lnTo>
                    <a:pt x="420" y="720"/>
                  </a:lnTo>
                  <a:lnTo>
                    <a:pt x="421" y="727"/>
                  </a:lnTo>
                  <a:lnTo>
                    <a:pt x="421" y="735"/>
                  </a:lnTo>
                  <a:lnTo>
                    <a:pt x="419" y="741"/>
                  </a:lnTo>
                  <a:lnTo>
                    <a:pt x="416" y="749"/>
                  </a:lnTo>
                  <a:lnTo>
                    <a:pt x="410" y="757"/>
                  </a:lnTo>
                  <a:lnTo>
                    <a:pt x="403" y="765"/>
                  </a:lnTo>
                  <a:lnTo>
                    <a:pt x="383" y="781"/>
                  </a:lnTo>
                  <a:lnTo>
                    <a:pt x="351" y="806"/>
                  </a:lnTo>
                  <a:lnTo>
                    <a:pt x="333" y="819"/>
                  </a:lnTo>
                  <a:lnTo>
                    <a:pt x="315" y="831"/>
                  </a:lnTo>
                  <a:lnTo>
                    <a:pt x="300" y="841"/>
                  </a:lnTo>
                  <a:lnTo>
                    <a:pt x="287" y="847"/>
                  </a:lnTo>
                  <a:lnTo>
                    <a:pt x="280" y="851"/>
                  </a:lnTo>
                  <a:lnTo>
                    <a:pt x="271" y="852"/>
                  </a:lnTo>
                  <a:lnTo>
                    <a:pt x="263" y="852"/>
                  </a:lnTo>
                  <a:lnTo>
                    <a:pt x="254" y="850"/>
                  </a:lnTo>
                  <a:lnTo>
                    <a:pt x="236" y="846"/>
                  </a:lnTo>
                  <a:lnTo>
                    <a:pt x="219" y="842"/>
                  </a:lnTo>
                  <a:lnTo>
                    <a:pt x="211" y="839"/>
                  </a:lnTo>
                  <a:lnTo>
                    <a:pt x="204" y="838"/>
                  </a:lnTo>
                  <a:lnTo>
                    <a:pt x="197" y="839"/>
                  </a:lnTo>
                  <a:lnTo>
                    <a:pt x="192" y="841"/>
                  </a:lnTo>
                  <a:lnTo>
                    <a:pt x="187" y="844"/>
                  </a:lnTo>
                  <a:lnTo>
                    <a:pt x="184" y="850"/>
                  </a:lnTo>
                  <a:lnTo>
                    <a:pt x="182" y="856"/>
                  </a:lnTo>
                  <a:lnTo>
                    <a:pt x="181" y="866"/>
                  </a:lnTo>
                  <a:lnTo>
                    <a:pt x="182" y="883"/>
                  </a:lnTo>
                  <a:lnTo>
                    <a:pt x="184" y="901"/>
                  </a:lnTo>
                  <a:lnTo>
                    <a:pt x="187" y="919"/>
                  </a:lnTo>
                  <a:lnTo>
                    <a:pt x="191" y="937"/>
                  </a:lnTo>
                  <a:lnTo>
                    <a:pt x="200" y="973"/>
                  </a:lnTo>
                  <a:lnTo>
                    <a:pt x="209" y="1010"/>
                  </a:lnTo>
                  <a:lnTo>
                    <a:pt x="213" y="1028"/>
                  </a:lnTo>
                  <a:lnTo>
                    <a:pt x="215" y="1046"/>
                  </a:lnTo>
                  <a:lnTo>
                    <a:pt x="216" y="1063"/>
                  </a:lnTo>
                  <a:lnTo>
                    <a:pt x="216" y="1078"/>
                  </a:lnTo>
                  <a:lnTo>
                    <a:pt x="216" y="1086"/>
                  </a:lnTo>
                  <a:lnTo>
                    <a:pt x="215" y="1093"/>
                  </a:lnTo>
                  <a:lnTo>
                    <a:pt x="213" y="1100"/>
                  </a:lnTo>
                  <a:lnTo>
                    <a:pt x="210" y="1107"/>
                  </a:lnTo>
                  <a:lnTo>
                    <a:pt x="207" y="1113"/>
                  </a:lnTo>
                  <a:lnTo>
                    <a:pt x="204" y="1120"/>
                  </a:lnTo>
                  <a:lnTo>
                    <a:pt x="200" y="1125"/>
                  </a:lnTo>
                  <a:lnTo>
                    <a:pt x="195" y="1131"/>
                  </a:lnTo>
                  <a:lnTo>
                    <a:pt x="173" y="1154"/>
                  </a:lnTo>
                  <a:lnTo>
                    <a:pt x="157" y="1172"/>
                  </a:lnTo>
                  <a:lnTo>
                    <a:pt x="150" y="1180"/>
                  </a:lnTo>
                  <a:lnTo>
                    <a:pt x="143" y="1185"/>
                  </a:lnTo>
                  <a:lnTo>
                    <a:pt x="137" y="1191"/>
                  </a:lnTo>
                  <a:lnTo>
                    <a:pt x="130" y="1195"/>
                  </a:lnTo>
                  <a:lnTo>
                    <a:pt x="121" y="1200"/>
                  </a:lnTo>
                  <a:lnTo>
                    <a:pt x="112" y="1202"/>
                  </a:lnTo>
                  <a:lnTo>
                    <a:pt x="101" y="1206"/>
                  </a:lnTo>
                  <a:lnTo>
                    <a:pt x="88" y="1207"/>
                  </a:lnTo>
                  <a:lnTo>
                    <a:pt x="53" y="1209"/>
                  </a:lnTo>
                  <a:lnTo>
                    <a:pt x="5" y="1209"/>
                  </a:lnTo>
                  <a:lnTo>
                    <a:pt x="0" y="1209"/>
                  </a:lnTo>
                  <a:lnTo>
                    <a:pt x="2" y="1220"/>
                  </a:lnTo>
                  <a:lnTo>
                    <a:pt x="3" y="1231"/>
                  </a:lnTo>
                  <a:lnTo>
                    <a:pt x="5" y="1236"/>
                  </a:lnTo>
                  <a:lnTo>
                    <a:pt x="6" y="1239"/>
                  </a:lnTo>
                  <a:lnTo>
                    <a:pt x="8" y="1241"/>
                  </a:lnTo>
                  <a:lnTo>
                    <a:pt x="12" y="1242"/>
                  </a:lnTo>
                  <a:lnTo>
                    <a:pt x="12" y="1259"/>
                  </a:lnTo>
                  <a:lnTo>
                    <a:pt x="14" y="1259"/>
                  </a:lnTo>
                  <a:lnTo>
                    <a:pt x="16" y="1260"/>
                  </a:lnTo>
                  <a:lnTo>
                    <a:pt x="17" y="1262"/>
                  </a:lnTo>
                  <a:lnTo>
                    <a:pt x="19" y="1266"/>
                  </a:lnTo>
                  <a:lnTo>
                    <a:pt x="24" y="1273"/>
                  </a:lnTo>
                  <a:lnTo>
                    <a:pt x="28" y="1280"/>
                  </a:lnTo>
                  <a:lnTo>
                    <a:pt x="32" y="1289"/>
                  </a:lnTo>
                  <a:lnTo>
                    <a:pt x="36" y="1296"/>
                  </a:lnTo>
                  <a:lnTo>
                    <a:pt x="38" y="1299"/>
                  </a:lnTo>
                  <a:lnTo>
                    <a:pt x="41" y="1302"/>
                  </a:lnTo>
                  <a:lnTo>
                    <a:pt x="43" y="1303"/>
                  </a:lnTo>
                  <a:lnTo>
                    <a:pt x="45" y="1303"/>
                  </a:lnTo>
                  <a:lnTo>
                    <a:pt x="45" y="1309"/>
                  </a:lnTo>
                  <a:lnTo>
                    <a:pt x="48" y="1319"/>
                  </a:lnTo>
                  <a:lnTo>
                    <a:pt x="50" y="1324"/>
                  </a:lnTo>
                  <a:lnTo>
                    <a:pt x="52" y="1327"/>
                  </a:lnTo>
                  <a:lnTo>
                    <a:pt x="54" y="1329"/>
                  </a:lnTo>
                  <a:lnTo>
                    <a:pt x="56" y="1331"/>
                  </a:lnTo>
                  <a:lnTo>
                    <a:pt x="56" y="1336"/>
                  </a:lnTo>
                  <a:lnTo>
                    <a:pt x="60" y="1344"/>
                  </a:lnTo>
                  <a:lnTo>
                    <a:pt x="61" y="1347"/>
                  </a:lnTo>
                  <a:lnTo>
                    <a:pt x="63" y="1351"/>
                  </a:lnTo>
                  <a:lnTo>
                    <a:pt x="65" y="1352"/>
                  </a:lnTo>
                  <a:lnTo>
                    <a:pt x="67" y="1353"/>
                  </a:lnTo>
                  <a:lnTo>
                    <a:pt x="69" y="1365"/>
                  </a:lnTo>
                  <a:lnTo>
                    <a:pt x="74" y="1382"/>
                  </a:lnTo>
                  <a:lnTo>
                    <a:pt x="77" y="1390"/>
                  </a:lnTo>
                  <a:lnTo>
                    <a:pt x="81" y="1396"/>
                  </a:lnTo>
                  <a:lnTo>
                    <a:pt x="83" y="1399"/>
                  </a:lnTo>
                  <a:lnTo>
                    <a:pt x="85" y="1401"/>
                  </a:lnTo>
                  <a:lnTo>
                    <a:pt x="86" y="1402"/>
                  </a:lnTo>
                  <a:lnTo>
                    <a:pt x="89" y="1403"/>
                  </a:lnTo>
                  <a:lnTo>
                    <a:pt x="89" y="1414"/>
                  </a:lnTo>
                  <a:lnTo>
                    <a:pt x="91" y="1414"/>
                  </a:lnTo>
                  <a:lnTo>
                    <a:pt x="94" y="1418"/>
                  </a:lnTo>
                  <a:lnTo>
                    <a:pt x="99" y="1421"/>
                  </a:lnTo>
                  <a:lnTo>
                    <a:pt x="100" y="1425"/>
                  </a:lnTo>
                  <a:lnTo>
                    <a:pt x="105" y="1424"/>
                  </a:lnTo>
                  <a:lnTo>
                    <a:pt x="111" y="1424"/>
                  </a:lnTo>
                  <a:lnTo>
                    <a:pt x="113" y="1423"/>
                  </a:lnTo>
                  <a:lnTo>
                    <a:pt x="115" y="1422"/>
                  </a:lnTo>
                  <a:lnTo>
                    <a:pt x="117" y="1421"/>
                  </a:lnTo>
                  <a:lnTo>
                    <a:pt x="117" y="1420"/>
                  </a:lnTo>
                  <a:lnTo>
                    <a:pt x="122" y="1419"/>
                  </a:lnTo>
                  <a:lnTo>
                    <a:pt x="127" y="1419"/>
                  </a:lnTo>
                  <a:lnTo>
                    <a:pt x="130" y="1418"/>
                  </a:lnTo>
                  <a:lnTo>
                    <a:pt x="131" y="1416"/>
                  </a:lnTo>
                  <a:lnTo>
                    <a:pt x="133" y="1415"/>
                  </a:lnTo>
                  <a:lnTo>
                    <a:pt x="133" y="1414"/>
                  </a:lnTo>
                  <a:lnTo>
                    <a:pt x="156" y="1414"/>
                  </a:lnTo>
                  <a:lnTo>
                    <a:pt x="169" y="1405"/>
                  </a:lnTo>
                  <a:lnTo>
                    <a:pt x="184" y="1398"/>
                  </a:lnTo>
                  <a:lnTo>
                    <a:pt x="203" y="1398"/>
                  </a:lnTo>
                  <a:lnTo>
                    <a:pt x="223" y="1400"/>
                  </a:lnTo>
                  <a:lnTo>
                    <a:pt x="244" y="1402"/>
                  </a:lnTo>
                  <a:lnTo>
                    <a:pt x="266" y="1405"/>
                  </a:lnTo>
                  <a:lnTo>
                    <a:pt x="286" y="1409"/>
                  </a:lnTo>
                  <a:lnTo>
                    <a:pt x="307" y="1411"/>
                  </a:lnTo>
                  <a:lnTo>
                    <a:pt x="326" y="1413"/>
                  </a:lnTo>
                  <a:lnTo>
                    <a:pt x="344" y="1414"/>
                  </a:lnTo>
                  <a:lnTo>
                    <a:pt x="347" y="1420"/>
                  </a:lnTo>
                  <a:lnTo>
                    <a:pt x="350" y="1425"/>
                  </a:lnTo>
                  <a:lnTo>
                    <a:pt x="354" y="1425"/>
                  </a:lnTo>
                  <a:lnTo>
                    <a:pt x="360" y="1425"/>
                  </a:lnTo>
                  <a:lnTo>
                    <a:pt x="362" y="1427"/>
                  </a:lnTo>
                  <a:lnTo>
                    <a:pt x="364" y="1428"/>
                  </a:lnTo>
                  <a:lnTo>
                    <a:pt x="365" y="1429"/>
                  </a:lnTo>
                  <a:lnTo>
                    <a:pt x="365" y="1430"/>
                  </a:lnTo>
                  <a:lnTo>
                    <a:pt x="371" y="1431"/>
                  </a:lnTo>
                  <a:lnTo>
                    <a:pt x="377" y="1431"/>
                  </a:lnTo>
                  <a:lnTo>
                    <a:pt x="379" y="1432"/>
                  </a:lnTo>
                  <a:lnTo>
                    <a:pt x="381" y="1433"/>
                  </a:lnTo>
                  <a:lnTo>
                    <a:pt x="382" y="1434"/>
                  </a:lnTo>
                  <a:lnTo>
                    <a:pt x="382" y="1435"/>
                  </a:lnTo>
                  <a:lnTo>
                    <a:pt x="396" y="1439"/>
                  </a:lnTo>
                  <a:lnTo>
                    <a:pt x="411" y="1445"/>
                  </a:lnTo>
                  <a:lnTo>
                    <a:pt x="419" y="1449"/>
                  </a:lnTo>
                  <a:lnTo>
                    <a:pt x="426" y="1452"/>
                  </a:lnTo>
                  <a:lnTo>
                    <a:pt x="430" y="1456"/>
                  </a:lnTo>
                  <a:lnTo>
                    <a:pt x="432" y="1458"/>
                  </a:lnTo>
                  <a:lnTo>
                    <a:pt x="449" y="1458"/>
                  </a:lnTo>
                  <a:lnTo>
                    <a:pt x="450" y="1460"/>
                  </a:lnTo>
                  <a:lnTo>
                    <a:pt x="454" y="1462"/>
                  </a:lnTo>
                  <a:lnTo>
                    <a:pt x="459" y="1464"/>
                  </a:lnTo>
                  <a:lnTo>
                    <a:pt x="466" y="1467"/>
                  </a:lnTo>
                  <a:lnTo>
                    <a:pt x="483" y="1470"/>
                  </a:lnTo>
                  <a:lnTo>
                    <a:pt x="502" y="1475"/>
                  </a:lnTo>
                  <a:lnTo>
                    <a:pt x="521" y="1479"/>
                  </a:lnTo>
                  <a:lnTo>
                    <a:pt x="537" y="1483"/>
                  </a:lnTo>
                  <a:lnTo>
                    <a:pt x="544" y="1486"/>
                  </a:lnTo>
                  <a:lnTo>
                    <a:pt x="550" y="1487"/>
                  </a:lnTo>
                  <a:lnTo>
                    <a:pt x="553" y="1489"/>
                  </a:lnTo>
                  <a:lnTo>
                    <a:pt x="554" y="1491"/>
                  </a:lnTo>
                  <a:lnTo>
                    <a:pt x="559" y="1491"/>
                  </a:lnTo>
                  <a:lnTo>
                    <a:pt x="562" y="1492"/>
                  </a:lnTo>
                  <a:lnTo>
                    <a:pt x="564" y="1493"/>
                  </a:lnTo>
                  <a:lnTo>
                    <a:pt x="565" y="1497"/>
                  </a:lnTo>
                  <a:lnTo>
                    <a:pt x="570" y="1497"/>
                  </a:lnTo>
                  <a:lnTo>
                    <a:pt x="573" y="1498"/>
                  </a:lnTo>
                  <a:lnTo>
                    <a:pt x="575" y="1499"/>
                  </a:lnTo>
                  <a:lnTo>
                    <a:pt x="576" y="1502"/>
                  </a:lnTo>
                  <a:lnTo>
                    <a:pt x="590" y="1506"/>
                  </a:lnTo>
                  <a:lnTo>
                    <a:pt x="609" y="1514"/>
                  </a:lnTo>
                  <a:lnTo>
                    <a:pt x="624" y="1521"/>
                  </a:lnTo>
                  <a:lnTo>
                    <a:pt x="632" y="1525"/>
                  </a:lnTo>
                  <a:lnTo>
                    <a:pt x="649" y="1525"/>
                  </a:lnTo>
                  <a:lnTo>
                    <a:pt x="649" y="1528"/>
                  </a:lnTo>
                  <a:lnTo>
                    <a:pt x="652" y="1531"/>
                  </a:lnTo>
                  <a:lnTo>
                    <a:pt x="656" y="1534"/>
                  </a:lnTo>
                  <a:lnTo>
                    <a:pt x="659" y="1535"/>
                  </a:lnTo>
                  <a:lnTo>
                    <a:pt x="664" y="1536"/>
                  </a:lnTo>
                  <a:lnTo>
                    <a:pt x="667" y="1538"/>
                  </a:lnTo>
                  <a:lnTo>
                    <a:pt x="670" y="1539"/>
                  </a:lnTo>
                  <a:lnTo>
                    <a:pt x="670" y="1541"/>
                  </a:lnTo>
                  <a:lnTo>
                    <a:pt x="675" y="1541"/>
                  </a:lnTo>
                  <a:lnTo>
                    <a:pt x="678" y="1541"/>
                  </a:lnTo>
                  <a:lnTo>
                    <a:pt x="680" y="1544"/>
                  </a:lnTo>
                  <a:lnTo>
                    <a:pt x="681" y="1547"/>
                  </a:lnTo>
                  <a:lnTo>
                    <a:pt x="686" y="1547"/>
                  </a:lnTo>
                  <a:lnTo>
                    <a:pt x="689" y="1547"/>
                  </a:lnTo>
                  <a:lnTo>
                    <a:pt x="691" y="1549"/>
                  </a:lnTo>
                  <a:lnTo>
                    <a:pt x="693" y="1553"/>
                  </a:lnTo>
                  <a:lnTo>
                    <a:pt x="754" y="1564"/>
                  </a:lnTo>
                  <a:lnTo>
                    <a:pt x="757" y="1564"/>
                  </a:lnTo>
                  <a:lnTo>
                    <a:pt x="762" y="1564"/>
                  </a:lnTo>
                  <a:lnTo>
                    <a:pt x="764" y="1566"/>
                  </a:lnTo>
                  <a:lnTo>
                    <a:pt x="765" y="1569"/>
                  </a:lnTo>
                  <a:lnTo>
                    <a:pt x="773" y="1569"/>
                  </a:lnTo>
                  <a:lnTo>
                    <a:pt x="786" y="1569"/>
                  </a:lnTo>
                  <a:lnTo>
                    <a:pt x="793" y="1570"/>
                  </a:lnTo>
                  <a:lnTo>
                    <a:pt x="799" y="1572"/>
                  </a:lnTo>
                  <a:lnTo>
                    <a:pt x="802" y="1573"/>
                  </a:lnTo>
                  <a:lnTo>
                    <a:pt x="803" y="1575"/>
                  </a:lnTo>
                  <a:lnTo>
                    <a:pt x="827" y="1574"/>
                  </a:lnTo>
                  <a:lnTo>
                    <a:pt x="862" y="1573"/>
                  </a:lnTo>
                  <a:lnTo>
                    <a:pt x="880" y="1572"/>
                  </a:lnTo>
                  <a:lnTo>
                    <a:pt x="895" y="1569"/>
                  </a:lnTo>
                  <a:lnTo>
                    <a:pt x="900" y="1568"/>
                  </a:lnTo>
                  <a:lnTo>
                    <a:pt x="905" y="1567"/>
                  </a:lnTo>
                  <a:lnTo>
                    <a:pt x="908" y="1565"/>
                  </a:lnTo>
                  <a:lnTo>
                    <a:pt x="909" y="1564"/>
                  </a:lnTo>
                  <a:lnTo>
                    <a:pt x="926" y="1564"/>
                  </a:lnTo>
                  <a:lnTo>
                    <a:pt x="928" y="1558"/>
                  </a:lnTo>
                  <a:lnTo>
                    <a:pt x="931" y="1553"/>
                  </a:lnTo>
                  <a:lnTo>
                    <a:pt x="943" y="1553"/>
                  </a:lnTo>
                  <a:lnTo>
                    <a:pt x="948" y="1547"/>
                  </a:lnTo>
                  <a:lnTo>
                    <a:pt x="949" y="1540"/>
                  </a:lnTo>
                  <a:lnTo>
                    <a:pt x="955" y="1530"/>
                  </a:lnTo>
                  <a:lnTo>
                    <a:pt x="958" y="1526"/>
                  </a:lnTo>
                  <a:lnTo>
                    <a:pt x="962" y="1523"/>
                  </a:lnTo>
                  <a:lnTo>
                    <a:pt x="966" y="1520"/>
                  </a:lnTo>
                  <a:lnTo>
                    <a:pt x="969" y="1519"/>
                  </a:lnTo>
                  <a:lnTo>
                    <a:pt x="971" y="1515"/>
                  </a:lnTo>
                  <a:lnTo>
                    <a:pt x="973" y="1511"/>
                  </a:lnTo>
                  <a:lnTo>
                    <a:pt x="977" y="1509"/>
                  </a:lnTo>
                  <a:lnTo>
                    <a:pt x="981" y="1508"/>
                  </a:lnTo>
                  <a:lnTo>
                    <a:pt x="984" y="1502"/>
                  </a:lnTo>
                  <a:lnTo>
                    <a:pt x="986" y="1497"/>
                  </a:lnTo>
                  <a:lnTo>
                    <a:pt x="988" y="1497"/>
                  </a:lnTo>
                  <a:lnTo>
                    <a:pt x="991" y="1496"/>
                  </a:lnTo>
                  <a:lnTo>
                    <a:pt x="979" y="1485"/>
                  </a:lnTo>
                  <a:lnTo>
                    <a:pt x="969" y="1472"/>
                  </a:lnTo>
                  <a:lnTo>
                    <a:pt x="965" y="1464"/>
                  </a:lnTo>
                  <a:lnTo>
                    <a:pt x="962" y="1456"/>
                  </a:lnTo>
                  <a:lnTo>
                    <a:pt x="959" y="1444"/>
                  </a:lnTo>
                  <a:lnTo>
                    <a:pt x="959" y="1432"/>
                  </a:lnTo>
                  <a:lnTo>
                    <a:pt x="965" y="1284"/>
                  </a:lnTo>
                  <a:lnTo>
                    <a:pt x="960" y="1270"/>
                  </a:lnTo>
                  <a:lnTo>
                    <a:pt x="952" y="1246"/>
                  </a:lnTo>
                  <a:lnTo>
                    <a:pt x="939" y="1214"/>
                  </a:lnTo>
                  <a:lnTo>
                    <a:pt x="924" y="1179"/>
                  </a:lnTo>
                  <a:lnTo>
                    <a:pt x="908" y="1143"/>
                  </a:lnTo>
                  <a:lnTo>
                    <a:pt x="894" y="1111"/>
                  </a:lnTo>
                  <a:lnTo>
                    <a:pt x="882" y="1085"/>
                  </a:lnTo>
                  <a:lnTo>
                    <a:pt x="877" y="1070"/>
                  </a:lnTo>
                  <a:lnTo>
                    <a:pt x="871" y="1065"/>
                  </a:lnTo>
                  <a:lnTo>
                    <a:pt x="863" y="1058"/>
                  </a:lnTo>
                  <a:lnTo>
                    <a:pt x="852" y="1052"/>
                  </a:lnTo>
                  <a:lnTo>
                    <a:pt x="838" y="1045"/>
                  </a:lnTo>
                  <a:lnTo>
                    <a:pt x="822" y="1038"/>
                  </a:lnTo>
                  <a:lnTo>
                    <a:pt x="804" y="1031"/>
                  </a:lnTo>
                  <a:lnTo>
                    <a:pt x="785" y="1026"/>
                  </a:lnTo>
                  <a:lnTo>
                    <a:pt x="767" y="1021"/>
                  </a:lnTo>
                  <a:lnTo>
                    <a:pt x="748" y="1018"/>
                  </a:lnTo>
                  <a:lnTo>
                    <a:pt x="731" y="1017"/>
                  </a:lnTo>
                  <a:lnTo>
                    <a:pt x="722" y="1017"/>
                  </a:lnTo>
                  <a:lnTo>
                    <a:pt x="714" y="1017"/>
                  </a:lnTo>
                  <a:lnTo>
                    <a:pt x="706" y="1018"/>
                  </a:lnTo>
                  <a:lnTo>
                    <a:pt x="698" y="1019"/>
                  </a:lnTo>
                  <a:lnTo>
                    <a:pt x="691" y="1021"/>
                  </a:lnTo>
                  <a:lnTo>
                    <a:pt x="686" y="1025"/>
                  </a:lnTo>
                  <a:lnTo>
                    <a:pt x="680" y="1028"/>
                  </a:lnTo>
                  <a:lnTo>
                    <a:pt x="676" y="1031"/>
                  </a:lnTo>
                  <a:lnTo>
                    <a:pt x="672" y="1037"/>
                  </a:lnTo>
                  <a:lnTo>
                    <a:pt x="670" y="1043"/>
                  </a:lnTo>
                  <a:lnTo>
                    <a:pt x="668" y="1049"/>
                  </a:lnTo>
                  <a:lnTo>
                    <a:pt x="668" y="1056"/>
                  </a:lnTo>
                  <a:lnTo>
                    <a:pt x="667" y="1019"/>
                  </a:lnTo>
                  <a:lnTo>
                    <a:pt x="666" y="989"/>
                  </a:lnTo>
                  <a:lnTo>
                    <a:pt x="665" y="977"/>
                  </a:lnTo>
                  <a:lnTo>
                    <a:pt x="665" y="966"/>
                  </a:lnTo>
                  <a:lnTo>
                    <a:pt x="665" y="954"/>
                  </a:lnTo>
                  <a:lnTo>
                    <a:pt x="666" y="944"/>
                  </a:lnTo>
                  <a:lnTo>
                    <a:pt x="668" y="935"/>
                  </a:lnTo>
                  <a:lnTo>
                    <a:pt x="671" y="925"/>
                  </a:lnTo>
                  <a:lnTo>
                    <a:pt x="676" y="915"/>
                  </a:lnTo>
                  <a:lnTo>
                    <a:pt x="681" y="905"/>
                  </a:lnTo>
                  <a:lnTo>
                    <a:pt x="689" y="895"/>
                  </a:lnTo>
                  <a:lnTo>
                    <a:pt x="698" y="884"/>
                  </a:lnTo>
                  <a:lnTo>
                    <a:pt x="709" y="871"/>
                  </a:lnTo>
                  <a:lnTo>
                    <a:pt x="724" y="857"/>
                  </a:lnTo>
                  <a:lnTo>
                    <a:pt x="737" y="846"/>
                  </a:lnTo>
                  <a:lnTo>
                    <a:pt x="757" y="832"/>
                  </a:lnTo>
                  <a:lnTo>
                    <a:pt x="784" y="815"/>
                  </a:lnTo>
                  <a:lnTo>
                    <a:pt x="814" y="796"/>
                  </a:lnTo>
                  <a:lnTo>
                    <a:pt x="844" y="778"/>
                  </a:lnTo>
                  <a:lnTo>
                    <a:pt x="873" y="760"/>
                  </a:lnTo>
                  <a:lnTo>
                    <a:pt x="899" y="745"/>
                  </a:lnTo>
                  <a:lnTo>
                    <a:pt x="918" y="732"/>
                  </a:lnTo>
                  <a:lnTo>
                    <a:pt x="925" y="726"/>
                  </a:lnTo>
                  <a:lnTo>
                    <a:pt x="931" y="717"/>
                  </a:lnTo>
                  <a:lnTo>
                    <a:pt x="937" y="707"/>
                  </a:lnTo>
                  <a:lnTo>
                    <a:pt x="943" y="694"/>
                  </a:lnTo>
                  <a:lnTo>
                    <a:pt x="954" y="668"/>
                  </a:lnTo>
                  <a:lnTo>
                    <a:pt x="965" y="643"/>
                  </a:lnTo>
                  <a:lnTo>
                    <a:pt x="971" y="633"/>
                  </a:lnTo>
                  <a:lnTo>
                    <a:pt x="976" y="625"/>
                  </a:lnTo>
                  <a:lnTo>
                    <a:pt x="978" y="623"/>
                  </a:lnTo>
                  <a:lnTo>
                    <a:pt x="982" y="622"/>
                  </a:lnTo>
                  <a:lnTo>
                    <a:pt x="985" y="621"/>
                  </a:lnTo>
                  <a:lnTo>
                    <a:pt x="987" y="621"/>
                  </a:lnTo>
                  <a:lnTo>
                    <a:pt x="991" y="623"/>
                  </a:lnTo>
                  <a:lnTo>
                    <a:pt x="994" y="625"/>
                  </a:lnTo>
                  <a:lnTo>
                    <a:pt x="997" y="630"/>
                  </a:lnTo>
                  <a:lnTo>
                    <a:pt x="1001" y="635"/>
                  </a:lnTo>
                  <a:lnTo>
                    <a:pt x="1007" y="650"/>
                  </a:lnTo>
                  <a:lnTo>
                    <a:pt x="1015" y="672"/>
                  </a:lnTo>
                  <a:lnTo>
                    <a:pt x="1027" y="711"/>
                  </a:lnTo>
                  <a:lnTo>
                    <a:pt x="1035" y="733"/>
                  </a:lnTo>
                  <a:lnTo>
                    <a:pt x="1039" y="740"/>
                  </a:lnTo>
                  <a:lnTo>
                    <a:pt x="1042" y="743"/>
                  </a:lnTo>
                  <a:lnTo>
                    <a:pt x="1045" y="745"/>
                  </a:lnTo>
                  <a:lnTo>
                    <a:pt x="1049" y="743"/>
                  </a:lnTo>
                  <a:lnTo>
                    <a:pt x="1060" y="738"/>
                  </a:lnTo>
                  <a:lnTo>
                    <a:pt x="1078" y="729"/>
                  </a:lnTo>
                  <a:lnTo>
                    <a:pt x="1090" y="725"/>
                  </a:lnTo>
                  <a:lnTo>
                    <a:pt x="1106" y="721"/>
                  </a:lnTo>
                  <a:lnTo>
                    <a:pt x="1123" y="719"/>
                  </a:lnTo>
                  <a:lnTo>
                    <a:pt x="1145" y="718"/>
                  </a:lnTo>
                  <a:lnTo>
                    <a:pt x="1161" y="719"/>
                  </a:lnTo>
                  <a:lnTo>
                    <a:pt x="1177" y="720"/>
                  </a:lnTo>
                  <a:lnTo>
                    <a:pt x="1190" y="722"/>
                  </a:lnTo>
                  <a:lnTo>
                    <a:pt x="1203" y="726"/>
                  </a:lnTo>
                  <a:lnTo>
                    <a:pt x="1215" y="729"/>
                  </a:lnTo>
                  <a:lnTo>
                    <a:pt x="1226" y="735"/>
                  </a:lnTo>
                  <a:lnTo>
                    <a:pt x="1235" y="739"/>
                  </a:lnTo>
                  <a:lnTo>
                    <a:pt x="1244" y="746"/>
                  </a:lnTo>
                  <a:lnTo>
                    <a:pt x="1253" y="752"/>
                  </a:lnTo>
                  <a:lnTo>
                    <a:pt x="1260" y="759"/>
                  </a:lnTo>
                  <a:lnTo>
                    <a:pt x="1267" y="767"/>
                  </a:lnTo>
                  <a:lnTo>
                    <a:pt x="1273" y="776"/>
                  </a:lnTo>
                  <a:lnTo>
                    <a:pt x="1284" y="794"/>
                  </a:lnTo>
                  <a:lnTo>
                    <a:pt x="1293" y="813"/>
                  </a:lnTo>
                  <a:lnTo>
                    <a:pt x="1310" y="854"/>
                  </a:lnTo>
                  <a:lnTo>
                    <a:pt x="1326" y="896"/>
                  </a:lnTo>
                  <a:lnTo>
                    <a:pt x="1334" y="916"/>
                  </a:lnTo>
                  <a:lnTo>
                    <a:pt x="1345" y="937"/>
                  </a:lnTo>
                  <a:lnTo>
                    <a:pt x="1350" y="947"/>
                  </a:lnTo>
                  <a:lnTo>
                    <a:pt x="1357" y="956"/>
                  </a:lnTo>
                  <a:lnTo>
                    <a:pt x="1365" y="964"/>
                  </a:lnTo>
                  <a:lnTo>
                    <a:pt x="1372" y="973"/>
                  </a:lnTo>
                  <a:lnTo>
                    <a:pt x="1376" y="978"/>
                  </a:lnTo>
                  <a:lnTo>
                    <a:pt x="1379" y="982"/>
                  </a:lnTo>
                  <a:lnTo>
                    <a:pt x="1380" y="989"/>
                  </a:lnTo>
                  <a:lnTo>
                    <a:pt x="1382" y="996"/>
                  </a:lnTo>
                  <a:lnTo>
                    <a:pt x="1382" y="1004"/>
                  </a:lnTo>
                  <a:lnTo>
                    <a:pt x="1384" y="1012"/>
                  </a:lnTo>
                  <a:lnTo>
                    <a:pt x="1382" y="1021"/>
                  </a:lnTo>
                  <a:lnTo>
                    <a:pt x="1381" y="1030"/>
                  </a:lnTo>
                  <a:lnTo>
                    <a:pt x="1378" y="1050"/>
                  </a:lnTo>
                  <a:lnTo>
                    <a:pt x="1374" y="1070"/>
                  </a:lnTo>
                  <a:lnTo>
                    <a:pt x="1367" y="1092"/>
                  </a:lnTo>
                  <a:lnTo>
                    <a:pt x="1358" y="1112"/>
                  </a:lnTo>
                  <a:lnTo>
                    <a:pt x="1349" y="1130"/>
                  </a:lnTo>
                  <a:lnTo>
                    <a:pt x="1339" y="1146"/>
                  </a:lnTo>
                  <a:lnTo>
                    <a:pt x="1333" y="1154"/>
                  </a:lnTo>
                  <a:lnTo>
                    <a:pt x="1329" y="1160"/>
                  </a:lnTo>
                  <a:lnTo>
                    <a:pt x="1323" y="1165"/>
                  </a:lnTo>
                  <a:lnTo>
                    <a:pt x="1318" y="1170"/>
                  </a:lnTo>
                  <a:lnTo>
                    <a:pt x="1312" y="1174"/>
                  </a:lnTo>
                  <a:lnTo>
                    <a:pt x="1307" y="1177"/>
                  </a:lnTo>
                  <a:lnTo>
                    <a:pt x="1301" y="1178"/>
                  </a:lnTo>
                  <a:lnTo>
                    <a:pt x="1295" y="1178"/>
                  </a:lnTo>
                  <a:lnTo>
                    <a:pt x="1290" y="1177"/>
                  </a:lnTo>
                  <a:lnTo>
                    <a:pt x="1285" y="1173"/>
                  </a:lnTo>
                  <a:lnTo>
                    <a:pt x="1280" y="1169"/>
                  </a:lnTo>
                  <a:lnTo>
                    <a:pt x="1275" y="1163"/>
                  </a:lnTo>
                  <a:lnTo>
                    <a:pt x="1267" y="1151"/>
                  </a:lnTo>
                  <a:lnTo>
                    <a:pt x="1262" y="1137"/>
                  </a:lnTo>
                  <a:lnTo>
                    <a:pt x="1256" y="1124"/>
                  </a:lnTo>
                  <a:lnTo>
                    <a:pt x="1253" y="1111"/>
                  </a:lnTo>
                  <a:lnTo>
                    <a:pt x="1245" y="1086"/>
                  </a:lnTo>
                  <a:lnTo>
                    <a:pt x="1240" y="1067"/>
                  </a:lnTo>
                  <a:lnTo>
                    <a:pt x="1235" y="1059"/>
                  </a:lnTo>
                  <a:lnTo>
                    <a:pt x="1231" y="1055"/>
                  </a:lnTo>
                  <a:lnTo>
                    <a:pt x="1228" y="1053"/>
                  </a:lnTo>
                  <a:lnTo>
                    <a:pt x="1226" y="1052"/>
                  </a:lnTo>
                  <a:lnTo>
                    <a:pt x="1223" y="1052"/>
                  </a:lnTo>
                  <a:lnTo>
                    <a:pt x="1221" y="1053"/>
                  </a:lnTo>
                  <a:lnTo>
                    <a:pt x="1213" y="1056"/>
                  </a:lnTo>
                  <a:lnTo>
                    <a:pt x="1205" y="1063"/>
                  </a:lnTo>
                  <a:lnTo>
                    <a:pt x="1194" y="1074"/>
                  </a:lnTo>
                  <a:lnTo>
                    <a:pt x="1183" y="1088"/>
                  </a:lnTo>
                  <a:lnTo>
                    <a:pt x="1166" y="1114"/>
                  </a:lnTo>
                  <a:lnTo>
                    <a:pt x="1150" y="1142"/>
                  </a:lnTo>
                  <a:lnTo>
                    <a:pt x="1135" y="1173"/>
                  </a:lnTo>
                  <a:lnTo>
                    <a:pt x="1120" y="1207"/>
                  </a:lnTo>
                  <a:lnTo>
                    <a:pt x="1113" y="1225"/>
                  </a:lnTo>
                  <a:lnTo>
                    <a:pt x="1108" y="1241"/>
                  </a:lnTo>
                  <a:lnTo>
                    <a:pt x="1102" y="1258"/>
                  </a:lnTo>
                  <a:lnTo>
                    <a:pt x="1098" y="1275"/>
                  </a:lnTo>
                  <a:lnTo>
                    <a:pt x="1094" y="1291"/>
                  </a:lnTo>
                  <a:lnTo>
                    <a:pt x="1092" y="1308"/>
                  </a:lnTo>
                  <a:lnTo>
                    <a:pt x="1090" y="1324"/>
                  </a:lnTo>
                  <a:lnTo>
                    <a:pt x="1090" y="1339"/>
                  </a:lnTo>
                  <a:lnTo>
                    <a:pt x="1090" y="1342"/>
                  </a:lnTo>
                  <a:lnTo>
                    <a:pt x="1091" y="1344"/>
                  </a:lnTo>
                  <a:lnTo>
                    <a:pt x="1092" y="1345"/>
                  </a:lnTo>
                  <a:lnTo>
                    <a:pt x="1094" y="1346"/>
                  </a:lnTo>
                  <a:lnTo>
                    <a:pt x="1100" y="1348"/>
                  </a:lnTo>
                  <a:lnTo>
                    <a:pt x="1107" y="1350"/>
                  </a:lnTo>
                  <a:lnTo>
                    <a:pt x="1125" y="1348"/>
                  </a:lnTo>
                  <a:lnTo>
                    <a:pt x="1145" y="1345"/>
                  </a:lnTo>
                  <a:lnTo>
                    <a:pt x="1187" y="1335"/>
                  </a:lnTo>
                  <a:lnTo>
                    <a:pt x="1215" y="1329"/>
                  </a:lnTo>
                  <a:lnTo>
                    <a:pt x="1253" y="1331"/>
                  </a:lnTo>
                  <a:lnTo>
                    <a:pt x="1282" y="1332"/>
                  </a:lnTo>
                  <a:lnTo>
                    <a:pt x="1293" y="1332"/>
                  </a:lnTo>
                  <a:lnTo>
                    <a:pt x="1304" y="1331"/>
                  </a:lnTo>
                  <a:lnTo>
                    <a:pt x="1314" y="1329"/>
                  </a:lnTo>
                  <a:lnTo>
                    <a:pt x="1323" y="1327"/>
                  </a:lnTo>
                  <a:lnTo>
                    <a:pt x="1332" y="1324"/>
                  </a:lnTo>
                  <a:lnTo>
                    <a:pt x="1341" y="1319"/>
                  </a:lnTo>
                  <a:lnTo>
                    <a:pt x="1350" y="1314"/>
                  </a:lnTo>
                  <a:lnTo>
                    <a:pt x="1360" y="1306"/>
                  </a:lnTo>
                  <a:lnTo>
                    <a:pt x="1384" y="1286"/>
                  </a:lnTo>
                  <a:lnTo>
                    <a:pt x="1414" y="1256"/>
                  </a:lnTo>
                  <a:lnTo>
                    <a:pt x="1420" y="1250"/>
                  </a:lnTo>
                  <a:lnTo>
                    <a:pt x="1430" y="1243"/>
                  </a:lnTo>
                  <a:lnTo>
                    <a:pt x="1444" y="1237"/>
                  </a:lnTo>
                  <a:lnTo>
                    <a:pt x="1461" y="1228"/>
                  </a:lnTo>
                  <a:lnTo>
                    <a:pt x="1497" y="1209"/>
                  </a:lnTo>
                  <a:lnTo>
                    <a:pt x="1540" y="1187"/>
                  </a:lnTo>
                  <a:lnTo>
                    <a:pt x="1561" y="1174"/>
                  </a:lnTo>
                  <a:lnTo>
                    <a:pt x="1582" y="1161"/>
                  </a:lnTo>
                  <a:lnTo>
                    <a:pt x="1601" y="1149"/>
                  </a:lnTo>
                  <a:lnTo>
                    <a:pt x="1620" y="1134"/>
                  </a:lnTo>
                  <a:lnTo>
                    <a:pt x="1637" y="1120"/>
                  </a:lnTo>
                  <a:lnTo>
                    <a:pt x="1651" y="1105"/>
                  </a:lnTo>
                  <a:lnTo>
                    <a:pt x="1658" y="1098"/>
                  </a:lnTo>
                  <a:lnTo>
                    <a:pt x="1664" y="1091"/>
                  </a:lnTo>
                  <a:lnTo>
                    <a:pt x="1668" y="1083"/>
                  </a:lnTo>
                  <a:lnTo>
                    <a:pt x="1672" y="1075"/>
                  </a:lnTo>
                  <a:lnTo>
                    <a:pt x="1674" y="1070"/>
                  </a:lnTo>
                  <a:lnTo>
                    <a:pt x="1674" y="1066"/>
                  </a:lnTo>
                  <a:lnTo>
                    <a:pt x="1675" y="1063"/>
                  </a:lnTo>
                  <a:lnTo>
                    <a:pt x="1674" y="1058"/>
                  </a:lnTo>
                  <a:lnTo>
                    <a:pt x="1673" y="1049"/>
                  </a:lnTo>
                  <a:lnTo>
                    <a:pt x="1669" y="1040"/>
                  </a:lnTo>
                  <a:lnTo>
                    <a:pt x="1664" y="1031"/>
                  </a:lnTo>
                  <a:lnTo>
                    <a:pt x="1657" y="1023"/>
                  </a:lnTo>
                  <a:lnTo>
                    <a:pt x="1649" y="1014"/>
                  </a:lnTo>
                  <a:lnTo>
                    <a:pt x="1641" y="1006"/>
                  </a:lnTo>
                  <a:lnTo>
                    <a:pt x="1636" y="999"/>
                  </a:lnTo>
                  <a:lnTo>
                    <a:pt x="1631" y="993"/>
                  </a:lnTo>
                  <a:lnTo>
                    <a:pt x="1627" y="987"/>
                  </a:lnTo>
                  <a:lnTo>
                    <a:pt x="1625" y="979"/>
                  </a:lnTo>
                  <a:lnTo>
                    <a:pt x="1621" y="972"/>
                  </a:lnTo>
                  <a:lnTo>
                    <a:pt x="1620" y="964"/>
                  </a:lnTo>
                  <a:lnTo>
                    <a:pt x="1618" y="957"/>
                  </a:lnTo>
                  <a:lnTo>
                    <a:pt x="1617" y="948"/>
                  </a:lnTo>
                  <a:lnTo>
                    <a:pt x="1616" y="931"/>
                  </a:lnTo>
                  <a:lnTo>
                    <a:pt x="1616" y="913"/>
                  </a:lnTo>
                  <a:lnTo>
                    <a:pt x="1617" y="894"/>
                  </a:lnTo>
                  <a:lnTo>
                    <a:pt x="1619" y="875"/>
                  </a:lnTo>
                  <a:lnTo>
                    <a:pt x="1620" y="855"/>
                  </a:lnTo>
                  <a:lnTo>
                    <a:pt x="1621" y="836"/>
                  </a:lnTo>
                  <a:lnTo>
                    <a:pt x="1621" y="816"/>
                  </a:lnTo>
                  <a:lnTo>
                    <a:pt x="1621" y="797"/>
                  </a:lnTo>
                  <a:lnTo>
                    <a:pt x="1619" y="778"/>
                  </a:lnTo>
                  <a:lnTo>
                    <a:pt x="1615" y="760"/>
                  </a:lnTo>
                  <a:lnTo>
                    <a:pt x="1612" y="752"/>
                  </a:lnTo>
                  <a:lnTo>
                    <a:pt x="1608" y="743"/>
                  </a:lnTo>
                  <a:lnTo>
                    <a:pt x="1605" y="736"/>
                  </a:lnTo>
                  <a:lnTo>
                    <a:pt x="1599" y="728"/>
                  </a:lnTo>
                  <a:lnTo>
                    <a:pt x="1591" y="716"/>
                  </a:lnTo>
                  <a:lnTo>
                    <a:pt x="1581" y="703"/>
                  </a:lnTo>
                  <a:lnTo>
                    <a:pt x="1570" y="691"/>
                  </a:lnTo>
                  <a:lnTo>
                    <a:pt x="1558" y="679"/>
                  </a:lnTo>
                  <a:lnTo>
                    <a:pt x="1532" y="653"/>
                  </a:lnTo>
                  <a:lnTo>
                    <a:pt x="1504" y="627"/>
                  </a:lnTo>
                  <a:lnTo>
                    <a:pt x="1477" y="602"/>
                  </a:lnTo>
                  <a:lnTo>
                    <a:pt x="1453" y="576"/>
                  </a:lnTo>
                  <a:lnTo>
                    <a:pt x="1443" y="564"/>
                  </a:lnTo>
                  <a:lnTo>
                    <a:pt x="1433" y="552"/>
                  </a:lnTo>
                  <a:lnTo>
                    <a:pt x="1425" y="539"/>
                  </a:lnTo>
                  <a:lnTo>
                    <a:pt x="1418" y="528"/>
                  </a:lnTo>
                  <a:lnTo>
                    <a:pt x="1404" y="499"/>
                  </a:lnTo>
                  <a:lnTo>
                    <a:pt x="1384" y="464"/>
                  </a:lnTo>
                  <a:lnTo>
                    <a:pt x="1361" y="427"/>
                  </a:lnTo>
                  <a:lnTo>
                    <a:pt x="1334" y="386"/>
                  </a:lnTo>
                  <a:lnTo>
                    <a:pt x="1304" y="345"/>
                  </a:lnTo>
                  <a:lnTo>
                    <a:pt x="1273" y="302"/>
                  </a:lnTo>
                  <a:lnTo>
                    <a:pt x="1240" y="258"/>
                  </a:lnTo>
                  <a:lnTo>
                    <a:pt x="1204" y="216"/>
                  </a:lnTo>
                  <a:lnTo>
                    <a:pt x="1168" y="174"/>
                  </a:lnTo>
                  <a:lnTo>
                    <a:pt x="1131" y="135"/>
                  </a:lnTo>
                  <a:lnTo>
                    <a:pt x="1112" y="117"/>
                  </a:lnTo>
                  <a:lnTo>
                    <a:pt x="1093" y="100"/>
                  </a:lnTo>
                  <a:lnTo>
                    <a:pt x="1075" y="83"/>
                  </a:lnTo>
                  <a:lnTo>
                    <a:pt x="1056" y="68"/>
                  </a:lnTo>
                  <a:lnTo>
                    <a:pt x="1039" y="54"/>
                  </a:lnTo>
                  <a:lnTo>
                    <a:pt x="1021" y="41"/>
                  </a:lnTo>
                  <a:lnTo>
                    <a:pt x="1004" y="30"/>
                  </a:lnTo>
                  <a:lnTo>
                    <a:pt x="986" y="20"/>
                  </a:lnTo>
                  <a:lnTo>
                    <a:pt x="969" y="12"/>
                  </a:lnTo>
                  <a:lnTo>
                    <a:pt x="954" y="7"/>
                  </a:lnTo>
                  <a:lnTo>
                    <a:pt x="938" y="2"/>
                  </a:lnTo>
                  <a:lnTo>
                    <a:pt x="923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2" name="Freeform 38"/>
            <p:cNvSpPr>
              <a:spLocks noChangeAspect="1"/>
            </p:cNvSpPr>
            <p:nvPr/>
          </p:nvSpPr>
          <p:spPr bwMode="gray">
            <a:xfrm rot="355651">
              <a:off x="5445195" y="2962275"/>
              <a:ext cx="184084" cy="223567"/>
            </a:xfrm>
            <a:custGeom>
              <a:avLst/>
              <a:gdLst/>
              <a:ahLst/>
              <a:cxnLst>
                <a:cxn ang="0">
                  <a:pos x="452" y="36"/>
                </a:cxn>
                <a:cxn ang="0">
                  <a:pos x="350" y="44"/>
                </a:cxn>
                <a:cxn ang="0">
                  <a:pos x="291" y="65"/>
                </a:cxn>
                <a:cxn ang="0">
                  <a:pos x="273" y="93"/>
                </a:cxn>
                <a:cxn ang="0">
                  <a:pos x="246" y="144"/>
                </a:cxn>
                <a:cxn ang="0">
                  <a:pos x="222" y="149"/>
                </a:cxn>
                <a:cxn ang="0">
                  <a:pos x="200" y="158"/>
                </a:cxn>
                <a:cxn ang="0">
                  <a:pos x="215" y="193"/>
                </a:cxn>
                <a:cxn ang="0">
                  <a:pos x="237" y="197"/>
                </a:cxn>
                <a:cxn ang="0">
                  <a:pos x="260" y="264"/>
                </a:cxn>
                <a:cxn ang="0">
                  <a:pos x="215" y="309"/>
                </a:cxn>
                <a:cxn ang="0">
                  <a:pos x="179" y="338"/>
                </a:cxn>
                <a:cxn ang="0">
                  <a:pos x="162" y="382"/>
                </a:cxn>
                <a:cxn ang="0">
                  <a:pos x="139" y="408"/>
                </a:cxn>
                <a:cxn ang="0">
                  <a:pos x="60" y="439"/>
                </a:cxn>
                <a:cxn ang="0">
                  <a:pos x="8" y="462"/>
                </a:cxn>
                <a:cxn ang="0">
                  <a:pos x="2" y="574"/>
                </a:cxn>
                <a:cxn ang="0">
                  <a:pos x="16" y="756"/>
                </a:cxn>
                <a:cxn ang="0">
                  <a:pos x="92" y="744"/>
                </a:cxn>
                <a:cxn ang="0">
                  <a:pos x="150" y="759"/>
                </a:cxn>
                <a:cxn ang="0">
                  <a:pos x="181" y="788"/>
                </a:cxn>
                <a:cxn ang="0">
                  <a:pos x="179" y="861"/>
                </a:cxn>
                <a:cxn ang="0">
                  <a:pos x="157" y="925"/>
                </a:cxn>
                <a:cxn ang="0">
                  <a:pos x="177" y="1004"/>
                </a:cxn>
                <a:cxn ang="0">
                  <a:pos x="190" y="1031"/>
                </a:cxn>
                <a:cxn ang="0">
                  <a:pos x="204" y="1166"/>
                </a:cxn>
                <a:cxn ang="0">
                  <a:pos x="217" y="1203"/>
                </a:cxn>
                <a:cxn ang="0">
                  <a:pos x="240" y="1255"/>
                </a:cxn>
                <a:cxn ang="0">
                  <a:pos x="258" y="1292"/>
                </a:cxn>
                <a:cxn ang="0">
                  <a:pos x="280" y="1307"/>
                </a:cxn>
                <a:cxn ang="0">
                  <a:pos x="284" y="1260"/>
                </a:cxn>
                <a:cxn ang="0">
                  <a:pos x="392" y="1255"/>
                </a:cxn>
                <a:cxn ang="0">
                  <a:pos x="526" y="1285"/>
                </a:cxn>
                <a:cxn ang="0">
                  <a:pos x="641" y="1378"/>
                </a:cxn>
                <a:cxn ang="0">
                  <a:pos x="664" y="1384"/>
                </a:cxn>
                <a:cxn ang="0">
                  <a:pos x="816" y="1355"/>
                </a:cxn>
                <a:cxn ang="0">
                  <a:pos x="943" y="1339"/>
                </a:cxn>
                <a:cxn ang="0">
                  <a:pos x="1014" y="1302"/>
                </a:cxn>
                <a:cxn ang="0">
                  <a:pos x="996" y="1266"/>
                </a:cxn>
                <a:cxn ang="0">
                  <a:pos x="975" y="1205"/>
                </a:cxn>
                <a:cxn ang="0">
                  <a:pos x="964" y="1135"/>
                </a:cxn>
                <a:cxn ang="0">
                  <a:pos x="958" y="1093"/>
                </a:cxn>
                <a:cxn ang="0">
                  <a:pos x="941" y="981"/>
                </a:cxn>
                <a:cxn ang="0">
                  <a:pos x="925" y="949"/>
                </a:cxn>
                <a:cxn ang="0">
                  <a:pos x="913" y="819"/>
                </a:cxn>
                <a:cxn ang="0">
                  <a:pos x="899" y="785"/>
                </a:cxn>
                <a:cxn ang="0">
                  <a:pos x="883" y="744"/>
                </a:cxn>
                <a:cxn ang="0">
                  <a:pos x="852" y="727"/>
                </a:cxn>
                <a:cxn ang="0">
                  <a:pos x="816" y="723"/>
                </a:cxn>
                <a:cxn ang="0">
                  <a:pos x="741" y="664"/>
                </a:cxn>
                <a:cxn ang="0">
                  <a:pos x="728" y="638"/>
                </a:cxn>
                <a:cxn ang="0">
                  <a:pos x="723" y="609"/>
                </a:cxn>
                <a:cxn ang="0">
                  <a:pos x="695" y="572"/>
                </a:cxn>
                <a:cxn ang="0">
                  <a:pos x="698" y="327"/>
                </a:cxn>
                <a:cxn ang="0">
                  <a:pos x="692" y="233"/>
                </a:cxn>
                <a:cxn ang="0">
                  <a:pos x="664" y="175"/>
                </a:cxn>
                <a:cxn ang="0">
                  <a:pos x="638" y="119"/>
                </a:cxn>
                <a:cxn ang="0">
                  <a:pos x="628" y="71"/>
                </a:cxn>
                <a:cxn ang="0">
                  <a:pos x="581" y="63"/>
                </a:cxn>
                <a:cxn ang="0">
                  <a:pos x="521" y="53"/>
                </a:cxn>
                <a:cxn ang="0">
                  <a:pos x="507" y="19"/>
                </a:cxn>
                <a:cxn ang="0">
                  <a:pos x="497" y="0"/>
                </a:cxn>
              </a:cxnLst>
              <a:rect l="0" t="0" r="r" b="b"/>
              <a:pathLst>
                <a:path w="1023" h="1388">
                  <a:moveTo>
                    <a:pt x="475" y="0"/>
                  </a:moveTo>
                  <a:lnTo>
                    <a:pt x="475" y="26"/>
                  </a:lnTo>
                  <a:lnTo>
                    <a:pt x="471" y="31"/>
                  </a:lnTo>
                  <a:lnTo>
                    <a:pt x="466" y="35"/>
                  </a:lnTo>
                  <a:lnTo>
                    <a:pt x="459" y="35"/>
                  </a:lnTo>
                  <a:lnTo>
                    <a:pt x="453" y="35"/>
                  </a:lnTo>
                  <a:lnTo>
                    <a:pt x="452" y="36"/>
                  </a:lnTo>
                  <a:lnTo>
                    <a:pt x="449" y="39"/>
                  </a:lnTo>
                  <a:lnTo>
                    <a:pt x="445" y="40"/>
                  </a:lnTo>
                  <a:lnTo>
                    <a:pt x="438" y="41"/>
                  </a:lnTo>
                  <a:lnTo>
                    <a:pt x="424" y="42"/>
                  </a:lnTo>
                  <a:lnTo>
                    <a:pt x="406" y="43"/>
                  </a:lnTo>
                  <a:lnTo>
                    <a:pt x="371" y="44"/>
                  </a:lnTo>
                  <a:lnTo>
                    <a:pt x="350" y="44"/>
                  </a:lnTo>
                  <a:lnTo>
                    <a:pt x="342" y="47"/>
                  </a:lnTo>
                  <a:lnTo>
                    <a:pt x="327" y="51"/>
                  </a:lnTo>
                  <a:lnTo>
                    <a:pt x="310" y="55"/>
                  </a:lnTo>
                  <a:lnTo>
                    <a:pt x="300" y="58"/>
                  </a:lnTo>
                  <a:lnTo>
                    <a:pt x="299" y="61"/>
                  </a:lnTo>
                  <a:lnTo>
                    <a:pt x="295" y="64"/>
                  </a:lnTo>
                  <a:lnTo>
                    <a:pt x="291" y="65"/>
                  </a:lnTo>
                  <a:lnTo>
                    <a:pt x="286" y="67"/>
                  </a:lnTo>
                  <a:lnTo>
                    <a:pt x="284" y="73"/>
                  </a:lnTo>
                  <a:lnTo>
                    <a:pt x="282" y="80"/>
                  </a:lnTo>
                  <a:lnTo>
                    <a:pt x="279" y="82"/>
                  </a:lnTo>
                  <a:lnTo>
                    <a:pt x="276" y="86"/>
                  </a:lnTo>
                  <a:lnTo>
                    <a:pt x="274" y="90"/>
                  </a:lnTo>
                  <a:lnTo>
                    <a:pt x="273" y="93"/>
                  </a:lnTo>
                  <a:lnTo>
                    <a:pt x="264" y="98"/>
                  </a:lnTo>
                  <a:lnTo>
                    <a:pt x="264" y="109"/>
                  </a:lnTo>
                  <a:lnTo>
                    <a:pt x="264" y="120"/>
                  </a:lnTo>
                  <a:lnTo>
                    <a:pt x="264" y="130"/>
                  </a:lnTo>
                  <a:lnTo>
                    <a:pt x="264" y="139"/>
                  </a:lnTo>
                  <a:lnTo>
                    <a:pt x="255" y="141"/>
                  </a:lnTo>
                  <a:lnTo>
                    <a:pt x="246" y="144"/>
                  </a:lnTo>
                  <a:lnTo>
                    <a:pt x="246" y="145"/>
                  </a:lnTo>
                  <a:lnTo>
                    <a:pt x="245" y="146"/>
                  </a:lnTo>
                  <a:lnTo>
                    <a:pt x="243" y="147"/>
                  </a:lnTo>
                  <a:lnTo>
                    <a:pt x="241" y="147"/>
                  </a:lnTo>
                  <a:lnTo>
                    <a:pt x="235" y="148"/>
                  </a:lnTo>
                  <a:lnTo>
                    <a:pt x="228" y="148"/>
                  </a:lnTo>
                  <a:lnTo>
                    <a:pt x="222" y="149"/>
                  </a:lnTo>
                  <a:lnTo>
                    <a:pt x="216" y="150"/>
                  </a:lnTo>
                  <a:lnTo>
                    <a:pt x="214" y="151"/>
                  </a:lnTo>
                  <a:lnTo>
                    <a:pt x="212" y="153"/>
                  </a:lnTo>
                  <a:lnTo>
                    <a:pt x="210" y="155"/>
                  </a:lnTo>
                  <a:lnTo>
                    <a:pt x="210" y="157"/>
                  </a:lnTo>
                  <a:lnTo>
                    <a:pt x="202" y="157"/>
                  </a:lnTo>
                  <a:lnTo>
                    <a:pt x="200" y="158"/>
                  </a:lnTo>
                  <a:lnTo>
                    <a:pt x="198" y="161"/>
                  </a:lnTo>
                  <a:lnTo>
                    <a:pt x="196" y="164"/>
                  </a:lnTo>
                  <a:lnTo>
                    <a:pt x="193" y="166"/>
                  </a:lnTo>
                  <a:lnTo>
                    <a:pt x="193" y="179"/>
                  </a:lnTo>
                  <a:lnTo>
                    <a:pt x="202" y="184"/>
                  </a:lnTo>
                  <a:lnTo>
                    <a:pt x="206" y="193"/>
                  </a:lnTo>
                  <a:lnTo>
                    <a:pt x="215" y="193"/>
                  </a:lnTo>
                  <a:lnTo>
                    <a:pt x="224" y="193"/>
                  </a:lnTo>
                  <a:lnTo>
                    <a:pt x="224" y="194"/>
                  </a:lnTo>
                  <a:lnTo>
                    <a:pt x="225" y="195"/>
                  </a:lnTo>
                  <a:lnTo>
                    <a:pt x="227" y="196"/>
                  </a:lnTo>
                  <a:lnTo>
                    <a:pt x="228" y="196"/>
                  </a:lnTo>
                  <a:lnTo>
                    <a:pt x="233" y="197"/>
                  </a:lnTo>
                  <a:lnTo>
                    <a:pt x="237" y="197"/>
                  </a:lnTo>
                  <a:lnTo>
                    <a:pt x="242" y="202"/>
                  </a:lnTo>
                  <a:lnTo>
                    <a:pt x="245" y="214"/>
                  </a:lnTo>
                  <a:lnTo>
                    <a:pt x="251" y="230"/>
                  </a:lnTo>
                  <a:lnTo>
                    <a:pt x="254" y="238"/>
                  </a:lnTo>
                  <a:lnTo>
                    <a:pt x="257" y="247"/>
                  </a:lnTo>
                  <a:lnTo>
                    <a:pt x="258" y="256"/>
                  </a:lnTo>
                  <a:lnTo>
                    <a:pt x="260" y="264"/>
                  </a:lnTo>
                  <a:lnTo>
                    <a:pt x="255" y="270"/>
                  </a:lnTo>
                  <a:lnTo>
                    <a:pt x="250" y="278"/>
                  </a:lnTo>
                  <a:lnTo>
                    <a:pt x="244" y="285"/>
                  </a:lnTo>
                  <a:lnTo>
                    <a:pt x="242" y="291"/>
                  </a:lnTo>
                  <a:lnTo>
                    <a:pt x="237" y="295"/>
                  </a:lnTo>
                  <a:lnTo>
                    <a:pt x="226" y="302"/>
                  </a:lnTo>
                  <a:lnTo>
                    <a:pt x="215" y="309"/>
                  </a:lnTo>
                  <a:lnTo>
                    <a:pt x="210" y="313"/>
                  </a:lnTo>
                  <a:lnTo>
                    <a:pt x="208" y="318"/>
                  </a:lnTo>
                  <a:lnTo>
                    <a:pt x="203" y="322"/>
                  </a:lnTo>
                  <a:lnTo>
                    <a:pt x="195" y="326"/>
                  </a:lnTo>
                  <a:lnTo>
                    <a:pt x="188" y="328"/>
                  </a:lnTo>
                  <a:lnTo>
                    <a:pt x="184" y="332"/>
                  </a:lnTo>
                  <a:lnTo>
                    <a:pt x="179" y="338"/>
                  </a:lnTo>
                  <a:lnTo>
                    <a:pt x="174" y="343"/>
                  </a:lnTo>
                  <a:lnTo>
                    <a:pt x="170" y="346"/>
                  </a:lnTo>
                  <a:lnTo>
                    <a:pt x="169" y="352"/>
                  </a:lnTo>
                  <a:lnTo>
                    <a:pt x="168" y="361"/>
                  </a:lnTo>
                  <a:lnTo>
                    <a:pt x="166" y="371"/>
                  </a:lnTo>
                  <a:lnTo>
                    <a:pt x="166" y="381"/>
                  </a:lnTo>
                  <a:lnTo>
                    <a:pt x="162" y="382"/>
                  </a:lnTo>
                  <a:lnTo>
                    <a:pt x="161" y="384"/>
                  </a:lnTo>
                  <a:lnTo>
                    <a:pt x="161" y="387"/>
                  </a:lnTo>
                  <a:lnTo>
                    <a:pt x="161" y="390"/>
                  </a:lnTo>
                  <a:lnTo>
                    <a:pt x="156" y="392"/>
                  </a:lnTo>
                  <a:lnTo>
                    <a:pt x="148" y="397"/>
                  </a:lnTo>
                  <a:lnTo>
                    <a:pt x="141" y="404"/>
                  </a:lnTo>
                  <a:lnTo>
                    <a:pt x="139" y="408"/>
                  </a:lnTo>
                  <a:lnTo>
                    <a:pt x="131" y="408"/>
                  </a:lnTo>
                  <a:lnTo>
                    <a:pt x="125" y="410"/>
                  </a:lnTo>
                  <a:lnTo>
                    <a:pt x="117" y="413"/>
                  </a:lnTo>
                  <a:lnTo>
                    <a:pt x="109" y="415"/>
                  </a:lnTo>
                  <a:lnTo>
                    <a:pt x="92" y="423"/>
                  </a:lnTo>
                  <a:lnTo>
                    <a:pt x="77" y="430"/>
                  </a:lnTo>
                  <a:lnTo>
                    <a:pt x="60" y="439"/>
                  </a:lnTo>
                  <a:lnTo>
                    <a:pt x="44" y="446"/>
                  </a:lnTo>
                  <a:lnTo>
                    <a:pt x="37" y="449"/>
                  </a:lnTo>
                  <a:lnTo>
                    <a:pt x="30" y="451"/>
                  </a:lnTo>
                  <a:lnTo>
                    <a:pt x="23" y="453"/>
                  </a:lnTo>
                  <a:lnTo>
                    <a:pt x="17" y="453"/>
                  </a:lnTo>
                  <a:lnTo>
                    <a:pt x="17" y="462"/>
                  </a:lnTo>
                  <a:lnTo>
                    <a:pt x="8" y="462"/>
                  </a:lnTo>
                  <a:lnTo>
                    <a:pt x="7" y="465"/>
                  </a:lnTo>
                  <a:lnTo>
                    <a:pt x="4" y="468"/>
                  </a:lnTo>
                  <a:lnTo>
                    <a:pt x="1" y="471"/>
                  </a:lnTo>
                  <a:lnTo>
                    <a:pt x="0" y="471"/>
                  </a:lnTo>
                  <a:lnTo>
                    <a:pt x="0" y="505"/>
                  </a:lnTo>
                  <a:lnTo>
                    <a:pt x="1" y="540"/>
                  </a:lnTo>
                  <a:lnTo>
                    <a:pt x="2" y="574"/>
                  </a:lnTo>
                  <a:lnTo>
                    <a:pt x="4" y="610"/>
                  </a:lnTo>
                  <a:lnTo>
                    <a:pt x="5" y="645"/>
                  </a:lnTo>
                  <a:lnTo>
                    <a:pt x="7" y="678"/>
                  </a:lnTo>
                  <a:lnTo>
                    <a:pt x="7" y="713"/>
                  </a:lnTo>
                  <a:lnTo>
                    <a:pt x="8" y="745"/>
                  </a:lnTo>
                  <a:lnTo>
                    <a:pt x="12" y="750"/>
                  </a:lnTo>
                  <a:lnTo>
                    <a:pt x="16" y="756"/>
                  </a:lnTo>
                  <a:lnTo>
                    <a:pt x="21" y="763"/>
                  </a:lnTo>
                  <a:lnTo>
                    <a:pt x="22" y="767"/>
                  </a:lnTo>
                  <a:lnTo>
                    <a:pt x="58" y="767"/>
                  </a:lnTo>
                  <a:lnTo>
                    <a:pt x="68" y="759"/>
                  </a:lnTo>
                  <a:lnTo>
                    <a:pt x="77" y="752"/>
                  </a:lnTo>
                  <a:lnTo>
                    <a:pt x="84" y="747"/>
                  </a:lnTo>
                  <a:lnTo>
                    <a:pt x="92" y="744"/>
                  </a:lnTo>
                  <a:lnTo>
                    <a:pt x="99" y="743"/>
                  </a:lnTo>
                  <a:lnTo>
                    <a:pt x="106" y="742"/>
                  </a:lnTo>
                  <a:lnTo>
                    <a:pt x="111" y="743"/>
                  </a:lnTo>
                  <a:lnTo>
                    <a:pt x="118" y="745"/>
                  </a:lnTo>
                  <a:lnTo>
                    <a:pt x="130" y="750"/>
                  </a:lnTo>
                  <a:lnTo>
                    <a:pt x="142" y="756"/>
                  </a:lnTo>
                  <a:lnTo>
                    <a:pt x="150" y="759"/>
                  </a:lnTo>
                  <a:lnTo>
                    <a:pt x="157" y="761"/>
                  </a:lnTo>
                  <a:lnTo>
                    <a:pt x="166" y="762"/>
                  </a:lnTo>
                  <a:lnTo>
                    <a:pt x="175" y="763"/>
                  </a:lnTo>
                  <a:lnTo>
                    <a:pt x="177" y="772"/>
                  </a:lnTo>
                  <a:lnTo>
                    <a:pt x="179" y="785"/>
                  </a:lnTo>
                  <a:lnTo>
                    <a:pt x="180" y="786"/>
                  </a:lnTo>
                  <a:lnTo>
                    <a:pt x="181" y="788"/>
                  </a:lnTo>
                  <a:lnTo>
                    <a:pt x="183" y="791"/>
                  </a:lnTo>
                  <a:lnTo>
                    <a:pt x="184" y="795"/>
                  </a:lnTo>
                  <a:lnTo>
                    <a:pt x="186" y="805"/>
                  </a:lnTo>
                  <a:lnTo>
                    <a:pt x="187" y="818"/>
                  </a:lnTo>
                  <a:lnTo>
                    <a:pt x="188" y="842"/>
                  </a:lnTo>
                  <a:lnTo>
                    <a:pt x="188" y="857"/>
                  </a:lnTo>
                  <a:lnTo>
                    <a:pt x="179" y="861"/>
                  </a:lnTo>
                  <a:lnTo>
                    <a:pt x="179" y="875"/>
                  </a:lnTo>
                  <a:lnTo>
                    <a:pt x="170" y="891"/>
                  </a:lnTo>
                  <a:lnTo>
                    <a:pt x="161" y="907"/>
                  </a:lnTo>
                  <a:lnTo>
                    <a:pt x="161" y="913"/>
                  </a:lnTo>
                  <a:lnTo>
                    <a:pt x="160" y="917"/>
                  </a:lnTo>
                  <a:lnTo>
                    <a:pt x="159" y="921"/>
                  </a:lnTo>
                  <a:lnTo>
                    <a:pt x="157" y="925"/>
                  </a:lnTo>
                  <a:lnTo>
                    <a:pt x="158" y="943"/>
                  </a:lnTo>
                  <a:lnTo>
                    <a:pt x="161" y="962"/>
                  </a:lnTo>
                  <a:lnTo>
                    <a:pt x="164" y="981"/>
                  </a:lnTo>
                  <a:lnTo>
                    <a:pt x="166" y="996"/>
                  </a:lnTo>
                  <a:lnTo>
                    <a:pt x="171" y="1000"/>
                  </a:lnTo>
                  <a:lnTo>
                    <a:pt x="176" y="1002"/>
                  </a:lnTo>
                  <a:lnTo>
                    <a:pt x="177" y="1004"/>
                  </a:lnTo>
                  <a:lnTo>
                    <a:pt x="178" y="1006"/>
                  </a:lnTo>
                  <a:lnTo>
                    <a:pt x="179" y="1010"/>
                  </a:lnTo>
                  <a:lnTo>
                    <a:pt x="179" y="1014"/>
                  </a:lnTo>
                  <a:lnTo>
                    <a:pt x="184" y="1023"/>
                  </a:lnTo>
                  <a:lnTo>
                    <a:pt x="186" y="1025"/>
                  </a:lnTo>
                  <a:lnTo>
                    <a:pt x="188" y="1028"/>
                  </a:lnTo>
                  <a:lnTo>
                    <a:pt x="190" y="1031"/>
                  </a:lnTo>
                  <a:lnTo>
                    <a:pt x="192" y="1034"/>
                  </a:lnTo>
                  <a:lnTo>
                    <a:pt x="195" y="1044"/>
                  </a:lnTo>
                  <a:lnTo>
                    <a:pt x="196" y="1055"/>
                  </a:lnTo>
                  <a:lnTo>
                    <a:pt x="199" y="1082"/>
                  </a:lnTo>
                  <a:lnTo>
                    <a:pt x="200" y="1111"/>
                  </a:lnTo>
                  <a:lnTo>
                    <a:pt x="202" y="1140"/>
                  </a:lnTo>
                  <a:lnTo>
                    <a:pt x="204" y="1166"/>
                  </a:lnTo>
                  <a:lnTo>
                    <a:pt x="206" y="1175"/>
                  </a:lnTo>
                  <a:lnTo>
                    <a:pt x="208" y="1183"/>
                  </a:lnTo>
                  <a:lnTo>
                    <a:pt x="209" y="1186"/>
                  </a:lnTo>
                  <a:lnTo>
                    <a:pt x="212" y="1188"/>
                  </a:lnTo>
                  <a:lnTo>
                    <a:pt x="213" y="1189"/>
                  </a:lnTo>
                  <a:lnTo>
                    <a:pt x="215" y="1189"/>
                  </a:lnTo>
                  <a:lnTo>
                    <a:pt x="217" y="1203"/>
                  </a:lnTo>
                  <a:lnTo>
                    <a:pt x="219" y="1216"/>
                  </a:lnTo>
                  <a:lnTo>
                    <a:pt x="228" y="1225"/>
                  </a:lnTo>
                  <a:lnTo>
                    <a:pt x="229" y="1232"/>
                  </a:lnTo>
                  <a:lnTo>
                    <a:pt x="234" y="1243"/>
                  </a:lnTo>
                  <a:lnTo>
                    <a:pt x="235" y="1249"/>
                  </a:lnTo>
                  <a:lnTo>
                    <a:pt x="237" y="1253"/>
                  </a:lnTo>
                  <a:lnTo>
                    <a:pt x="240" y="1255"/>
                  </a:lnTo>
                  <a:lnTo>
                    <a:pt x="242" y="1257"/>
                  </a:lnTo>
                  <a:lnTo>
                    <a:pt x="242" y="1266"/>
                  </a:lnTo>
                  <a:lnTo>
                    <a:pt x="245" y="1269"/>
                  </a:lnTo>
                  <a:lnTo>
                    <a:pt x="251" y="1276"/>
                  </a:lnTo>
                  <a:lnTo>
                    <a:pt x="254" y="1282"/>
                  </a:lnTo>
                  <a:lnTo>
                    <a:pt x="257" y="1286"/>
                  </a:lnTo>
                  <a:lnTo>
                    <a:pt x="258" y="1292"/>
                  </a:lnTo>
                  <a:lnTo>
                    <a:pt x="260" y="1298"/>
                  </a:lnTo>
                  <a:lnTo>
                    <a:pt x="264" y="1298"/>
                  </a:lnTo>
                  <a:lnTo>
                    <a:pt x="269" y="1300"/>
                  </a:lnTo>
                  <a:lnTo>
                    <a:pt x="272" y="1303"/>
                  </a:lnTo>
                  <a:lnTo>
                    <a:pt x="273" y="1307"/>
                  </a:lnTo>
                  <a:lnTo>
                    <a:pt x="276" y="1307"/>
                  </a:lnTo>
                  <a:lnTo>
                    <a:pt x="280" y="1307"/>
                  </a:lnTo>
                  <a:lnTo>
                    <a:pt x="279" y="1291"/>
                  </a:lnTo>
                  <a:lnTo>
                    <a:pt x="280" y="1278"/>
                  </a:lnTo>
                  <a:lnTo>
                    <a:pt x="281" y="1272"/>
                  </a:lnTo>
                  <a:lnTo>
                    <a:pt x="281" y="1269"/>
                  </a:lnTo>
                  <a:lnTo>
                    <a:pt x="283" y="1266"/>
                  </a:lnTo>
                  <a:lnTo>
                    <a:pt x="284" y="1265"/>
                  </a:lnTo>
                  <a:lnTo>
                    <a:pt x="284" y="1260"/>
                  </a:lnTo>
                  <a:lnTo>
                    <a:pt x="288" y="1259"/>
                  </a:lnTo>
                  <a:lnTo>
                    <a:pt x="290" y="1257"/>
                  </a:lnTo>
                  <a:lnTo>
                    <a:pt x="292" y="1255"/>
                  </a:lnTo>
                  <a:lnTo>
                    <a:pt x="293" y="1253"/>
                  </a:lnTo>
                  <a:lnTo>
                    <a:pt x="333" y="1253"/>
                  </a:lnTo>
                  <a:lnTo>
                    <a:pt x="372" y="1254"/>
                  </a:lnTo>
                  <a:lnTo>
                    <a:pt x="392" y="1255"/>
                  </a:lnTo>
                  <a:lnTo>
                    <a:pt x="413" y="1257"/>
                  </a:lnTo>
                  <a:lnTo>
                    <a:pt x="433" y="1260"/>
                  </a:lnTo>
                  <a:lnTo>
                    <a:pt x="453" y="1263"/>
                  </a:lnTo>
                  <a:lnTo>
                    <a:pt x="472" y="1266"/>
                  </a:lnTo>
                  <a:lnTo>
                    <a:pt x="491" y="1272"/>
                  </a:lnTo>
                  <a:lnTo>
                    <a:pt x="509" y="1278"/>
                  </a:lnTo>
                  <a:lnTo>
                    <a:pt x="526" y="1285"/>
                  </a:lnTo>
                  <a:lnTo>
                    <a:pt x="544" y="1294"/>
                  </a:lnTo>
                  <a:lnTo>
                    <a:pt x="560" y="1304"/>
                  </a:lnTo>
                  <a:lnTo>
                    <a:pt x="576" y="1315"/>
                  </a:lnTo>
                  <a:lnTo>
                    <a:pt x="591" y="1329"/>
                  </a:lnTo>
                  <a:lnTo>
                    <a:pt x="603" y="1342"/>
                  </a:lnTo>
                  <a:lnTo>
                    <a:pt x="628" y="1367"/>
                  </a:lnTo>
                  <a:lnTo>
                    <a:pt x="641" y="1378"/>
                  </a:lnTo>
                  <a:lnTo>
                    <a:pt x="653" y="1386"/>
                  </a:lnTo>
                  <a:lnTo>
                    <a:pt x="657" y="1388"/>
                  </a:lnTo>
                  <a:lnTo>
                    <a:pt x="660" y="1388"/>
                  </a:lnTo>
                  <a:lnTo>
                    <a:pt x="661" y="1388"/>
                  </a:lnTo>
                  <a:lnTo>
                    <a:pt x="663" y="1387"/>
                  </a:lnTo>
                  <a:lnTo>
                    <a:pt x="663" y="1386"/>
                  </a:lnTo>
                  <a:lnTo>
                    <a:pt x="664" y="1384"/>
                  </a:lnTo>
                  <a:lnTo>
                    <a:pt x="678" y="1384"/>
                  </a:lnTo>
                  <a:lnTo>
                    <a:pt x="693" y="1381"/>
                  </a:lnTo>
                  <a:lnTo>
                    <a:pt x="708" y="1380"/>
                  </a:lnTo>
                  <a:lnTo>
                    <a:pt x="724" y="1377"/>
                  </a:lnTo>
                  <a:lnTo>
                    <a:pt x="754" y="1370"/>
                  </a:lnTo>
                  <a:lnTo>
                    <a:pt x="785" y="1362"/>
                  </a:lnTo>
                  <a:lnTo>
                    <a:pt x="816" y="1355"/>
                  </a:lnTo>
                  <a:lnTo>
                    <a:pt x="847" y="1348"/>
                  </a:lnTo>
                  <a:lnTo>
                    <a:pt x="862" y="1346"/>
                  </a:lnTo>
                  <a:lnTo>
                    <a:pt x="878" y="1343"/>
                  </a:lnTo>
                  <a:lnTo>
                    <a:pt x="894" y="1342"/>
                  </a:lnTo>
                  <a:lnTo>
                    <a:pt x="909" y="1341"/>
                  </a:lnTo>
                  <a:lnTo>
                    <a:pt x="926" y="1341"/>
                  </a:lnTo>
                  <a:lnTo>
                    <a:pt x="943" y="1339"/>
                  </a:lnTo>
                  <a:lnTo>
                    <a:pt x="957" y="1337"/>
                  </a:lnTo>
                  <a:lnTo>
                    <a:pt x="972" y="1333"/>
                  </a:lnTo>
                  <a:lnTo>
                    <a:pt x="997" y="1327"/>
                  </a:lnTo>
                  <a:lnTo>
                    <a:pt x="1023" y="1318"/>
                  </a:lnTo>
                  <a:lnTo>
                    <a:pt x="1019" y="1313"/>
                  </a:lnTo>
                  <a:lnTo>
                    <a:pt x="1014" y="1311"/>
                  </a:lnTo>
                  <a:lnTo>
                    <a:pt x="1014" y="1302"/>
                  </a:lnTo>
                  <a:lnTo>
                    <a:pt x="1005" y="1293"/>
                  </a:lnTo>
                  <a:lnTo>
                    <a:pt x="1005" y="1285"/>
                  </a:lnTo>
                  <a:lnTo>
                    <a:pt x="1004" y="1276"/>
                  </a:lnTo>
                  <a:lnTo>
                    <a:pt x="1003" y="1272"/>
                  </a:lnTo>
                  <a:lnTo>
                    <a:pt x="1002" y="1269"/>
                  </a:lnTo>
                  <a:lnTo>
                    <a:pt x="1000" y="1266"/>
                  </a:lnTo>
                  <a:lnTo>
                    <a:pt x="996" y="1266"/>
                  </a:lnTo>
                  <a:lnTo>
                    <a:pt x="996" y="1257"/>
                  </a:lnTo>
                  <a:lnTo>
                    <a:pt x="989" y="1246"/>
                  </a:lnTo>
                  <a:lnTo>
                    <a:pt x="983" y="1238"/>
                  </a:lnTo>
                  <a:lnTo>
                    <a:pt x="981" y="1223"/>
                  </a:lnTo>
                  <a:lnTo>
                    <a:pt x="979" y="1207"/>
                  </a:lnTo>
                  <a:lnTo>
                    <a:pt x="977" y="1207"/>
                  </a:lnTo>
                  <a:lnTo>
                    <a:pt x="975" y="1205"/>
                  </a:lnTo>
                  <a:lnTo>
                    <a:pt x="974" y="1202"/>
                  </a:lnTo>
                  <a:lnTo>
                    <a:pt x="973" y="1197"/>
                  </a:lnTo>
                  <a:lnTo>
                    <a:pt x="971" y="1187"/>
                  </a:lnTo>
                  <a:lnTo>
                    <a:pt x="968" y="1175"/>
                  </a:lnTo>
                  <a:lnTo>
                    <a:pt x="966" y="1150"/>
                  </a:lnTo>
                  <a:lnTo>
                    <a:pt x="965" y="1136"/>
                  </a:lnTo>
                  <a:lnTo>
                    <a:pt x="964" y="1135"/>
                  </a:lnTo>
                  <a:lnTo>
                    <a:pt x="963" y="1132"/>
                  </a:lnTo>
                  <a:lnTo>
                    <a:pt x="962" y="1128"/>
                  </a:lnTo>
                  <a:lnTo>
                    <a:pt x="961" y="1124"/>
                  </a:lnTo>
                  <a:lnTo>
                    <a:pt x="961" y="1115"/>
                  </a:lnTo>
                  <a:lnTo>
                    <a:pt x="961" y="1109"/>
                  </a:lnTo>
                  <a:lnTo>
                    <a:pt x="960" y="1105"/>
                  </a:lnTo>
                  <a:lnTo>
                    <a:pt x="958" y="1093"/>
                  </a:lnTo>
                  <a:lnTo>
                    <a:pt x="957" y="1079"/>
                  </a:lnTo>
                  <a:lnTo>
                    <a:pt x="956" y="1060"/>
                  </a:lnTo>
                  <a:lnTo>
                    <a:pt x="956" y="1025"/>
                  </a:lnTo>
                  <a:lnTo>
                    <a:pt x="956" y="1005"/>
                  </a:lnTo>
                  <a:lnTo>
                    <a:pt x="951" y="1000"/>
                  </a:lnTo>
                  <a:lnTo>
                    <a:pt x="944" y="987"/>
                  </a:lnTo>
                  <a:lnTo>
                    <a:pt x="941" y="981"/>
                  </a:lnTo>
                  <a:lnTo>
                    <a:pt x="936" y="975"/>
                  </a:lnTo>
                  <a:lnTo>
                    <a:pt x="933" y="971"/>
                  </a:lnTo>
                  <a:lnTo>
                    <a:pt x="929" y="969"/>
                  </a:lnTo>
                  <a:lnTo>
                    <a:pt x="929" y="961"/>
                  </a:lnTo>
                  <a:lnTo>
                    <a:pt x="927" y="959"/>
                  </a:lnTo>
                  <a:lnTo>
                    <a:pt x="926" y="955"/>
                  </a:lnTo>
                  <a:lnTo>
                    <a:pt x="925" y="949"/>
                  </a:lnTo>
                  <a:lnTo>
                    <a:pt x="923" y="942"/>
                  </a:lnTo>
                  <a:lnTo>
                    <a:pt x="920" y="921"/>
                  </a:lnTo>
                  <a:lnTo>
                    <a:pt x="919" y="898"/>
                  </a:lnTo>
                  <a:lnTo>
                    <a:pt x="916" y="850"/>
                  </a:lnTo>
                  <a:lnTo>
                    <a:pt x="916" y="821"/>
                  </a:lnTo>
                  <a:lnTo>
                    <a:pt x="914" y="821"/>
                  </a:lnTo>
                  <a:lnTo>
                    <a:pt x="913" y="819"/>
                  </a:lnTo>
                  <a:lnTo>
                    <a:pt x="913" y="817"/>
                  </a:lnTo>
                  <a:lnTo>
                    <a:pt x="912" y="814"/>
                  </a:lnTo>
                  <a:lnTo>
                    <a:pt x="912" y="808"/>
                  </a:lnTo>
                  <a:lnTo>
                    <a:pt x="912" y="803"/>
                  </a:lnTo>
                  <a:lnTo>
                    <a:pt x="903" y="799"/>
                  </a:lnTo>
                  <a:lnTo>
                    <a:pt x="901" y="792"/>
                  </a:lnTo>
                  <a:lnTo>
                    <a:pt x="899" y="785"/>
                  </a:lnTo>
                  <a:lnTo>
                    <a:pt x="896" y="779"/>
                  </a:lnTo>
                  <a:lnTo>
                    <a:pt x="894" y="772"/>
                  </a:lnTo>
                  <a:lnTo>
                    <a:pt x="890" y="765"/>
                  </a:lnTo>
                  <a:lnTo>
                    <a:pt x="887" y="759"/>
                  </a:lnTo>
                  <a:lnTo>
                    <a:pt x="885" y="752"/>
                  </a:lnTo>
                  <a:lnTo>
                    <a:pt x="884" y="745"/>
                  </a:lnTo>
                  <a:lnTo>
                    <a:pt x="883" y="744"/>
                  </a:lnTo>
                  <a:lnTo>
                    <a:pt x="881" y="743"/>
                  </a:lnTo>
                  <a:lnTo>
                    <a:pt x="880" y="742"/>
                  </a:lnTo>
                  <a:lnTo>
                    <a:pt x="880" y="740"/>
                  </a:lnTo>
                  <a:lnTo>
                    <a:pt x="880" y="735"/>
                  </a:lnTo>
                  <a:lnTo>
                    <a:pt x="879" y="732"/>
                  </a:lnTo>
                  <a:lnTo>
                    <a:pt x="868" y="730"/>
                  </a:lnTo>
                  <a:lnTo>
                    <a:pt x="852" y="727"/>
                  </a:lnTo>
                  <a:lnTo>
                    <a:pt x="851" y="728"/>
                  </a:lnTo>
                  <a:lnTo>
                    <a:pt x="849" y="730"/>
                  </a:lnTo>
                  <a:lnTo>
                    <a:pt x="846" y="731"/>
                  </a:lnTo>
                  <a:lnTo>
                    <a:pt x="841" y="731"/>
                  </a:lnTo>
                  <a:lnTo>
                    <a:pt x="832" y="732"/>
                  </a:lnTo>
                  <a:lnTo>
                    <a:pt x="826" y="732"/>
                  </a:lnTo>
                  <a:lnTo>
                    <a:pt x="816" y="723"/>
                  </a:lnTo>
                  <a:lnTo>
                    <a:pt x="797" y="709"/>
                  </a:lnTo>
                  <a:lnTo>
                    <a:pt x="778" y="697"/>
                  </a:lnTo>
                  <a:lnTo>
                    <a:pt x="768" y="690"/>
                  </a:lnTo>
                  <a:lnTo>
                    <a:pt x="763" y="686"/>
                  </a:lnTo>
                  <a:lnTo>
                    <a:pt x="759" y="677"/>
                  </a:lnTo>
                  <a:lnTo>
                    <a:pt x="751" y="670"/>
                  </a:lnTo>
                  <a:lnTo>
                    <a:pt x="741" y="664"/>
                  </a:lnTo>
                  <a:lnTo>
                    <a:pt x="738" y="660"/>
                  </a:lnTo>
                  <a:lnTo>
                    <a:pt x="736" y="658"/>
                  </a:lnTo>
                  <a:lnTo>
                    <a:pt x="733" y="656"/>
                  </a:lnTo>
                  <a:lnTo>
                    <a:pt x="732" y="655"/>
                  </a:lnTo>
                  <a:lnTo>
                    <a:pt x="732" y="641"/>
                  </a:lnTo>
                  <a:lnTo>
                    <a:pt x="730" y="640"/>
                  </a:lnTo>
                  <a:lnTo>
                    <a:pt x="728" y="638"/>
                  </a:lnTo>
                  <a:lnTo>
                    <a:pt x="728" y="635"/>
                  </a:lnTo>
                  <a:lnTo>
                    <a:pt x="727" y="630"/>
                  </a:lnTo>
                  <a:lnTo>
                    <a:pt x="727" y="621"/>
                  </a:lnTo>
                  <a:lnTo>
                    <a:pt x="727" y="615"/>
                  </a:lnTo>
                  <a:lnTo>
                    <a:pt x="724" y="613"/>
                  </a:lnTo>
                  <a:lnTo>
                    <a:pt x="723" y="612"/>
                  </a:lnTo>
                  <a:lnTo>
                    <a:pt x="723" y="609"/>
                  </a:lnTo>
                  <a:lnTo>
                    <a:pt x="723" y="606"/>
                  </a:lnTo>
                  <a:lnTo>
                    <a:pt x="718" y="601"/>
                  </a:lnTo>
                  <a:lnTo>
                    <a:pt x="714" y="597"/>
                  </a:lnTo>
                  <a:lnTo>
                    <a:pt x="711" y="592"/>
                  </a:lnTo>
                  <a:lnTo>
                    <a:pt x="709" y="588"/>
                  </a:lnTo>
                  <a:lnTo>
                    <a:pt x="701" y="583"/>
                  </a:lnTo>
                  <a:lnTo>
                    <a:pt x="695" y="572"/>
                  </a:lnTo>
                  <a:lnTo>
                    <a:pt x="690" y="565"/>
                  </a:lnTo>
                  <a:lnTo>
                    <a:pt x="692" y="526"/>
                  </a:lnTo>
                  <a:lnTo>
                    <a:pt x="693" y="487"/>
                  </a:lnTo>
                  <a:lnTo>
                    <a:pt x="694" y="447"/>
                  </a:lnTo>
                  <a:lnTo>
                    <a:pt x="695" y="407"/>
                  </a:lnTo>
                  <a:lnTo>
                    <a:pt x="697" y="368"/>
                  </a:lnTo>
                  <a:lnTo>
                    <a:pt x="698" y="327"/>
                  </a:lnTo>
                  <a:lnTo>
                    <a:pt x="699" y="286"/>
                  </a:lnTo>
                  <a:lnTo>
                    <a:pt x="701" y="246"/>
                  </a:lnTo>
                  <a:lnTo>
                    <a:pt x="698" y="246"/>
                  </a:lnTo>
                  <a:lnTo>
                    <a:pt x="697" y="244"/>
                  </a:lnTo>
                  <a:lnTo>
                    <a:pt x="695" y="242"/>
                  </a:lnTo>
                  <a:lnTo>
                    <a:pt x="694" y="240"/>
                  </a:lnTo>
                  <a:lnTo>
                    <a:pt x="692" y="233"/>
                  </a:lnTo>
                  <a:lnTo>
                    <a:pt x="690" y="228"/>
                  </a:lnTo>
                  <a:lnTo>
                    <a:pt x="686" y="222"/>
                  </a:lnTo>
                  <a:lnTo>
                    <a:pt x="680" y="212"/>
                  </a:lnTo>
                  <a:lnTo>
                    <a:pt x="675" y="202"/>
                  </a:lnTo>
                  <a:lnTo>
                    <a:pt x="673" y="193"/>
                  </a:lnTo>
                  <a:lnTo>
                    <a:pt x="668" y="185"/>
                  </a:lnTo>
                  <a:lnTo>
                    <a:pt x="664" y="175"/>
                  </a:lnTo>
                  <a:lnTo>
                    <a:pt x="655" y="170"/>
                  </a:lnTo>
                  <a:lnTo>
                    <a:pt x="650" y="166"/>
                  </a:lnTo>
                  <a:lnTo>
                    <a:pt x="646" y="150"/>
                  </a:lnTo>
                  <a:lnTo>
                    <a:pt x="641" y="135"/>
                  </a:lnTo>
                  <a:lnTo>
                    <a:pt x="640" y="132"/>
                  </a:lnTo>
                  <a:lnTo>
                    <a:pt x="639" y="127"/>
                  </a:lnTo>
                  <a:lnTo>
                    <a:pt x="638" y="119"/>
                  </a:lnTo>
                  <a:lnTo>
                    <a:pt x="638" y="110"/>
                  </a:lnTo>
                  <a:lnTo>
                    <a:pt x="637" y="92"/>
                  </a:lnTo>
                  <a:lnTo>
                    <a:pt x="637" y="80"/>
                  </a:lnTo>
                  <a:lnTo>
                    <a:pt x="634" y="79"/>
                  </a:lnTo>
                  <a:lnTo>
                    <a:pt x="631" y="76"/>
                  </a:lnTo>
                  <a:lnTo>
                    <a:pt x="629" y="72"/>
                  </a:lnTo>
                  <a:lnTo>
                    <a:pt x="628" y="71"/>
                  </a:lnTo>
                  <a:lnTo>
                    <a:pt x="619" y="71"/>
                  </a:lnTo>
                  <a:lnTo>
                    <a:pt x="618" y="70"/>
                  </a:lnTo>
                  <a:lnTo>
                    <a:pt x="616" y="69"/>
                  </a:lnTo>
                  <a:lnTo>
                    <a:pt x="612" y="67"/>
                  </a:lnTo>
                  <a:lnTo>
                    <a:pt x="608" y="67"/>
                  </a:lnTo>
                  <a:lnTo>
                    <a:pt x="596" y="64"/>
                  </a:lnTo>
                  <a:lnTo>
                    <a:pt x="581" y="63"/>
                  </a:lnTo>
                  <a:lnTo>
                    <a:pt x="553" y="62"/>
                  </a:lnTo>
                  <a:lnTo>
                    <a:pt x="534" y="62"/>
                  </a:lnTo>
                  <a:lnTo>
                    <a:pt x="533" y="60"/>
                  </a:lnTo>
                  <a:lnTo>
                    <a:pt x="531" y="59"/>
                  </a:lnTo>
                  <a:lnTo>
                    <a:pt x="528" y="58"/>
                  </a:lnTo>
                  <a:lnTo>
                    <a:pt x="525" y="58"/>
                  </a:lnTo>
                  <a:lnTo>
                    <a:pt x="521" y="53"/>
                  </a:lnTo>
                  <a:lnTo>
                    <a:pt x="521" y="47"/>
                  </a:lnTo>
                  <a:lnTo>
                    <a:pt x="521" y="40"/>
                  </a:lnTo>
                  <a:lnTo>
                    <a:pt x="511" y="31"/>
                  </a:lnTo>
                  <a:lnTo>
                    <a:pt x="511" y="22"/>
                  </a:lnTo>
                  <a:lnTo>
                    <a:pt x="510" y="22"/>
                  </a:lnTo>
                  <a:lnTo>
                    <a:pt x="509" y="21"/>
                  </a:lnTo>
                  <a:lnTo>
                    <a:pt x="507" y="19"/>
                  </a:lnTo>
                  <a:lnTo>
                    <a:pt x="507" y="16"/>
                  </a:lnTo>
                  <a:lnTo>
                    <a:pt x="507" y="12"/>
                  </a:lnTo>
                  <a:lnTo>
                    <a:pt x="506" y="9"/>
                  </a:lnTo>
                  <a:lnTo>
                    <a:pt x="503" y="7"/>
                  </a:lnTo>
                  <a:lnTo>
                    <a:pt x="501" y="4"/>
                  </a:lnTo>
                  <a:lnTo>
                    <a:pt x="498" y="1"/>
                  </a:lnTo>
                  <a:lnTo>
                    <a:pt x="497" y="0"/>
                  </a:lnTo>
                  <a:lnTo>
                    <a:pt x="475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3" name="Freeform 39"/>
            <p:cNvSpPr>
              <a:spLocks noChangeAspect="1"/>
            </p:cNvSpPr>
            <p:nvPr/>
          </p:nvSpPr>
          <p:spPr bwMode="gray">
            <a:xfrm rot="355651">
              <a:off x="5515020" y="2779713"/>
              <a:ext cx="342778" cy="410937"/>
            </a:xfrm>
            <a:custGeom>
              <a:avLst/>
              <a:gdLst/>
              <a:ahLst/>
              <a:cxnLst>
                <a:cxn ang="0">
                  <a:pos x="840" y="60"/>
                </a:cxn>
                <a:cxn ang="0">
                  <a:pos x="765" y="215"/>
                </a:cxn>
                <a:cxn ang="0">
                  <a:pos x="721" y="403"/>
                </a:cxn>
                <a:cxn ang="0">
                  <a:pos x="691" y="583"/>
                </a:cxn>
                <a:cxn ang="0">
                  <a:pos x="341" y="623"/>
                </a:cxn>
                <a:cxn ang="0">
                  <a:pos x="240" y="670"/>
                </a:cxn>
                <a:cxn ang="0">
                  <a:pos x="172" y="748"/>
                </a:cxn>
                <a:cxn ang="0">
                  <a:pos x="48" y="806"/>
                </a:cxn>
                <a:cxn ang="0">
                  <a:pos x="0" y="873"/>
                </a:cxn>
                <a:cxn ang="0">
                  <a:pos x="49" y="934"/>
                </a:cxn>
                <a:cxn ang="0">
                  <a:pos x="93" y="1044"/>
                </a:cxn>
                <a:cxn ang="0">
                  <a:pos x="155" y="1238"/>
                </a:cxn>
                <a:cxn ang="0">
                  <a:pos x="182" y="1295"/>
                </a:cxn>
                <a:cxn ang="0">
                  <a:pos x="286" y="1309"/>
                </a:cxn>
                <a:cxn ang="0">
                  <a:pos x="325" y="1422"/>
                </a:cxn>
                <a:cxn ang="0">
                  <a:pos x="354" y="1605"/>
                </a:cxn>
                <a:cxn ang="0">
                  <a:pos x="380" y="1849"/>
                </a:cxn>
                <a:cxn ang="0">
                  <a:pos x="408" y="1907"/>
                </a:cxn>
                <a:cxn ang="0">
                  <a:pos x="525" y="1967"/>
                </a:cxn>
                <a:cxn ang="0">
                  <a:pos x="558" y="2029"/>
                </a:cxn>
                <a:cxn ang="0">
                  <a:pos x="583" y="2192"/>
                </a:cxn>
                <a:cxn ang="0">
                  <a:pos x="617" y="2342"/>
                </a:cxn>
                <a:cxn ang="0">
                  <a:pos x="634" y="2444"/>
                </a:cxn>
                <a:cxn ang="0">
                  <a:pos x="671" y="2548"/>
                </a:cxn>
                <a:cxn ang="0">
                  <a:pos x="813" y="2499"/>
                </a:cxn>
                <a:cxn ang="0">
                  <a:pos x="880" y="2482"/>
                </a:cxn>
                <a:cxn ang="0">
                  <a:pos x="1084" y="2538"/>
                </a:cxn>
                <a:cxn ang="0">
                  <a:pos x="1134" y="2484"/>
                </a:cxn>
                <a:cxn ang="0">
                  <a:pos x="1208" y="2394"/>
                </a:cxn>
                <a:cxn ang="0">
                  <a:pos x="1310" y="2330"/>
                </a:cxn>
                <a:cxn ang="0">
                  <a:pos x="1350" y="2210"/>
                </a:cxn>
                <a:cxn ang="0">
                  <a:pos x="1398" y="2171"/>
                </a:cxn>
                <a:cxn ang="0">
                  <a:pos x="1447" y="2152"/>
                </a:cxn>
                <a:cxn ang="0">
                  <a:pos x="1613" y="2044"/>
                </a:cxn>
                <a:cxn ang="0">
                  <a:pos x="1654" y="1843"/>
                </a:cxn>
                <a:cxn ang="0">
                  <a:pos x="1603" y="1785"/>
                </a:cxn>
                <a:cxn ang="0">
                  <a:pos x="1553" y="1763"/>
                </a:cxn>
                <a:cxn ang="0">
                  <a:pos x="1569" y="1688"/>
                </a:cxn>
                <a:cxn ang="0">
                  <a:pos x="1642" y="1652"/>
                </a:cxn>
                <a:cxn ang="0">
                  <a:pos x="1747" y="1603"/>
                </a:cxn>
                <a:cxn ang="0">
                  <a:pos x="1789" y="1471"/>
                </a:cxn>
                <a:cxn ang="0">
                  <a:pos x="1803" y="1386"/>
                </a:cxn>
                <a:cxn ang="0">
                  <a:pos x="1804" y="1306"/>
                </a:cxn>
                <a:cxn ang="0">
                  <a:pos x="1861" y="1209"/>
                </a:cxn>
                <a:cxn ang="0">
                  <a:pos x="1697" y="1205"/>
                </a:cxn>
                <a:cxn ang="0">
                  <a:pos x="1543" y="1170"/>
                </a:cxn>
                <a:cxn ang="0">
                  <a:pos x="1503" y="1094"/>
                </a:cxn>
                <a:cxn ang="0">
                  <a:pos x="1454" y="999"/>
                </a:cxn>
                <a:cxn ang="0">
                  <a:pos x="1424" y="911"/>
                </a:cxn>
                <a:cxn ang="0">
                  <a:pos x="1423" y="835"/>
                </a:cxn>
                <a:cxn ang="0">
                  <a:pos x="1460" y="763"/>
                </a:cxn>
                <a:cxn ang="0">
                  <a:pos x="1332" y="695"/>
                </a:cxn>
                <a:cxn ang="0">
                  <a:pos x="1301" y="593"/>
                </a:cxn>
                <a:cxn ang="0">
                  <a:pos x="1320" y="515"/>
                </a:cxn>
                <a:cxn ang="0">
                  <a:pos x="1297" y="332"/>
                </a:cxn>
                <a:cxn ang="0">
                  <a:pos x="1243" y="174"/>
                </a:cxn>
                <a:cxn ang="0">
                  <a:pos x="1142" y="106"/>
                </a:cxn>
                <a:cxn ang="0">
                  <a:pos x="1060" y="77"/>
                </a:cxn>
                <a:cxn ang="0">
                  <a:pos x="1016" y="11"/>
                </a:cxn>
                <a:cxn ang="0">
                  <a:pos x="906" y="6"/>
                </a:cxn>
              </a:cxnLst>
              <a:rect l="0" t="0" r="r" b="b"/>
              <a:pathLst>
                <a:path w="1890" h="2555">
                  <a:moveTo>
                    <a:pt x="906" y="11"/>
                  </a:moveTo>
                  <a:lnTo>
                    <a:pt x="892" y="13"/>
                  </a:lnTo>
                  <a:lnTo>
                    <a:pt x="879" y="17"/>
                  </a:lnTo>
                  <a:lnTo>
                    <a:pt x="878" y="21"/>
                  </a:lnTo>
                  <a:lnTo>
                    <a:pt x="874" y="25"/>
                  </a:lnTo>
                  <a:lnTo>
                    <a:pt x="869" y="27"/>
                  </a:lnTo>
                  <a:lnTo>
                    <a:pt x="862" y="28"/>
                  </a:lnTo>
                  <a:lnTo>
                    <a:pt x="861" y="32"/>
                  </a:lnTo>
                  <a:lnTo>
                    <a:pt x="858" y="38"/>
                  </a:lnTo>
                  <a:lnTo>
                    <a:pt x="855" y="40"/>
                  </a:lnTo>
                  <a:lnTo>
                    <a:pt x="853" y="42"/>
                  </a:lnTo>
                  <a:lnTo>
                    <a:pt x="850" y="44"/>
                  </a:lnTo>
                  <a:lnTo>
                    <a:pt x="845" y="45"/>
                  </a:lnTo>
                  <a:lnTo>
                    <a:pt x="840" y="60"/>
                  </a:lnTo>
                  <a:lnTo>
                    <a:pt x="838" y="63"/>
                  </a:lnTo>
                  <a:lnTo>
                    <a:pt x="833" y="67"/>
                  </a:lnTo>
                  <a:lnTo>
                    <a:pt x="829" y="74"/>
                  </a:lnTo>
                  <a:lnTo>
                    <a:pt x="823" y="82"/>
                  </a:lnTo>
                  <a:lnTo>
                    <a:pt x="812" y="97"/>
                  </a:lnTo>
                  <a:lnTo>
                    <a:pt x="802" y="111"/>
                  </a:lnTo>
                  <a:lnTo>
                    <a:pt x="798" y="123"/>
                  </a:lnTo>
                  <a:lnTo>
                    <a:pt x="793" y="142"/>
                  </a:lnTo>
                  <a:lnTo>
                    <a:pt x="785" y="161"/>
                  </a:lnTo>
                  <a:lnTo>
                    <a:pt x="780" y="171"/>
                  </a:lnTo>
                  <a:lnTo>
                    <a:pt x="780" y="186"/>
                  </a:lnTo>
                  <a:lnTo>
                    <a:pt x="775" y="194"/>
                  </a:lnTo>
                  <a:lnTo>
                    <a:pt x="769" y="204"/>
                  </a:lnTo>
                  <a:lnTo>
                    <a:pt x="765" y="215"/>
                  </a:lnTo>
                  <a:lnTo>
                    <a:pt x="763" y="225"/>
                  </a:lnTo>
                  <a:lnTo>
                    <a:pt x="755" y="239"/>
                  </a:lnTo>
                  <a:lnTo>
                    <a:pt x="747" y="252"/>
                  </a:lnTo>
                  <a:lnTo>
                    <a:pt x="747" y="269"/>
                  </a:lnTo>
                  <a:lnTo>
                    <a:pt x="745" y="271"/>
                  </a:lnTo>
                  <a:lnTo>
                    <a:pt x="742" y="275"/>
                  </a:lnTo>
                  <a:lnTo>
                    <a:pt x="739" y="280"/>
                  </a:lnTo>
                  <a:lnTo>
                    <a:pt x="736" y="287"/>
                  </a:lnTo>
                  <a:lnTo>
                    <a:pt x="732" y="299"/>
                  </a:lnTo>
                  <a:lnTo>
                    <a:pt x="730" y="308"/>
                  </a:lnTo>
                  <a:lnTo>
                    <a:pt x="719" y="319"/>
                  </a:lnTo>
                  <a:lnTo>
                    <a:pt x="719" y="346"/>
                  </a:lnTo>
                  <a:lnTo>
                    <a:pt x="720" y="374"/>
                  </a:lnTo>
                  <a:lnTo>
                    <a:pt x="721" y="403"/>
                  </a:lnTo>
                  <a:lnTo>
                    <a:pt x="721" y="431"/>
                  </a:lnTo>
                  <a:lnTo>
                    <a:pt x="723" y="460"/>
                  </a:lnTo>
                  <a:lnTo>
                    <a:pt x="724" y="489"/>
                  </a:lnTo>
                  <a:lnTo>
                    <a:pt x="725" y="517"/>
                  </a:lnTo>
                  <a:lnTo>
                    <a:pt x="725" y="544"/>
                  </a:lnTo>
                  <a:lnTo>
                    <a:pt x="721" y="545"/>
                  </a:lnTo>
                  <a:lnTo>
                    <a:pt x="720" y="547"/>
                  </a:lnTo>
                  <a:lnTo>
                    <a:pt x="719" y="550"/>
                  </a:lnTo>
                  <a:lnTo>
                    <a:pt x="719" y="555"/>
                  </a:lnTo>
                  <a:lnTo>
                    <a:pt x="708" y="560"/>
                  </a:lnTo>
                  <a:lnTo>
                    <a:pt x="707" y="565"/>
                  </a:lnTo>
                  <a:lnTo>
                    <a:pt x="702" y="571"/>
                  </a:lnTo>
                  <a:lnTo>
                    <a:pt x="697" y="577"/>
                  </a:lnTo>
                  <a:lnTo>
                    <a:pt x="691" y="583"/>
                  </a:lnTo>
                  <a:lnTo>
                    <a:pt x="684" y="584"/>
                  </a:lnTo>
                  <a:lnTo>
                    <a:pt x="670" y="586"/>
                  </a:lnTo>
                  <a:lnTo>
                    <a:pt x="665" y="587"/>
                  </a:lnTo>
                  <a:lnTo>
                    <a:pt x="659" y="589"/>
                  </a:lnTo>
                  <a:lnTo>
                    <a:pt x="654" y="592"/>
                  </a:lnTo>
                  <a:lnTo>
                    <a:pt x="653" y="594"/>
                  </a:lnTo>
                  <a:lnTo>
                    <a:pt x="494" y="594"/>
                  </a:lnTo>
                  <a:lnTo>
                    <a:pt x="488" y="604"/>
                  </a:lnTo>
                  <a:lnTo>
                    <a:pt x="470" y="605"/>
                  </a:lnTo>
                  <a:lnTo>
                    <a:pt x="448" y="607"/>
                  </a:lnTo>
                  <a:lnTo>
                    <a:pt x="422" y="612"/>
                  </a:lnTo>
                  <a:lnTo>
                    <a:pt x="395" y="615"/>
                  </a:lnTo>
                  <a:lnTo>
                    <a:pt x="369" y="619"/>
                  </a:lnTo>
                  <a:lnTo>
                    <a:pt x="341" y="623"/>
                  </a:lnTo>
                  <a:lnTo>
                    <a:pt x="315" y="625"/>
                  </a:lnTo>
                  <a:lnTo>
                    <a:pt x="291" y="626"/>
                  </a:lnTo>
                  <a:lnTo>
                    <a:pt x="289" y="629"/>
                  </a:lnTo>
                  <a:lnTo>
                    <a:pt x="287" y="631"/>
                  </a:lnTo>
                  <a:lnTo>
                    <a:pt x="284" y="632"/>
                  </a:lnTo>
                  <a:lnTo>
                    <a:pt x="279" y="632"/>
                  </a:lnTo>
                  <a:lnTo>
                    <a:pt x="275" y="643"/>
                  </a:lnTo>
                  <a:lnTo>
                    <a:pt x="266" y="643"/>
                  </a:lnTo>
                  <a:lnTo>
                    <a:pt x="258" y="643"/>
                  </a:lnTo>
                  <a:lnTo>
                    <a:pt x="253" y="648"/>
                  </a:lnTo>
                  <a:lnTo>
                    <a:pt x="253" y="660"/>
                  </a:lnTo>
                  <a:lnTo>
                    <a:pt x="248" y="663"/>
                  </a:lnTo>
                  <a:lnTo>
                    <a:pt x="244" y="666"/>
                  </a:lnTo>
                  <a:lnTo>
                    <a:pt x="240" y="670"/>
                  </a:lnTo>
                  <a:lnTo>
                    <a:pt x="236" y="670"/>
                  </a:lnTo>
                  <a:lnTo>
                    <a:pt x="234" y="681"/>
                  </a:lnTo>
                  <a:lnTo>
                    <a:pt x="230" y="692"/>
                  </a:lnTo>
                  <a:lnTo>
                    <a:pt x="226" y="693"/>
                  </a:lnTo>
                  <a:lnTo>
                    <a:pt x="222" y="695"/>
                  </a:lnTo>
                  <a:lnTo>
                    <a:pt x="218" y="699"/>
                  </a:lnTo>
                  <a:lnTo>
                    <a:pt x="214" y="703"/>
                  </a:lnTo>
                  <a:lnTo>
                    <a:pt x="214" y="714"/>
                  </a:lnTo>
                  <a:lnTo>
                    <a:pt x="209" y="720"/>
                  </a:lnTo>
                  <a:lnTo>
                    <a:pt x="192" y="730"/>
                  </a:lnTo>
                  <a:lnTo>
                    <a:pt x="176" y="741"/>
                  </a:lnTo>
                  <a:lnTo>
                    <a:pt x="176" y="743"/>
                  </a:lnTo>
                  <a:lnTo>
                    <a:pt x="173" y="746"/>
                  </a:lnTo>
                  <a:lnTo>
                    <a:pt x="172" y="748"/>
                  </a:lnTo>
                  <a:lnTo>
                    <a:pt x="169" y="749"/>
                  </a:lnTo>
                  <a:lnTo>
                    <a:pt x="164" y="751"/>
                  </a:lnTo>
                  <a:lnTo>
                    <a:pt x="159" y="752"/>
                  </a:lnTo>
                  <a:lnTo>
                    <a:pt x="151" y="761"/>
                  </a:lnTo>
                  <a:lnTo>
                    <a:pt x="142" y="769"/>
                  </a:lnTo>
                  <a:lnTo>
                    <a:pt x="132" y="770"/>
                  </a:lnTo>
                  <a:lnTo>
                    <a:pt x="120" y="775"/>
                  </a:lnTo>
                  <a:lnTo>
                    <a:pt x="109" y="779"/>
                  </a:lnTo>
                  <a:lnTo>
                    <a:pt x="96" y="786"/>
                  </a:lnTo>
                  <a:lnTo>
                    <a:pt x="84" y="791"/>
                  </a:lnTo>
                  <a:lnTo>
                    <a:pt x="72" y="797"/>
                  </a:lnTo>
                  <a:lnTo>
                    <a:pt x="59" y="800"/>
                  </a:lnTo>
                  <a:lnTo>
                    <a:pt x="49" y="801"/>
                  </a:lnTo>
                  <a:lnTo>
                    <a:pt x="48" y="806"/>
                  </a:lnTo>
                  <a:lnTo>
                    <a:pt x="46" y="809"/>
                  </a:lnTo>
                  <a:lnTo>
                    <a:pt x="43" y="811"/>
                  </a:lnTo>
                  <a:lnTo>
                    <a:pt x="38" y="813"/>
                  </a:lnTo>
                  <a:lnTo>
                    <a:pt x="36" y="818"/>
                  </a:lnTo>
                  <a:lnTo>
                    <a:pt x="33" y="824"/>
                  </a:lnTo>
                  <a:lnTo>
                    <a:pt x="22" y="824"/>
                  </a:lnTo>
                  <a:lnTo>
                    <a:pt x="16" y="829"/>
                  </a:lnTo>
                  <a:lnTo>
                    <a:pt x="15" y="834"/>
                  </a:lnTo>
                  <a:lnTo>
                    <a:pt x="13" y="837"/>
                  </a:lnTo>
                  <a:lnTo>
                    <a:pt x="9" y="839"/>
                  </a:lnTo>
                  <a:lnTo>
                    <a:pt x="5" y="840"/>
                  </a:lnTo>
                  <a:lnTo>
                    <a:pt x="0" y="846"/>
                  </a:lnTo>
                  <a:lnTo>
                    <a:pt x="0" y="859"/>
                  </a:lnTo>
                  <a:lnTo>
                    <a:pt x="0" y="873"/>
                  </a:lnTo>
                  <a:lnTo>
                    <a:pt x="5" y="878"/>
                  </a:lnTo>
                  <a:lnTo>
                    <a:pt x="10" y="882"/>
                  </a:lnTo>
                  <a:lnTo>
                    <a:pt x="16" y="884"/>
                  </a:lnTo>
                  <a:lnTo>
                    <a:pt x="19" y="891"/>
                  </a:lnTo>
                  <a:lnTo>
                    <a:pt x="25" y="900"/>
                  </a:lnTo>
                  <a:lnTo>
                    <a:pt x="29" y="904"/>
                  </a:lnTo>
                  <a:lnTo>
                    <a:pt x="33" y="909"/>
                  </a:lnTo>
                  <a:lnTo>
                    <a:pt x="36" y="911"/>
                  </a:lnTo>
                  <a:lnTo>
                    <a:pt x="38" y="912"/>
                  </a:lnTo>
                  <a:lnTo>
                    <a:pt x="41" y="920"/>
                  </a:lnTo>
                  <a:lnTo>
                    <a:pt x="44" y="929"/>
                  </a:lnTo>
                  <a:lnTo>
                    <a:pt x="46" y="929"/>
                  </a:lnTo>
                  <a:lnTo>
                    <a:pt x="48" y="931"/>
                  </a:lnTo>
                  <a:lnTo>
                    <a:pt x="49" y="934"/>
                  </a:lnTo>
                  <a:lnTo>
                    <a:pt x="52" y="938"/>
                  </a:lnTo>
                  <a:lnTo>
                    <a:pt x="54" y="944"/>
                  </a:lnTo>
                  <a:lnTo>
                    <a:pt x="55" y="950"/>
                  </a:lnTo>
                  <a:lnTo>
                    <a:pt x="57" y="951"/>
                  </a:lnTo>
                  <a:lnTo>
                    <a:pt x="58" y="953"/>
                  </a:lnTo>
                  <a:lnTo>
                    <a:pt x="61" y="955"/>
                  </a:lnTo>
                  <a:lnTo>
                    <a:pt x="63" y="959"/>
                  </a:lnTo>
                  <a:lnTo>
                    <a:pt x="67" y="967"/>
                  </a:lnTo>
                  <a:lnTo>
                    <a:pt x="72" y="972"/>
                  </a:lnTo>
                  <a:lnTo>
                    <a:pt x="73" y="987"/>
                  </a:lnTo>
                  <a:lnTo>
                    <a:pt x="76" y="1002"/>
                  </a:lnTo>
                  <a:lnTo>
                    <a:pt x="81" y="1018"/>
                  </a:lnTo>
                  <a:lnTo>
                    <a:pt x="82" y="1032"/>
                  </a:lnTo>
                  <a:lnTo>
                    <a:pt x="93" y="1044"/>
                  </a:lnTo>
                  <a:lnTo>
                    <a:pt x="94" y="1050"/>
                  </a:lnTo>
                  <a:lnTo>
                    <a:pt x="97" y="1059"/>
                  </a:lnTo>
                  <a:lnTo>
                    <a:pt x="102" y="1068"/>
                  </a:lnTo>
                  <a:lnTo>
                    <a:pt x="109" y="1078"/>
                  </a:lnTo>
                  <a:lnTo>
                    <a:pt x="114" y="1087"/>
                  </a:lnTo>
                  <a:lnTo>
                    <a:pt x="121" y="1095"/>
                  </a:lnTo>
                  <a:lnTo>
                    <a:pt x="126" y="1100"/>
                  </a:lnTo>
                  <a:lnTo>
                    <a:pt x="132" y="1104"/>
                  </a:lnTo>
                  <a:lnTo>
                    <a:pt x="132" y="1137"/>
                  </a:lnTo>
                  <a:lnTo>
                    <a:pt x="135" y="1171"/>
                  </a:lnTo>
                  <a:lnTo>
                    <a:pt x="139" y="1203"/>
                  </a:lnTo>
                  <a:lnTo>
                    <a:pt x="144" y="1237"/>
                  </a:lnTo>
                  <a:lnTo>
                    <a:pt x="154" y="1237"/>
                  </a:lnTo>
                  <a:lnTo>
                    <a:pt x="155" y="1238"/>
                  </a:lnTo>
                  <a:lnTo>
                    <a:pt x="158" y="1241"/>
                  </a:lnTo>
                  <a:lnTo>
                    <a:pt x="160" y="1244"/>
                  </a:lnTo>
                  <a:lnTo>
                    <a:pt x="163" y="1246"/>
                  </a:lnTo>
                  <a:lnTo>
                    <a:pt x="164" y="1249"/>
                  </a:lnTo>
                  <a:lnTo>
                    <a:pt x="164" y="1253"/>
                  </a:lnTo>
                  <a:lnTo>
                    <a:pt x="164" y="1256"/>
                  </a:lnTo>
                  <a:lnTo>
                    <a:pt x="166" y="1258"/>
                  </a:lnTo>
                  <a:lnTo>
                    <a:pt x="167" y="1259"/>
                  </a:lnTo>
                  <a:lnTo>
                    <a:pt x="168" y="1259"/>
                  </a:lnTo>
                  <a:lnTo>
                    <a:pt x="168" y="1268"/>
                  </a:lnTo>
                  <a:lnTo>
                    <a:pt x="178" y="1277"/>
                  </a:lnTo>
                  <a:lnTo>
                    <a:pt x="178" y="1284"/>
                  </a:lnTo>
                  <a:lnTo>
                    <a:pt x="178" y="1290"/>
                  </a:lnTo>
                  <a:lnTo>
                    <a:pt x="182" y="1295"/>
                  </a:lnTo>
                  <a:lnTo>
                    <a:pt x="185" y="1295"/>
                  </a:lnTo>
                  <a:lnTo>
                    <a:pt x="188" y="1296"/>
                  </a:lnTo>
                  <a:lnTo>
                    <a:pt x="190" y="1297"/>
                  </a:lnTo>
                  <a:lnTo>
                    <a:pt x="191" y="1299"/>
                  </a:lnTo>
                  <a:lnTo>
                    <a:pt x="210" y="1299"/>
                  </a:lnTo>
                  <a:lnTo>
                    <a:pt x="238" y="1300"/>
                  </a:lnTo>
                  <a:lnTo>
                    <a:pt x="253" y="1301"/>
                  </a:lnTo>
                  <a:lnTo>
                    <a:pt x="265" y="1304"/>
                  </a:lnTo>
                  <a:lnTo>
                    <a:pt x="269" y="1304"/>
                  </a:lnTo>
                  <a:lnTo>
                    <a:pt x="273" y="1306"/>
                  </a:lnTo>
                  <a:lnTo>
                    <a:pt x="275" y="1307"/>
                  </a:lnTo>
                  <a:lnTo>
                    <a:pt x="276" y="1308"/>
                  </a:lnTo>
                  <a:lnTo>
                    <a:pt x="285" y="1308"/>
                  </a:lnTo>
                  <a:lnTo>
                    <a:pt x="286" y="1309"/>
                  </a:lnTo>
                  <a:lnTo>
                    <a:pt x="288" y="1313"/>
                  </a:lnTo>
                  <a:lnTo>
                    <a:pt x="291" y="1316"/>
                  </a:lnTo>
                  <a:lnTo>
                    <a:pt x="294" y="1317"/>
                  </a:lnTo>
                  <a:lnTo>
                    <a:pt x="294" y="1329"/>
                  </a:lnTo>
                  <a:lnTo>
                    <a:pt x="295" y="1347"/>
                  </a:lnTo>
                  <a:lnTo>
                    <a:pt x="295" y="1356"/>
                  </a:lnTo>
                  <a:lnTo>
                    <a:pt x="296" y="1364"/>
                  </a:lnTo>
                  <a:lnTo>
                    <a:pt x="297" y="1369"/>
                  </a:lnTo>
                  <a:lnTo>
                    <a:pt x="298" y="1372"/>
                  </a:lnTo>
                  <a:lnTo>
                    <a:pt x="303" y="1387"/>
                  </a:lnTo>
                  <a:lnTo>
                    <a:pt x="307" y="1403"/>
                  </a:lnTo>
                  <a:lnTo>
                    <a:pt x="312" y="1407"/>
                  </a:lnTo>
                  <a:lnTo>
                    <a:pt x="321" y="1412"/>
                  </a:lnTo>
                  <a:lnTo>
                    <a:pt x="325" y="1422"/>
                  </a:lnTo>
                  <a:lnTo>
                    <a:pt x="330" y="1430"/>
                  </a:lnTo>
                  <a:lnTo>
                    <a:pt x="332" y="1439"/>
                  </a:lnTo>
                  <a:lnTo>
                    <a:pt x="337" y="1449"/>
                  </a:lnTo>
                  <a:lnTo>
                    <a:pt x="343" y="1459"/>
                  </a:lnTo>
                  <a:lnTo>
                    <a:pt x="347" y="1465"/>
                  </a:lnTo>
                  <a:lnTo>
                    <a:pt x="349" y="1470"/>
                  </a:lnTo>
                  <a:lnTo>
                    <a:pt x="351" y="1477"/>
                  </a:lnTo>
                  <a:lnTo>
                    <a:pt x="352" y="1479"/>
                  </a:lnTo>
                  <a:lnTo>
                    <a:pt x="354" y="1481"/>
                  </a:lnTo>
                  <a:lnTo>
                    <a:pt x="355" y="1483"/>
                  </a:lnTo>
                  <a:lnTo>
                    <a:pt x="358" y="1483"/>
                  </a:lnTo>
                  <a:lnTo>
                    <a:pt x="356" y="1523"/>
                  </a:lnTo>
                  <a:lnTo>
                    <a:pt x="355" y="1564"/>
                  </a:lnTo>
                  <a:lnTo>
                    <a:pt x="354" y="1605"/>
                  </a:lnTo>
                  <a:lnTo>
                    <a:pt x="352" y="1644"/>
                  </a:lnTo>
                  <a:lnTo>
                    <a:pt x="351" y="1684"/>
                  </a:lnTo>
                  <a:lnTo>
                    <a:pt x="350" y="1724"/>
                  </a:lnTo>
                  <a:lnTo>
                    <a:pt x="349" y="1763"/>
                  </a:lnTo>
                  <a:lnTo>
                    <a:pt x="347" y="1802"/>
                  </a:lnTo>
                  <a:lnTo>
                    <a:pt x="352" y="1809"/>
                  </a:lnTo>
                  <a:lnTo>
                    <a:pt x="358" y="1820"/>
                  </a:lnTo>
                  <a:lnTo>
                    <a:pt x="366" y="1825"/>
                  </a:lnTo>
                  <a:lnTo>
                    <a:pt x="368" y="1829"/>
                  </a:lnTo>
                  <a:lnTo>
                    <a:pt x="371" y="1834"/>
                  </a:lnTo>
                  <a:lnTo>
                    <a:pt x="375" y="1838"/>
                  </a:lnTo>
                  <a:lnTo>
                    <a:pt x="380" y="1843"/>
                  </a:lnTo>
                  <a:lnTo>
                    <a:pt x="380" y="1846"/>
                  </a:lnTo>
                  <a:lnTo>
                    <a:pt x="380" y="1849"/>
                  </a:lnTo>
                  <a:lnTo>
                    <a:pt x="381" y="1850"/>
                  </a:lnTo>
                  <a:lnTo>
                    <a:pt x="384" y="1852"/>
                  </a:lnTo>
                  <a:lnTo>
                    <a:pt x="384" y="1858"/>
                  </a:lnTo>
                  <a:lnTo>
                    <a:pt x="384" y="1867"/>
                  </a:lnTo>
                  <a:lnTo>
                    <a:pt x="385" y="1872"/>
                  </a:lnTo>
                  <a:lnTo>
                    <a:pt x="385" y="1875"/>
                  </a:lnTo>
                  <a:lnTo>
                    <a:pt x="387" y="1877"/>
                  </a:lnTo>
                  <a:lnTo>
                    <a:pt x="389" y="1878"/>
                  </a:lnTo>
                  <a:lnTo>
                    <a:pt x="389" y="1892"/>
                  </a:lnTo>
                  <a:lnTo>
                    <a:pt x="390" y="1893"/>
                  </a:lnTo>
                  <a:lnTo>
                    <a:pt x="393" y="1895"/>
                  </a:lnTo>
                  <a:lnTo>
                    <a:pt x="395" y="1897"/>
                  </a:lnTo>
                  <a:lnTo>
                    <a:pt x="398" y="1901"/>
                  </a:lnTo>
                  <a:lnTo>
                    <a:pt x="408" y="1907"/>
                  </a:lnTo>
                  <a:lnTo>
                    <a:pt x="416" y="1914"/>
                  </a:lnTo>
                  <a:lnTo>
                    <a:pt x="420" y="1923"/>
                  </a:lnTo>
                  <a:lnTo>
                    <a:pt x="425" y="1927"/>
                  </a:lnTo>
                  <a:lnTo>
                    <a:pt x="435" y="1934"/>
                  </a:lnTo>
                  <a:lnTo>
                    <a:pt x="454" y="1946"/>
                  </a:lnTo>
                  <a:lnTo>
                    <a:pt x="473" y="1960"/>
                  </a:lnTo>
                  <a:lnTo>
                    <a:pt x="483" y="1969"/>
                  </a:lnTo>
                  <a:lnTo>
                    <a:pt x="489" y="1969"/>
                  </a:lnTo>
                  <a:lnTo>
                    <a:pt x="498" y="1968"/>
                  </a:lnTo>
                  <a:lnTo>
                    <a:pt x="503" y="1968"/>
                  </a:lnTo>
                  <a:lnTo>
                    <a:pt x="506" y="1967"/>
                  </a:lnTo>
                  <a:lnTo>
                    <a:pt x="508" y="1965"/>
                  </a:lnTo>
                  <a:lnTo>
                    <a:pt x="509" y="1964"/>
                  </a:lnTo>
                  <a:lnTo>
                    <a:pt x="525" y="1967"/>
                  </a:lnTo>
                  <a:lnTo>
                    <a:pt x="536" y="1969"/>
                  </a:lnTo>
                  <a:lnTo>
                    <a:pt x="537" y="1972"/>
                  </a:lnTo>
                  <a:lnTo>
                    <a:pt x="537" y="1977"/>
                  </a:lnTo>
                  <a:lnTo>
                    <a:pt x="537" y="1979"/>
                  </a:lnTo>
                  <a:lnTo>
                    <a:pt x="538" y="1980"/>
                  </a:lnTo>
                  <a:lnTo>
                    <a:pt x="540" y="1981"/>
                  </a:lnTo>
                  <a:lnTo>
                    <a:pt x="541" y="1982"/>
                  </a:lnTo>
                  <a:lnTo>
                    <a:pt x="542" y="1989"/>
                  </a:lnTo>
                  <a:lnTo>
                    <a:pt x="544" y="1996"/>
                  </a:lnTo>
                  <a:lnTo>
                    <a:pt x="547" y="2002"/>
                  </a:lnTo>
                  <a:lnTo>
                    <a:pt x="551" y="2009"/>
                  </a:lnTo>
                  <a:lnTo>
                    <a:pt x="553" y="2016"/>
                  </a:lnTo>
                  <a:lnTo>
                    <a:pt x="556" y="2022"/>
                  </a:lnTo>
                  <a:lnTo>
                    <a:pt x="558" y="2029"/>
                  </a:lnTo>
                  <a:lnTo>
                    <a:pt x="560" y="2036"/>
                  </a:lnTo>
                  <a:lnTo>
                    <a:pt x="569" y="2040"/>
                  </a:lnTo>
                  <a:lnTo>
                    <a:pt x="569" y="2045"/>
                  </a:lnTo>
                  <a:lnTo>
                    <a:pt x="569" y="2051"/>
                  </a:lnTo>
                  <a:lnTo>
                    <a:pt x="570" y="2054"/>
                  </a:lnTo>
                  <a:lnTo>
                    <a:pt x="570" y="2056"/>
                  </a:lnTo>
                  <a:lnTo>
                    <a:pt x="571" y="2058"/>
                  </a:lnTo>
                  <a:lnTo>
                    <a:pt x="573" y="2058"/>
                  </a:lnTo>
                  <a:lnTo>
                    <a:pt x="573" y="2087"/>
                  </a:lnTo>
                  <a:lnTo>
                    <a:pt x="576" y="2135"/>
                  </a:lnTo>
                  <a:lnTo>
                    <a:pt x="577" y="2158"/>
                  </a:lnTo>
                  <a:lnTo>
                    <a:pt x="580" y="2179"/>
                  </a:lnTo>
                  <a:lnTo>
                    <a:pt x="582" y="2186"/>
                  </a:lnTo>
                  <a:lnTo>
                    <a:pt x="583" y="2192"/>
                  </a:lnTo>
                  <a:lnTo>
                    <a:pt x="584" y="2196"/>
                  </a:lnTo>
                  <a:lnTo>
                    <a:pt x="586" y="2198"/>
                  </a:lnTo>
                  <a:lnTo>
                    <a:pt x="586" y="2206"/>
                  </a:lnTo>
                  <a:lnTo>
                    <a:pt x="590" y="2208"/>
                  </a:lnTo>
                  <a:lnTo>
                    <a:pt x="593" y="2212"/>
                  </a:lnTo>
                  <a:lnTo>
                    <a:pt x="598" y="2218"/>
                  </a:lnTo>
                  <a:lnTo>
                    <a:pt x="601" y="2224"/>
                  </a:lnTo>
                  <a:lnTo>
                    <a:pt x="608" y="2237"/>
                  </a:lnTo>
                  <a:lnTo>
                    <a:pt x="613" y="2242"/>
                  </a:lnTo>
                  <a:lnTo>
                    <a:pt x="613" y="2262"/>
                  </a:lnTo>
                  <a:lnTo>
                    <a:pt x="613" y="2297"/>
                  </a:lnTo>
                  <a:lnTo>
                    <a:pt x="614" y="2316"/>
                  </a:lnTo>
                  <a:lnTo>
                    <a:pt x="615" y="2330"/>
                  </a:lnTo>
                  <a:lnTo>
                    <a:pt x="617" y="2342"/>
                  </a:lnTo>
                  <a:lnTo>
                    <a:pt x="618" y="2346"/>
                  </a:lnTo>
                  <a:lnTo>
                    <a:pt x="618" y="2352"/>
                  </a:lnTo>
                  <a:lnTo>
                    <a:pt x="618" y="2361"/>
                  </a:lnTo>
                  <a:lnTo>
                    <a:pt x="619" y="2365"/>
                  </a:lnTo>
                  <a:lnTo>
                    <a:pt x="620" y="2369"/>
                  </a:lnTo>
                  <a:lnTo>
                    <a:pt x="621" y="2372"/>
                  </a:lnTo>
                  <a:lnTo>
                    <a:pt x="622" y="2373"/>
                  </a:lnTo>
                  <a:lnTo>
                    <a:pt x="623" y="2387"/>
                  </a:lnTo>
                  <a:lnTo>
                    <a:pt x="625" y="2412"/>
                  </a:lnTo>
                  <a:lnTo>
                    <a:pt x="628" y="2424"/>
                  </a:lnTo>
                  <a:lnTo>
                    <a:pt x="630" y="2434"/>
                  </a:lnTo>
                  <a:lnTo>
                    <a:pt x="631" y="2439"/>
                  </a:lnTo>
                  <a:lnTo>
                    <a:pt x="632" y="2442"/>
                  </a:lnTo>
                  <a:lnTo>
                    <a:pt x="634" y="2444"/>
                  </a:lnTo>
                  <a:lnTo>
                    <a:pt x="636" y="2444"/>
                  </a:lnTo>
                  <a:lnTo>
                    <a:pt x="638" y="2460"/>
                  </a:lnTo>
                  <a:lnTo>
                    <a:pt x="640" y="2475"/>
                  </a:lnTo>
                  <a:lnTo>
                    <a:pt x="646" y="2483"/>
                  </a:lnTo>
                  <a:lnTo>
                    <a:pt x="653" y="2494"/>
                  </a:lnTo>
                  <a:lnTo>
                    <a:pt x="653" y="2503"/>
                  </a:lnTo>
                  <a:lnTo>
                    <a:pt x="657" y="2503"/>
                  </a:lnTo>
                  <a:lnTo>
                    <a:pt x="659" y="2506"/>
                  </a:lnTo>
                  <a:lnTo>
                    <a:pt x="660" y="2509"/>
                  </a:lnTo>
                  <a:lnTo>
                    <a:pt x="661" y="2513"/>
                  </a:lnTo>
                  <a:lnTo>
                    <a:pt x="662" y="2522"/>
                  </a:lnTo>
                  <a:lnTo>
                    <a:pt x="662" y="2530"/>
                  </a:lnTo>
                  <a:lnTo>
                    <a:pt x="671" y="2539"/>
                  </a:lnTo>
                  <a:lnTo>
                    <a:pt x="671" y="2548"/>
                  </a:lnTo>
                  <a:lnTo>
                    <a:pt x="676" y="2550"/>
                  </a:lnTo>
                  <a:lnTo>
                    <a:pt x="679" y="2555"/>
                  </a:lnTo>
                  <a:lnTo>
                    <a:pt x="680" y="2555"/>
                  </a:lnTo>
                  <a:lnTo>
                    <a:pt x="704" y="2547"/>
                  </a:lnTo>
                  <a:lnTo>
                    <a:pt x="729" y="2539"/>
                  </a:lnTo>
                  <a:lnTo>
                    <a:pt x="743" y="2537"/>
                  </a:lnTo>
                  <a:lnTo>
                    <a:pt x="756" y="2535"/>
                  </a:lnTo>
                  <a:lnTo>
                    <a:pt x="772" y="2533"/>
                  </a:lnTo>
                  <a:lnTo>
                    <a:pt x="787" y="2532"/>
                  </a:lnTo>
                  <a:lnTo>
                    <a:pt x="795" y="2523"/>
                  </a:lnTo>
                  <a:lnTo>
                    <a:pt x="805" y="2515"/>
                  </a:lnTo>
                  <a:lnTo>
                    <a:pt x="807" y="2510"/>
                  </a:lnTo>
                  <a:lnTo>
                    <a:pt x="811" y="2503"/>
                  </a:lnTo>
                  <a:lnTo>
                    <a:pt x="813" y="2499"/>
                  </a:lnTo>
                  <a:lnTo>
                    <a:pt x="815" y="2497"/>
                  </a:lnTo>
                  <a:lnTo>
                    <a:pt x="817" y="2494"/>
                  </a:lnTo>
                  <a:lnTo>
                    <a:pt x="821" y="2493"/>
                  </a:lnTo>
                  <a:lnTo>
                    <a:pt x="821" y="2490"/>
                  </a:lnTo>
                  <a:lnTo>
                    <a:pt x="823" y="2487"/>
                  </a:lnTo>
                  <a:lnTo>
                    <a:pt x="826" y="2486"/>
                  </a:lnTo>
                  <a:lnTo>
                    <a:pt x="830" y="2483"/>
                  </a:lnTo>
                  <a:lnTo>
                    <a:pt x="840" y="2482"/>
                  </a:lnTo>
                  <a:lnTo>
                    <a:pt x="851" y="2483"/>
                  </a:lnTo>
                  <a:lnTo>
                    <a:pt x="862" y="2483"/>
                  </a:lnTo>
                  <a:lnTo>
                    <a:pt x="872" y="2484"/>
                  </a:lnTo>
                  <a:lnTo>
                    <a:pt x="876" y="2484"/>
                  </a:lnTo>
                  <a:lnTo>
                    <a:pt x="879" y="2483"/>
                  </a:lnTo>
                  <a:lnTo>
                    <a:pt x="880" y="2482"/>
                  </a:lnTo>
                  <a:lnTo>
                    <a:pt x="881" y="2481"/>
                  </a:lnTo>
                  <a:lnTo>
                    <a:pt x="886" y="2480"/>
                  </a:lnTo>
                  <a:lnTo>
                    <a:pt x="890" y="2478"/>
                  </a:lnTo>
                  <a:lnTo>
                    <a:pt x="892" y="2474"/>
                  </a:lnTo>
                  <a:lnTo>
                    <a:pt x="893" y="2472"/>
                  </a:lnTo>
                  <a:lnTo>
                    <a:pt x="908" y="2477"/>
                  </a:lnTo>
                  <a:lnTo>
                    <a:pt x="935" y="2489"/>
                  </a:lnTo>
                  <a:lnTo>
                    <a:pt x="969" y="2504"/>
                  </a:lnTo>
                  <a:lnTo>
                    <a:pt x="1008" y="2520"/>
                  </a:lnTo>
                  <a:lnTo>
                    <a:pt x="1027" y="2528"/>
                  </a:lnTo>
                  <a:lnTo>
                    <a:pt x="1045" y="2533"/>
                  </a:lnTo>
                  <a:lnTo>
                    <a:pt x="1062" y="2537"/>
                  </a:lnTo>
                  <a:lnTo>
                    <a:pt x="1078" y="2539"/>
                  </a:lnTo>
                  <a:lnTo>
                    <a:pt x="1084" y="2538"/>
                  </a:lnTo>
                  <a:lnTo>
                    <a:pt x="1090" y="2538"/>
                  </a:lnTo>
                  <a:lnTo>
                    <a:pt x="1095" y="2536"/>
                  </a:lnTo>
                  <a:lnTo>
                    <a:pt x="1100" y="2533"/>
                  </a:lnTo>
                  <a:lnTo>
                    <a:pt x="1103" y="2530"/>
                  </a:lnTo>
                  <a:lnTo>
                    <a:pt x="1107" y="2526"/>
                  </a:lnTo>
                  <a:lnTo>
                    <a:pt x="1108" y="2521"/>
                  </a:lnTo>
                  <a:lnTo>
                    <a:pt x="1109" y="2515"/>
                  </a:lnTo>
                  <a:lnTo>
                    <a:pt x="1114" y="2506"/>
                  </a:lnTo>
                  <a:lnTo>
                    <a:pt x="1121" y="2497"/>
                  </a:lnTo>
                  <a:lnTo>
                    <a:pt x="1121" y="2490"/>
                  </a:lnTo>
                  <a:lnTo>
                    <a:pt x="1127" y="2490"/>
                  </a:lnTo>
                  <a:lnTo>
                    <a:pt x="1128" y="2488"/>
                  </a:lnTo>
                  <a:lnTo>
                    <a:pt x="1130" y="2487"/>
                  </a:lnTo>
                  <a:lnTo>
                    <a:pt x="1134" y="2484"/>
                  </a:lnTo>
                  <a:lnTo>
                    <a:pt x="1139" y="2484"/>
                  </a:lnTo>
                  <a:lnTo>
                    <a:pt x="1145" y="2477"/>
                  </a:lnTo>
                  <a:lnTo>
                    <a:pt x="1156" y="2467"/>
                  </a:lnTo>
                  <a:lnTo>
                    <a:pt x="1165" y="2456"/>
                  </a:lnTo>
                  <a:lnTo>
                    <a:pt x="1169" y="2451"/>
                  </a:lnTo>
                  <a:lnTo>
                    <a:pt x="1174" y="2450"/>
                  </a:lnTo>
                  <a:lnTo>
                    <a:pt x="1178" y="2446"/>
                  </a:lnTo>
                  <a:lnTo>
                    <a:pt x="1184" y="2442"/>
                  </a:lnTo>
                  <a:lnTo>
                    <a:pt x="1188" y="2438"/>
                  </a:lnTo>
                  <a:lnTo>
                    <a:pt x="1198" y="2427"/>
                  </a:lnTo>
                  <a:lnTo>
                    <a:pt x="1206" y="2424"/>
                  </a:lnTo>
                  <a:lnTo>
                    <a:pt x="1206" y="2415"/>
                  </a:lnTo>
                  <a:lnTo>
                    <a:pt x="1207" y="2405"/>
                  </a:lnTo>
                  <a:lnTo>
                    <a:pt x="1208" y="2394"/>
                  </a:lnTo>
                  <a:lnTo>
                    <a:pt x="1208" y="2384"/>
                  </a:lnTo>
                  <a:lnTo>
                    <a:pt x="1242" y="2375"/>
                  </a:lnTo>
                  <a:lnTo>
                    <a:pt x="1256" y="2374"/>
                  </a:lnTo>
                  <a:lnTo>
                    <a:pt x="1274" y="2371"/>
                  </a:lnTo>
                  <a:lnTo>
                    <a:pt x="1274" y="2361"/>
                  </a:lnTo>
                  <a:lnTo>
                    <a:pt x="1289" y="2353"/>
                  </a:lnTo>
                  <a:lnTo>
                    <a:pt x="1296" y="2345"/>
                  </a:lnTo>
                  <a:lnTo>
                    <a:pt x="1297" y="2343"/>
                  </a:lnTo>
                  <a:lnTo>
                    <a:pt x="1297" y="2339"/>
                  </a:lnTo>
                  <a:lnTo>
                    <a:pt x="1300" y="2337"/>
                  </a:lnTo>
                  <a:lnTo>
                    <a:pt x="1302" y="2335"/>
                  </a:lnTo>
                  <a:lnTo>
                    <a:pt x="1304" y="2333"/>
                  </a:lnTo>
                  <a:lnTo>
                    <a:pt x="1306" y="2331"/>
                  </a:lnTo>
                  <a:lnTo>
                    <a:pt x="1310" y="2330"/>
                  </a:lnTo>
                  <a:lnTo>
                    <a:pt x="1312" y="2330"/>
                  </a:lnTo>
                  <a:lnTo>
                    <a:pt x="1312" y="2326"/>
                  </a:lnTo>
                  <a:lnTo>
                    <a:pt x="1313" y="2324"/>
                  </a:lnTo>
                  <a:lnTo>
                    <a:pt x="1314" y="2323"/>
                  </a:lnTo>
                  <a:lnTo>
                    <a:pt x="1316" y="2323"/>
                  </a:lnTo>
                  <a:lnTo>
                    <a:pt x="1318" y="2323"/>
                  </a:lnTo>
                  <a:lnTo>
                    <a:pt x="1319" y="2321"/>
                  </a:lnTo>
                  <a:lnTo>
                    <a:pt x="1320" y="2319"/>
                  </a:lnTo>
                  <a:lnTo>
                    <a:pt x="1320" y="2315"/>
                  </a:lnTo>
                  <a:lnTo>
                    <a:pt x="1335" y="2315"/>
                  </a:lnTo>
                  <a:lnTo>
                    <a:pt x="1343" y="2307"/>
                  </a:lnTo>
                  <a:lnTo>
                    <a:pt x="1343" y="2214"/>
                  </a:lnTo>
                  <a:lnTo>
                    <a:pt x="1347" y="2213"/>
                  </a:lnTo>
                  <a:lnTo>
                    <a:pt x="1350" y="2210"/>
                  </a:lnTo>
                  <a:lnTo>
                    <a:pt x="1353" y="2206"/>
                  </a:lnTo>
                  <a:lnTo>
                    <a:pt x="1358" y="2201"/>
                  </a:lnTo>
                  <a:lnTo>
                    <a:pt x="1361" y="2196"/>
                  </a:lnTo>
                  <a:lnTo>
                    <a:pt x="1363" y="2191"/>
                  </a:lnTo>
                  <a:lnTo>
                    <a:pt x="1366" y="2186"/>
                  </a:lnTo>
                  <a:lnTo>
                    <a:pt x="1367" y="2183"/>
                  </a:lnTo>
                  <a:lnTo>
                    <a:pt x="1372" y="2183"/>
                  </a:lnTo>
                  <a:lnTo>
                    <a:pt x="1377" y="2182"/>
                  </a:lnTo>
                  <a:lnTo>
                    <a:pt x="1379" y="2181"/>
                  </a:lnTo>
                  <a:lnTo>
                    <a:pt x="1380" y="2180"/>
                  </a:lnTo>
                  <a:lnTo>
                    <a:pt x="1381" y="2177"/>
                  </a:lnTo>
                  <a:lnTo>
                    <a:pt x="1381" y="2175"/>
                  </a:lnTo>
                  <a:lnTo>
                    <a:pt x="1397" y="2175"/>
                  </a:lnTo>
                  <a:lnTo>
                    <a:pt x="1398" y="2171"/>
                  </a:lnTo>
                  <a:lnTo>
                    <a:pt x="1398" y="2169"/>
                  </a:lnTo>
                  <a:lnTo>
                    <a:pt x="1399" y="2167"/>
                  </a:lnTo>
                  <a:lnTo>
                    <a:pt x="1401" y="2167"/>
                  </a:lnTo>
                  <a:lnTo>
                    <a:pt x="1402" y="2167"/>
                  </a:lnTo>
                  <a:lnTo>
                    <a:pt x="1404" y="2166"/>
                  </a:lnTo>
                  <a:lnTo>
                    <a:pt x="1405" y="2164"/>
                  </a:lnTo>
                  <a:lnTo>
                    <a:pt x="1405" y="2160"/>
                  </a:lnTo>
                  <a:lnTo>
                    <a:pt x="1410" y="2160"/>
                  </a:lnTo>
                  <a:lnTo>
                    <a:pt x="1416" y="2158"/>
                  </a:lnTo>
                  <a:lnTo>
                    <a:pt x="1418" y="2158"/>
                  </a:lnTo>
                  <a:lnTo>
                    <a:pt x="1419" y="2156"/>
                  </a:lnTo>
                  <a:lnTo>
                    <a:pt x="1420" y="2155"/>
                  </a:lnTo>
                  <a:lnTo>
                    <a:pt x="1420" y="2152"/>
                  </a:lnTo>
                  <a:lnTo>
                    <a:pt x="1447" y="2152"/>
                  </a:lnTo>
                  <a:lnTo>
                    <a:pt x="1492" y="2151"/>
                  </a:lnTo>
                  <a:lnTo>
                    <a:pt x="1514" y="2151"/>
                  </a:lnTo>
                  <a:lnTo>
                    <a:pt x="1533" y="2148"/>
                  </a:lnTo>
                  <a:lnTo>
                    <a:pt x="1541" y="2148"/>
                  </a:lnTo>
                  <a:lnTo>
                    <a:pt x="1546" y="2147"/>
                  </a:lnTo>
                  <a:lnTo>
                    <a:pt x="1551" y="2146"/>
                  </a:lnTo>
                  <a:lnTo>
                    <a:pt x="1552" y="2144"/>
                  </a:lnTo>
                  <a:lnTo>
                    <a:pt x="1583" y="2144"/>
                  </a:lnTo>
                  <a:lnTo>
                    <a:pt x="1583" y="2124"/>
                  </a:lnTo>
                  <a:lnTo>
                    <a:pt x="1583" y="2098"/>
                  </a:lnTo>
                  <a:lnTo>
                    <a:pt x="1583" y="2073"/>
                  </a:lnTo>
                  <a:lnTo>
                    <a:pt x="1583" y="2051"/>
                  </a:lnTo>
                  <a:lnTo>
                    <a:pt x="1590" y="2044"/>
                  </a:lnTo>
                  <a:lnTo>
                    <a:pt x="1613" y="2044"/>
                  </a:lnTo>
                  <a:lnTo>
                    <a:pt x="1620" y="2050"/>
                  </a:lnTo>
                  <a:lnTo>
                    <a:pt x="1629" y="2055"/>
                  </a:lnTo>
                  <a:lnTo>
                    <a:pt x="1638" y="2058"/>
                  </a:lnTo>
                  <a:lnTo>
                    <a:pt x="1645" y="2059"/>
                  </a:lnTo>
                  <a:lnTo>
                    <a:pt x="1660" y="2044"/>
                  </a:lnTo>
                  <a:lnTo>
                    <a:pt x="1667" y="2051"/>
                  </a:lnTo>
                  <a:lnTo>
                    <a:pt x="1666" y="2027"/>
                  </a:lnTo>
                  <a:lnTo>
                    <a:pt x="1665" y="2002"/>
                  </a:lnTo>
                  <a:lnTo>
                    <a:pt x="1663" y="1977"/>
                  </a:lnTo>
                  <a:lnTo>
                    <a:pt x="1660" y="1950"/>
                  </a:lnTo>
                  <a:lnTo>
                    <a:pt x="1657" y="1924"/>
                  </a:lnTo>
                  <a:lnTo>
                    <a:pt x="1656" y="1897"/>
                  </a:lnTo>
                  <a:lnTo>
                    <a:pt x="1654" y="1869"/>
                  </a:lnTo>
                  <a:lnTo>
                    <a:pt x="1654" y="1843"/>
                  </a:lnTo>
                  <a:lnTo>
                    <a:pt x="1649" y="1838"/>
                  </a:lnTo>
                  <a:lnTo>
                    <a:pt x="1646" y="1826"/>
                  </a:lnTo>
                  <a:lnTo>
                    <a:pt x="1644" y="1820"/>
                  </a:lnTo>
                  <a:lnTo>
                    <a:pt x="1640" y="1815"/>
                  </a:lnTo>
                  <a:lnTo>
                    <a:pt x="1638" y="1811"/>
                  </a:lnTo>
                  <a:lnTo>
                    <a:pt x="1635" y="1810"/>
                  </a:lnTo>
                  <a:lnTo>
                    <a:pt x="1632" y="1805"/>
                  </a:lnTo>
                  <a:lnTo>
                    <a:pt x="1627" y="1798"/>
                  </a:lnTo>
                  <a:lnTo>
                    <a:pt x="1620" y="1791"/>
                  </a:lnTo>
                  <a:lnTo>
                    <a:pt x="1616" y="1787"/>
                  </a:lnTo>
                  <a:lnTo>
                    <a:pt x="1611" y="1787"/>
                  </a:lnTo>
                  <a:lnTo>
                    <a:pt x="1607" y="1786"/>
                  </a:lnTo>
                  <a:lnTo>
                    <a:pt x="1604" y="1786"/>
                  </a:lnTo>
                  <a:lnTo>
                    <a:pt x="1603" y="1785"/>
                  </a:lnTo>
                  <a:lnTo>
                    <a:pt x="1602" y="1784"/>
                  </a:lnTo>
                  <a:lnTo>
                    <a:pt x="1601" y="1781"/>
                  </a:lnTo>
                  <a:lnTo>
                    <a:pt x="1596" y="1781"/>
                  </a:lnTo>
                  <a:lnTo>
                    <a:pt x="1585" y="1779"/>
                  </a:lnTo>
                  <a:lnTo>
                    <a:pt x="1581" y="1778"/>
                  </a:lnTo>
                  <a:lnTo>
                    <a:pt x="1578" y="1776"/>
                  </a:lnTo>
                  <a:lnTo>
                    <a:pt x="1574" y="1775"/>
                  </a:lnTo>
                  <a:lnTo>
                    <a:pt x="1573" y="1772"/>
                  </a:lnTo>
                  <a:lnTo>
                    <a:pt x="1570" y="1772"/>
                  </a:lnTo>
                  <a:lnTo>
                    <a:pt x="1567" y="1771"/>
                  </a:lnTo>
                  <a:lnTo>
                    <a:pt x="1564" y="1770"/>
                  </a:lnTo>
                  <a:lnTo>
                    <a:pt x="1564" y="1768"/>
                  </a:lnTo>
                  <a:lnTo>
                    <a:pt x="1554" y="1768"/>
                  </a:lnTo>
                  <a:lnTo>
                    <a:pt x="1553" y="1763"/>
                  </a:lnTo>
                  <a:lnTo>
                    <a:pt x="1550" y="1759"/>
                  </a:lnTo>
                  <a:lnTo>
                    <a:pt x="1544" y="1756"/>
                  </a:lnTo>
                  <a:lnTo>
                    <a:pt x="1541" y="1753"/>
                  </a:lnTo>
                  <a:lnTo>
                    <a:pt x="1541" y="1744"/>
                  </a:lnTo>
                  <a:lnTo>
                    <a:pt x="1542" y="1733"/>
                  </a:lnTo>
                  <a:lnTo>
                    <a:pt x="1543" y="1729"/>
                  </a:lnTo>
                  <a:lnTo>
                    <a:pt x="1544" y="1724"/>
                  </a:lnTo>
                  <a:lnTo>
                    <a:pt x="1546" y="1722"/>
                  </a:lnTo>
                  <a:lnTo>
                    <a:pt x="1550" y="1721"/>
                  </a:lnTo>
                  <a:lnTo>
                    <a:pt x="1552" y="1711"/>
                  </a:lnTo>
                  <a:lnTo>
                    <a:pt x="1554" y="1702"/>
                  </a:lnTo>
                  <a:lnTo>
                    <a:pt x="1562" y="1700"/>
                  </a:lnTo>
                  <a:lnTo>
                    <a:pt x="1569" y="1698"/>
                  </a:lnTo>
                  <a:lnTo>
                    <a:pt x="1569" y="1688"/>
                  </a:lnTo>
                  <a:lnTo>
                    <a:pt x="1573" y="1683"/>
                  </a:lnTo>
                  <a:lnTo>
                    <a:pt x="1577" y="1683"/>
                  </a:lnTo>
                  <a:lnTo>
                    <a:pt x="1580" y="1683"/>
                  </a:lnTo>
                  <a:lnTo>
                    <a:pt x="1582" y="1681"/>
                  </a:lnTo>
                  <a:lnTo>
                    <a:pt x="1583" y="1679"/>
                  </a:lnTo>
                  <a:lnTo>
                    <a:pt x="1597" y="1676"/>
                  </a:lnTo>
                  <a:lnTo>
                    <a:pt x="1607" y="1674"/>
                  </a:lnTo>
                  <a:lnTo>
                    <a:pt x="1609" y="1669"/>
                  </a:lnTo>
                  <a:lnTo>
                    <a:pt x="1611" y="1664"/>
                  </a:lnTo>
                  <a:lnTo>
                    <a:pt x="1618" y="1663"/>
                  </a:lnTo>
                  <a:lnTo>
                    <a:pt x="1629" y="1659"/>
                  </a:lnTo>
                  <a:lnTo>
                    <a:pt x="1635" y="1656"/>
                  </a:lnTo>
                  <a:lnTo>
                    <a:pt x="1639" y="1654"/>
                  </a:lnTo>
                  <a:lnTo>
                    <a:pt x="1642" y="1652"/>
                  </a:lnTo>
                  <a:lnTo>
                    <a:pt x="1644" y="1651"/>
                  </a:lnTo>
                  <a:lnTo>
                    <a:pt x="1658" y="1651"/>
                  </a:lnTo>
                  <a:lnTo>
                    <a:pt x="1663" y="1645"/>
                  </a:lnTo>
                  <a:lnTo>
                    <a:pt x="1667" y="1641"/>
                  </a:lnTo>
                  <a:lnTo>
                    <a:pt x="1674" y="1640"/>
                  </a:lnTo>
                  <a:lnTo>
                    <a:pt x="1683" y="1637"/>
                  </a:lnTo>
                  <a:lnTo>
                    <a:pt x="1692" y="1634"/>
                  </a:lnTo>
                  <a:lnTo>
                    <a:pt x="1702" y="1631"/>
                  </a:lnTo>
                  <a:lnTo>
                    <a:pt x="1712" y="1626"/>
                  </a:lnTo>
                  <a:lnTo>
                    <a:pt x="1721" y="1621"/>
                  </a:lnTo>
                  <a:lnTo>
                    <a:pt x="1728" y="1616"/>
                  </a:lnTo>
                  <a:lnTo>
                    <a:pt x="1733" y="1613"/>
                  </a:lnTo>
                  <a:lnTo>
                    <a:pt x="1743" y="1613"/>
                  </a:lnTo>
                  <a:lnTo>
                    <a:pt x="1747" y="1603"/>
                  </a:lnTo>
                  <a:lnTo>
                    <a:pt x="1752" y="1600"/>
                  </a:lnTo>
                  <a:lnTo>
                    <a:pt x="1756" y="1598"/>
                  </a:lnTo>
                  <a:lnTo>
                    <a:pt x="1762" y="1594"/>
                  </a:lnTo>
                  <a:lnTo>
                    <a:pt x="1762" y="1570"/>
                  </a:lnTo>
                  <a:lnTo>
                    <a:pt x="1763" y="1567"/>
                  </a:lnTo>
                  <a:lnTo>
                    <a:pt x="1765" y="1557"/>
                  </a:lnTo>
                  <a:lnTo>
                    <a:pt x="1767" y="1544"/>
                  </a:lnTo>
                  <a:lnTo>
                    <a:pt x="1770" y="1528"/>
                  </a:lnTo>
                  <a:lnTo>
                    <a:pt x="1774" y="1499"/>
                  </a:lnTo>
                  <a:lnTo>
                    <a:pt x="1775" y="1486"/>
                  </a:lnTo>
                  <a:lnTo>
                    <a:pt x="1780" y="1481"/>
                  </a:lnTo>
                  <a:lnTo>
                    <a:pt x="1783" y="1480"/>
                  </a:lnTo>
                  <a:lnTo>
                    <a:pt x="1786" y="1475"/>
                  </a:lnTo>
                  <a:lnTo>
                    <a:pt x="1789" y="1471"/>
                  </a:lnTo>
                  <a:lnTo>
                    <a:pt x="1790" y="1467"/>
                  </a:lnTo>
                  <a:lnTo>
                    <a:pt x="1794" y="1464"/>
                  </a:lnTo>
                  <a:lnTo>
                    <a:pt x="1799" y="1462"/>
                  </a:lnTo>
                  <a:lnTo>
                    <a:pt x="1799" y="1453"/>
                  </a:lnTo>
                  <a:lnTo>
                    <a:pt x="1802" y="1452"/>
                  </a:lnTo>
                  <a:lnTo>
                    <a:pt x="1805" y="1450"/>
                  </a:lnTo>
                  <a:lnTo>
                    <a:pt x="1810" y="1446"/>
                  </a:lnTo>
                  <a:lnTo>
                    <a:pt x="1813" y="1443"/>
                  </a:lnTo>
                  <a:lnTo>
                    <a:pt x="1813" y="1426"/>
                  </a:lnTo>
                  <a:lnTo>
                    <a:pt x="1811" y="1407"/>
                  </a:lnTo>
                  <a:lnTo>
                    <a:pt x="1810" y="1398"/>
                  </a:lnTo>
                  <a:lnTo>
                    <a:pt x="1807" y="1392"/>
                  </a:lnTo>
                  <a:lnTo>
                    <a:pt x="1805" y="1388"/>
                  </a:lnTo>
                  <a:lnTo>
                    <a:pt x="1803" y="1386"/>
                  </a:lnTo>
                  <a:lnTo>
                    <a:pt x="1801" y="1384"/>
                  </a:lnTo>
                  <a:lnTo>
                    <a:pt x="1799" y="1383"/>
                  </a:lnTo>
                  <a:lnTo>
                    <a:pt x="1798" y="1376"/>
                  </a:lnTo>
                  <a:lnTo>
                    <a:pt x="1796" y="1372"/>
                  </a:lnTo>
                  <a:lnTo>
                    <a:pt x="1793" y="1367"/>
                  </a:lnTo>
                  <a:lnTo>
                    <a:pt x="1790" y="1364"/>
                  </a:lnTo>
                  <a:lnTo>
                    <a:pt x="1790" y="1355"/>
                  </a:lnTo>
                  <a:lnTo>
                    <a:pt x="1790" y="1343"/>
                  </a:lnTo>
                  <a:lnTo>
                    <a:pt x="1790" y="1330"/>
                  </a:lnTo>
                  <a:lnTo>
                    <a:pt x="1790" y="1321"/>
                  </a:lnTo>
                  <a:lnTo>
                    <a:pt x="1799" y="1317"/>
                  </a:lnTo>
                  <a:lnTo>
                    <a:pt x="1800" y="1314"/>
                  </a:lnTo>
                  <a:lnTo>
                    <a:pt x="1801" y="1309"/>
                  </a:lnTo>
                  <a:lnTo>
                    <a:pt x="1804" y="1306"/>
                  </a:lnTo>
                  <a:lnTo>
                    <a:pt x="1808" y="1302"/>
                  </a:lnTo>
                  <a:lnTo>
                    <a:pt x="1818" y="1295"/>
                  </a:lnTo>
                  <a:lnTo>
                    <a:pt x="1830" y="1287"/>
                  </a:lnTo>
                  <a:lnTo>
                    <a:pt x="1855" y="1275"/>
                  </a:lnTo>
                  <a:lnTo>
                    <a:pt x="1875" y="1265"/>
                  </a:lnTo>
                  <a:lnTo>
                    <a:pt x="1875" y="1279"/>
                  </a:lnTo>
                  <a:lnTo>
                    <a:pt x="1880" y="1279"/>
                  </a:lnTo>
                  <a:lnTo>
                    <a:pt x="1890" y="1279"/>
                  </a:lnTo>
                  <a:lnTo>
                    <a:pt x="1889" y="1267"/>
                  </a:lnTo>
                  <a:lnTo>
                    <a:pt x="1889" y="1258"/>
                  </a:lnTo>
                  <a:lnTo>
                    <a:pt x="1881" y="1244"/>
                  </a:lnTo>
                  <a:lnTo>
                    <a:pt x="1872" y="1230"/>
                  </a:lnTo>
                  <a:lnTo>
                    <a:pt x="1872" y="1219"/>
                  </a:lnTo>
                  <a:lnTo>
                    <a:pt x="1861" y="1209"/>
                  </a:lnTo>
                  <a:lnTo>
                    <a:pt x="1843" y="1209"/>
                  </a:lnTo>
                  <a:lnTo>
                    <a:pt x="1823" y="1209"/>
                  </a:lnTo>
                  <a:lnTo>
                    <a:pt x="1803" y="1209"/>
                  </a:lnTo>
                  <a:lnTo>
                    <a:pt x="1784" y="1209"/>
                  </a:lnTo>
                  <a:lnTo>
                    <a:pt x="1784" y="1210"/>
                  </a:lnTo>
                  <a:lnTo>
                    <a:pt x="1782" y="1211"/>
                  </a:lnTo>
                  <a:lnTo>
                    <a:pt x="1777" y="1212"/>
                  </a:lnTo>
                  <a:lnTo>
                    <a:pt x="1773" y="1213"/>
                  </a:lnTo>
                  <a:lnTo>
                    <a:pt x="1761" y="1213"/>
                  </a:lnTo>
                  <a:lnTo>
                    <a:pt x="1746" y="1212"/>
                  </a:lnTo>
                  <a:lnTo>
                    <a:pt x="1719" y="1210"/>
                  </a:lnTo>
                  <a:lnTo>
                    <a:pt x="1708" y="1209"/>
                  </a:lnTo>
                  <a:lnTo>
                    <a:pt x="1705" y="1206"/>
                  </a:lnTo>
                  <a:lnTo>
                    <a:pt x="1697" y="1205"/>
                  </a:lnTo>
                  <a:lnTo>
                    <a:pt x="1686" y="1204"/>
                  </a:lnTo>
                  <a:lnTo>
                    <a:pt x="1674" y="1203"/>
                  </a:lnTo>
                  <a:lnTo>
                    <a:pt x="1648" y="1203"/>
                  </a:lnTo>
                  <a:lnTo>
                    <a:pt x="1631" y="1203"/>
                  </a:lnTo>
                  <a:lnTo>
                    <a:pt x="1620" y="1202"/>
                  </a:lnTo>
                  <a:lnTo>
                    <a:pt x="1610" y="1200"/>
                  </a:lnTo>
                  <a:lnTo>
                    <a:pt x="1600" y="1198"/>
                  </a:lnTo>
                  <a:lnTo>
                    <a:pt x="1590" y="1194"/>
                  </a:lnTo>
                  <a:lnTo>
                    <a:pt x="1580" y="1192"/>
                  </a:lnTo>
                  <a:lnTo>
                    <a:pt x="1569" y="1189"/>
                  </a:lnTo>
                  <a:lnTo>
                    <a:pt x="1559" y="1186"/>
                  </a:lnTo>
                  <a:lnTo>
                    <a:pt x="1549" y="1186"/>
                  </a:lnTo>
                  <a:lnTo>
                    <a:pt x="1545" y="1177"/>
                  </a:lnTo>
                  <a:lnTo>
                    <a:pt x="1543" y="1170"/>
                  </a:lnTo>
                  <a:lnTo>
                    <a:pt x="1540" y="1169"/>
                  </a:lnTo>
                  <a:lnTo>
                    <a:pt x="1536" y="1164"/>
                  </a:lnTo>
                  <a:lnTo>
                    <a:pt x="1535" y="1162"/>
                  </a:lnTo>
                  <a:lnTo>
                    <a:pt x="1533" y="1161"/>
                  </a:lnTo>
                  <a:lnTo>
                    <a:pt x="1530" y="1160"/>
                  </a:lnTo>
                  <a:lnTo>
                    <a:pt x="1526" y="1159"/>
                  </a:lnTo>
                  <a:lnTo>
                    <a:pt x="1524" y="1142"/>
                  </a:lnTo>
                  <a:lnTo>
                    <a:pt x="1521" y="1126"/>
                  </a:lnTo>
                  <a:lnTo>
                    <a:pt x="1515" y="1121"/>
                  </a:lnTo>
                  <a:lnTo>
                    <a:pt x="1510" y="1115"/>
                  </a:lnTo>
                  <a:lnTo>
                    <a:pt x="1510" y="1098"/>
                  </a:lnTo>
                  <a:lnTo>
                    <a:pt x="1507" y="1098"/>
                  </a:lnTo>
                  <a:lnTo>
                    <a:pt x="1505" y="1096"/>
                  </a:lnTo>
                  <a:lnTo>
                    <a:pt x="1503" y="1094"/>
                  </a:lnTo>
                  <a:lnTo>
                    <a:pt x="1500" y="1090"/>
                  </a:lnTo>
                  <a:lnTo>
                    <a:pt x="1493" y="1083"/>
                  </a:lnTo>
                  <a:lnTo>
                    <a:pt x="1487" y="1073"/>
                  </a:lnTo>
                  <a:lnTo>
                    <a:pt x="1481" y="1061"/>
                  </a:lnTo>
                  <a:lnTo>
                    <a:pt x="1476" y="1052"/>
                  </a:lnTo>
                  <a:lnTo>
                    <a:pt x="1473" y="1044"/>
                  </a:lnTo>
                  <a:lnTo>
                    <a:pt x="1472" y="1038"/>
                  </a:lnTo>
                  <a:lnTo>
                    <a:pt x="1466" y="1036"/>
                  </a:lnTo>
                  <a:lnTo>
                    <a:pt x="1460" y="1032"/>
                  </a:lnTo>
                  <a:lnTo>
                    <a:pt x="1460" y="1010"/>
                  </a:lnTo>
                  <a:lnTo>
                    <a:pt x="1458" y="1010"/>
                  </a:lnTo>
                  <a:lnTo>
                    <a:pt x="1457" y="1007"/>
                  </a:lnTo>
                  <a:lnTo>
                    <a:pt x="1456" y="1003"/>
                  </a:lnTo>
                  <a:lnTo>
                    <a:pt x="1454" y="999"/>
                  </a:lnTo>
                  <a:lnTo>
                    <a:pt x="1452" y="987"/>
                  </a:lnTo>
                  <a:lnTo>
                    <a:pt x="1449" y="972"/>
                  </a:lnTo>
                  <a:lnTo>
                    <a:pt x="1446" y="958"/>
                  </a:lnTo>
                  <a:lnTo>
                    <a:pt x="1443" y="945"/>
                  </a:lnTo>
                  <a:lnTo>
                    <a:pt x="1440" y="941"/>
                  </a:lnTo>
                  <a:lnTo>
                    <a:pt x="1438" y="938"/>
                  </a:lnTo>
                  <a:lnTo>
                    <a:pt x="1436" y="934"/>
                  </a:lnTo>
                  <a:lnTo>
                    <a:pt x="1434" y="934"/>
                  </a:lnTo>
                  <a:lnTo>
                    <a:pt x="1434" y="923"/>
                  </a:lnTo>
                  <a:lnTo>
                    <a:pt x="1431" y="922"/>
                  </a:lnTo>
                  <a:lnTo>
                    <a:pt x="1429" y="921"/>
                  </a:lnTo>
                  <a:lnTo>
                    <a:pt x="1427" y="919"/>
                  </a:lnTo>
                  <a:lnTo>
                    <a:pt x="1426" y="916"/>
                  </a:lnTo>
                  <a:lnTo>
                    <a:pt x="1424" y="911"/>
                  </a:lnTo>
                  <a:lnTo>
                    <a:pt x="1423" y="906"/>
                  </a:lnTo>
                  <a:lnTo>
                    <a:pt x="1418" y="905"/>
                  </a:lnTo>
                  <a:lnTo>
                    <a:pt x="1414" y="903"/>
                  </a:lnTo>
                  <a:lnTo>
                    <a:pt x="1410" y="900"/>
                  </a:lnTo>
                  <a:lnTo>
                    <a:pt x="1406" y="895"/>
                  </a:lnTo>
                  <a:lnTo>
                    <a:pt x="1406" y="884"/>
                  </a:lnTo>
                  <a:lnTo>
                    <a:pt x="1400" y="882"/>
                  </a:lnTo>
                  <a:lnTo>
                    <a:pt x="1395" y="878"/>
                  </a:lnTo>
                  <a:lnTo>
                    <a:pt x="1395" y="857"/>
                  </a:lnTo>
                  <a:lnTo>
                    <a:pt x="1400" y="852"/>
                  </a:lnTo>
                  <a:lnTo>
                    <a:pt x="1406" y="848"/>
                  </a:lnTo>
                  <a:lnTo>
                    <a:pt x="1411" y="846"/>
                  </a:lnTo>
                  <a:lnTo>
                    <a:pt x="1411" y="835"/>
                  </a:lnTo>
                  <a:lnTo>
                    <a:pt x="1423" y="835"/>
                  </a:lnTo>
                  <a:lnTo>
                    <a:pt x="1428" y="821"/>
                  </a:lnTo>
                  <a:lnTo>
                    <a:pt x="1434" y="807"/>
                  </a:lnTo>
                  <a:lnTo>
                    <a:pt x="1437" y="807"/>
                  </a:lnTo>
                  <a:lnTo>
                    <a:pt x="1440" y="804"/>
                  </a:lnTo>
                  <a:lnTo>
                    <a:pt x="1444" y="800"/>
                  </a:lnTo>
                  <a:lnTo>
                    <a:pt x="1444" y="797"/>
                  </a:lnTo>
                  <a:lnTo>
                    <a:pt x="1449" y="794"/>
                  </a:lnTo>
                  <a:lnTo>
                    <a:pt x="1455" y="791"/>
                  </a:lnTo>
                  <a:lnTo>
                    <a:pt x="1455" y="780"/>
                  </a:lnTo>
                  <a:lnTo>
                    <a:pt x="1457" y="779"/>
                  </a:lnTo>
                  <a:lnTo>
                    <a:pt x="1458" y="777"/>
                  </a:lnTo>
                  <a:lnTo>
                    <a:pt x="1459" y="775"/>
                  </a:lnTo>
                  <a:lnTo>
                    <a:pt x="1460" y="771"/>
                  </a:lnTo>
                  <a:lnTo>
                    <a:pt x="1460" y="763"/>
                  </a:lnTo>
                  <a:lnTo>
                    <a:pt x="1460" y="758"/>
                  </a:lnTo>
                  <a:lnTo>
                    <a:pt x="1455" y="752"/>
                  </a:lnTo>
                  <a:lnTo>
                    <a:pt x="1445" y="752"/>
                  </a:lnTo>
                  <a:lnTo>
                    <a:pt x="1433" y="750"/>
                  </a:lnTo>
                  <a:lnTo>
                    <a:pt x="1420" y="748"/>
                  </a:lnTo>
                  <a:lnTo>
                    <a:pt x="1408" y="744"/>
                  </a:lnTo>
                  <a:lnTo>
                    <a:pt x="1395" y="741"/>
                  </a:lnTo>
                  <a:lnTo>
                    <a:pt x="1382" y="739"/>
                  </a:lnTo>
                  <a:lnTo>
                    <a:pt x="1369" y="737"/>
                  </a:lnTo>
                  <a:lnTo>
                    <a:pt x="1357" y="736"/>
                  </a:lnTo>
                  <a:lnTo>
                    <a:pt x="1353" y="718"/>
                  </a:lnTo>
                  <a:lnTo>
                    <a:pt x="1351" y="703"/>
                  </a:lnTo>
                  <a:lnTo>
                    <a:pt x="1340" y="703"/>
                  </a:lnTo>
                  <a:lnTo>
                    <a:pt x="1332" y="695"/>
                  </a:lnTo>
                  <a:lnTo>
                    <a:pt x="1323" y="686"/>
                  </a:lnTo>
                  <a:lnTo>
                    <a:pt x="1312" y="686"/>
                  </a:lnTo>
                  <a:lnTo>
                    <a:pt x="1306" y="681"/>
                  </a:lnTo>
                  <a:lnTo>
                    <a:pt x="1302" y="675"/>
                  </a:lnTo>
                  <a:lnTo>
                    <a:pt x="1296" y="670"/>
                  </a:lnTo>
                  <a:lnTo>
                    <a:pt x="1291" y="664"/>
                  </a:lnTo>
                  <a:lnTo>
                    <a:pt x="1291" y="647"/>
                  </a:lnTo>
                  <a:lnTo>
                    <a:pt x="1293" y="629"/>
                  </a:lnTo>
                  <a:lnTo>
                    <a:pt x="1295" y="613"/>
                  </a:lnTo>
                  <a:lnTo>
                    <a:pt x="1296" y="598"/>
                  </a:lnTo>
                  <a:lnTo>
                    <a:pt x="1297" y="598"/>
                  </a:lnTo>
                  <a:lnTo>
                    <a:pt x="1299" y="597"/>
                  </a:lnTo>
                  <a:lnTo>
                    <a:pt x="1300" y="595"/>
                  </a:lnTo>
                  <a:lnTo>
                    <a:pt x="1301" y="593"/>
                  </a:lnTo>
                  <a:lnTo>
                    <a:pt x="1301" y="587"/>
                  </a:lnTo>
                  <a:lnTo>
                    <a:pt x="1302" y="583"/>
                  </a:lnTo>
                  <a:lnTo>
                    <a:pt x="1303" y="582"/>
                  </a:lnTo>
                  <a:lnTo>
                    <a:pt x="1304" y="579"/>
                  </a:lnTo>
                  <a:lnTo>
                    <a:pt x="1305" y="575"/>
                  </a:lnTo>
                  <a:lnTo>
                    <a:pt x="1306" y="570"/>
                  </a:lnTo>
                  <a:lnTo>
                    <a:pt x="1306" y="561"/>
                  </a:lnTo>
                  <a:lnTo>
                    <a:pt x="1306" y="555"/>
                  </a:lnTo>
                  <a:lnTo>
                    <a:pt x="1309" y="554"/>
                  </a:lnTo>
                  <a:lnTo>
                    <a:pt x="1311" y="551"/>
                  </a:lnTo>
                  <a:lnTo>
                    <a:pt x="1312" y="548"/>
                  </a:lnTo>
                  <a:lnTo>
                    <a:pt x="1314" y="542"/>
                  </a:lnTo>
                  <a:lnTo>
                    <a:pt x="1316" y="530"/>
                  </a:lnTo>
                  <a:lnTo>
                    <a:pt x="1320" y="515"/>
                  </a:lnTo>
                  <a:lnTo>
                    <a:pt x="1322" y="483"/>
                  </a:lnTo>
                  <a:lnTo>
                    <a:pt x="1323" y="461"/>
                  </a:lnTo>
                  <a:lnTo>
                    <a:pt x="1321" y="460"/>
                  </a:lnTo>
                  <a:lnTo>
                    <a:pt x="1320" y="455"/>
                  </a:lnTo>
                  <a:lnTo>
                    <a:pt x="1318" y="450"/>
                  </a:lnTo>
                  <a:lnTo>
                    <a:pt x="1315" y="442"/>
                  </a:lnTo>
                  <a:lnTo>
                    <a:pt x="1313" y="429"/>
                  </a:lnTo>
                  <a:lnTo>
                    <a:pt x="1312" y="423"/>
                  </a:lnTo>
                  <a:lnTo>
                    <a:pt x="1302" y="363"/>
                  </a:lnTo>
                  <a:lnTo>
                    <a:pt x="1302" y="349"/>
                  </a:lnTo>
                  <a:lnTo>
                    <a:pt x="1302" y="335"/>
                  </a:lnTo>
                  <a:lnTo>
                    <a:pt x="1300" y="335"/>
                  </a:lnTo>
                  <a:lnTo>
                    <a:pt x="1299" y="334"/>
                  </a:lnTo>
                  <a:lnTo>
                    <a:pt x="1297" y="332"/>
                  </a:lnTo>
                  <a:lnTo>
                    <a:pt x="1296" y="329"/>
                  </a:lnTo>
                  <a:lnTo>
                    <a:pt x="1296" y="324"/>
                  </a:lnTo>
                  <a:lnTo>
                    <a:pt x="1296" y="319"/>
                  </a:lnTo>
                  <a:lnTo>
                    <a:pt x="1291" y="316"/>
                  </a:lnTo>
                  <a:lnTo>
                    <a:pt x="1285" y="314"/>
                  </a:lnTo>
                  <a:lnTo>
                    <a:pt x="1285" y="297"/>
                  </a:lnTo>
                  <a:lnTo>
                    <a:pt x="1283" y="296"/>
                  </a:lnTo>
                  <a:lnTo>
                    <a:pt x="1282" y="291"/>
                  </a:lnTo>
                  <a:lnTo>
                    <a:pt x="1281" y="286"/>
                  </a:lnTo>
                  <a:lnTo>
                    <a:pt x="1280" y="279"/>
                  </a:lnTo>
                  <a:lnTo>
                    <a:pt x="1280" y="267"/>
                  </a:lnTo>
                  <a:lnTo>
                    <a:pt x="1280" y="258"/>
                  </a:lnTo>
                  <a:lnTo>
                    <a:pt x="1252" y="182"/>
                  </a:lnTo>
                  <a:lnTo>
                    <a:pt x="1243" y="174"/>
                  </a:lnTo>
                  <a:lnTo>
                    <a:pt x="1226" y="156"/>
                  </a:lnTo>
                  <a:lnTo>
                    <a:pt x="1216" y="147"/>
                  </a:lnTo>
                  <a:lnTo>
                    <a:pt x="1207" y="140"/>
                  </a:lnTo>
                  <a:lnTo>
                    <a:pt x="1203" y="136"/>
                  </a:lnTo>
                  <a:lnTo>
                    <a:pt x="1198" y="134"/>
                  </a:lnTo>
                  <a:lnTo>
                    <a:pt x="1195" y="133"/>
                  </a:lnTo>
                  <a:lnTo>
                    <a:pt x="1191" y="132"/>
                  </a:lnTo>
                  <a:lnTo>
                    <a:pt x="1186" y="121"/>
                  </a:lnTo>
                  <a:lnTo>
                    <a:pt x="1177" y="119"/>
                  </a:lnTo>
                  <a:lnTo>
                    <a:pt x="1168" y="115"/>
                  </a:lnTo>
                  <a:lnTo>
                    <a:pt x="1161" y="112"/>
                  </a:lnTo>
                  <a:lnTo>
                    <a:pt x="1159" y="111"/>
                  </a:lnTo>
                  <a:lnTo>
                    <a:pt x="1152" y="109"/>
                  </a:lnTo>
                  <a:lnTo>
                    <a:pt x="1142" y="106"/>
                  </a:lnTo>
                  <a:lnTo>
                    <a:pt x="1138" y="105"/>
                  </a:lnTo>
                  <a:lnTo>
                    <a:pt x="1134" y="103"/>
                  </a:lnTo>
                  <a:lnTo>
                    <a:pt x="1132" y="102"/>
                  </a:lnTo>
                  <a:lnTo>
                    <a:pt x="1131" y="99"/>
                  </a:lnTo>
                  <a:lnTo>
                    <a:pt x="1117" y="98"/>
                  </a:lnTo>
                  <a:lnTo>
                    <a:pt x="1101" y="96"/>
                  </a:lnTo>
                  <a:lnTo>
                    <a:pt x="1085" y="95"/>
                  </a:lnTo>
                  <a:lnTo>
                    <a:pt x="1071" y="94"/>
                  </a:lnTo>
                  <a:lnTo>
                    <a:pt x="1069" y="90"/>
                  </a:lnTo>
                  <a:lnTo>
                    <a:pt x="1065" y="87"/>
                  </a:lnTo>
                  <a:lnTo>
                    <a:pt x="1063" y="86"/>
                  </a:lnTo>
                  <a:lnTo>
                    <a:pt x="1062" y="84"/>
                  </a:lnTo>
                  <a:lnTo>
                    <a:pt x="1060" y="80"/>
                  </a:lnTo>
                  <a:lnTo>
                    <a:pt x="1060" y="77"/>
                  </a:lnTo>
                  <a:lnTo>
                    <a:pt x="1049" y="77"/>
                  </a:lnTo>
                  <a:lnTo>
                    <a:pt x="1043" y="71"/>
                  </a:lnTo>
                  <a:lnTo>
                    <a:pt x="1037" y="66"/>
                  </a:lnTo>
                  <a:lnTo>
                    <a:pt x="1037" y="55"/>
                  </a:lnTo>
                  <a:lnTo>
                    <a:pt x="1035" y="54"/>
                  </a:lnTo>
                  <a:lnTo>
                    <a:pt x="1033" y="50"/>
                  </a:lnTo>
                  <a:lnTo>
                    <a:pt x="1031" y="46"/>
                  </a:lnTo>
                  <a:lnTo>
                    <a:pt x="1027" y="40"/>
                  </a:lnTo>
                  <a:lnTo>
                    <a:pt x="1023" y="30"/>
                  </a:lnTo>
                  <a:lnTo>
                    <a:pt x="1022" y="22"/>
                  </a:lnTo>
                  <a:lnTo>
                    <a:pt x="1018" y="21"/>
                  </a:lnTo>
                  <a:lnTo>
                    <a:pt x="1016" y="19"/>
                  </a:lnTo>
                  <a:lnTo>
                    <a:pt x="1016" y="16"/>
                  </a:lnTo>
                  <a:lnTo>
                    <a:pt x="1016" y="11"/>
                  </a:lnTo>
                  <a:lnTo>
                    <a:pt x="999" y="11"/>
                  </a:lnTo>
                  <a:lnTo>
                    <a:pt x="998" y="9"/>
                  </a:lnTo>
                  <a:lnTo>
                    <a:pt x="996" y="8"/>
                  </a:lnTo>
                  <a:lnTo>
                    <a:pt x="993" y="6"/>
                  </a:lnTo>
                  <a:lnTo>
                    <a:pt x="987" y="4"/>
                  </a:lnTo>
                  <a:lnTo>
                    <a:pt x="975" y="3"/>
                  </a:lnTo>
                  <a:lnTo>
                    <a:pt x="959" y="1"/>
                  </a:lnTo>
                  <a:lnTo>
                    <a:pt x="930" y="0"/>
                  </a:lnTo>
                  <a:lnTo>
                    <a:pt x="911" y="0"/>
                  </a:lnTo>
                  <a:lnTo>
                    <a:pt x="911" y="3"/>
                  </a:lnTo>
                  <a:lnTo>
                    <a:pt x="910" y="4"/>
                  </a:lnTo>
                  <a:lnTo>
                    <a:pt x="908" y="6"/>
                  </a:lnTo>
                  <a:lnTo>
                    <a:pt x="907" y="6"/>
                  </a:lnTo>
                  <a:lnTo>
                    <a:pt x="906" y="6"/>
                  </a:lnTo>
                  <a:lnTo>
                    <a:pt x="905" y="7"/>
                  </a:lnTo>
                  <a:lnTo>
                    <a:pt x="905" y="8"/>
                  </a:lnTo>
                  <a:lnTo>
                    <a:pt x="906" y="11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4" name="Freeform 40"/>
            <p:cNvSpPr>
              <a:spLocks noChangeAspect="1"/>
            </p:cNvSpPr>
            <p:nvPr/>
          </p:nvSpPr>
          <p:spPr bwMode="gray">
            <a:xfrm rot="355651">
              <a:off x="6053520" y="2930525"/>
              <a:ext cx="361822" cy="418390"/>
            </a:xfrm>
            <a:custGeom>
              <a:avLst/>
              <a:gdLst/>
              <a:ahLst/>
              <a:cxnLst>
                <a:cxn ang="0">
                  <a:pos x="365" y="45"/>
                </a:cxn>
                <a:cxn ang="0">
                  <a:pos x="313" y="156"/>
                </a:cxn>
                <a:cxn ang="0">
                  <a:pos x="285" y="203"/>
                </a:cxn>
                <a:cxn ang="0">
                  <a:pos x="218" y="271"/>
                </a:cxn>
                <a:cxn ang="0">
                  <a:pos x="151" y="359"/>
                </a:cxn>
                <a:cxn ang="0">
                  <a:pos x="126" y="389"/>
                </a:cxn>
                <a:cxn ang="0">
                  <a:pos x="58" y="452"/>
                </a:cxn>
                <a:cxn ang="0">
                  <a:pos x="12" y="652"/>
                </a:cxn>
                <a:cxn ang="0">
                  <a:pos x="38" y="920"/>
                </a:cxn>
                <a:cxn ang="0">
                  <a:pos x="84" y="1026"/>
                </a:cxn>
                <a:cxn ang="0">
                  <a:pos x="143" y="1089"/>
                </a:cxn>
                <a:cxn ang="0">
                  <a:pos x="247" y="1103"/>
                </a:cxn>
                <a:cxn ang="0">
                  <a:pos x="337" y="1108"/>
                </a:cxn>
                <a:cxn ang="0">
                  <a:pos x="384" y="1173"/>
                </a:cxn>
                <a:cxn ang="0">
                  <a:pos x="441" y="1290"/>
                </a:cxn>
                <a:cxn ang="0">
                  <a:pos x="527" y="1378"/>
                </a:cxn>
                <a:cxn ang="0">
                  <a:pos x="564" y="1497"/>
                </a:cxn>
                <a:cxn ang="0">
                  <a:pos x="546" y="1543"/>
                </a:cxn>
                <a:cxn ang="0">
                  <a:pos x="627" y="1685"/>
                </a:cxn>
                <a:cxn ang="0">
                  <a:pos x="809" y="1754"/>
                </a:cxn>
                <a:cxn ang="0">
                  <a:pos x="716" y="1875"/>
                </a:cxn>
                <a:cxn ang="0">
                  <a:pos x="782" y="2258"/>
                </a:cxn>
                <a:cxn ang="0">
                  <a:pos x="934" y="2325"/>
                </a:cxn>
                <a:cxn ang="0">
                  <a:pos x="1034" y="2459"/>
                </a:cxn>
                <a:cxn ang="0">
                  <a:pos x="1080" y="2571"/>
                </a:cxn>
                <a:cxn ang="0">
                  <a:pos x="1251" y="2524"/>
                </a:cxn>
                <a:cxn ang="0">
                  <a:pos x="1278" y="2344"/>
                </a:cxn>
                <a:cxn ang="0">
                  <a:pos x="1314" y="2217"/>
                </a:cxn>
                <a:cxn ang="0">
                  <a:pos x="1497" y="2112"/>
                </a:cxn>
                <a:cxn ang="0">
                  <a:pos x="1399" y="1987"/>
                </a:cxn>
                <a:cxn ang="0">
                  <a:pos x="1413" y="1918"/>
                </a:cxn>
                <a:cxn ang="0">
                  <a:pos x="1570" y="1954"/>
                </a:cxn>
                <a:cxn ang="0">
                  <a:pos x="1699" y="1904"/>
                </a:cxn>
                <a:cxn ang="0">
                  <a:pos x="1777" y="1904"/>
                </a:cxn>
                <a:cxn ang="0">
                  <a:pos x="1763" y="1834"/>
                </a:cxn>
                <a:cxn ang="0">
                  <a:pos x="1642" y="1735"/>
                </a:cxn>
                <a:cxn ang="0">
                  <a:pos x="1742" y="1579"/>
                </a:cxn>
                <a:cxn ang="0">
                  <a:pos x="1882" y="1533"/>
                </a:cxn>
                <a:cxn ang="0">
                  <a:pos x="1938" y="1294"/>
                </a:cxn>
                <a:cxn ang="0">
                  <a:pos x="1911" y="1223"/>
                </a:cxn>
                <a:cxn ang="0">
                  <a:pos x="1881" y="1118"/>
                </a:cxn>
                <a:cxn ang="0">
                  <a:pos x="1853" y="998"/>
                </a:cxn>
                <a:cxn ang="0">
                  <a:pos x="1807" y="881"/>
                </a:cxn>
                <a:cxn ang="0">
                  <a:pos x="1788" y="835"/>
                </a:cxn>
                <a:cxn ang="0">
                  <a:pos x="1724" y="784"/>
                </a:cxn>
                <a:cxn ang="0">
                  <a:pos x="1647" y="721"/>
                </a:cxn>
                <a:cxn ang="0">
                  <a:pos x="1584" y="621"/>
                </a:cxn>
                <a:cxn ang="0">
                  <a:pos x="1545" y="495"/>
                </a:cxn>
                <a:cxn ang="0">
                  <a:pos x="1421" y="513"/>
                </a:cxn>
                <a:cxn ang="0">
                  <a:pos x="1246" y="468"/>
                </a:cxn>
                <a:cxn ang="0">
                  <a:pos x="1191" y="439"/>
                </a:cxn>
                <a:cxn ang="0">
                  <a:pos x="1129" y="406"/>
                </a:cxn>
                <a:cxn ang="0">
                  <a:pos x="1046" y="338"/>
                </a:cxn>
                <a:cxn ang="0">
                  <a:pos x="978" y="284"/>
                </a:cxn>
                <a:cxn ang="0">
                  <a:pos x="955" y="238"/>
                </a:cxn>
                <a:cxn ang="0">
                  <a:pos x="930" y="187"/>
                </a:cxn>
                <a:cxn ang="0">
                  <a:pos x="904" y="97"/>
                </a:cxn>
                <a:cxn ang="0">
                  <a:pos x="862" y="46"/>
                </a:cxn>
                <a:cxn ang="0">
                  <a:pos x="692" y="81"/>
                </a:cxn>
                <a:cxn ang="0">
                  <a:pos x="649" y="29"/>
                </a:cxn>
                <a:cxn ang="0">
                  <a:pos x="518" y="14"/>
                </a:cxn>
              </a:cxnLst>
              <a:rect l="0" t="0" r="r" b="b"/>
              <a:pathLst>
                <a:path w="1992" h="2580">
                  <a:moveTo>
                    <a:pt x="408" y="8"/>
                  </a:moveTo>
                  <a:lnTo>
                    <a:pt x="402" y="8"/>
                  </a:lnTo>
                  <a:lnTo>
                    <a:pt x="398" y="10"/>
                  </a:lnTo>
                  <a:lnTo>
                    <a:pt x="393" y="11"/>
                  </a:lnTo>
                  <a:lnTo>
                    <a:pt x="390" y="13"/>
                  </a:lnTo>
                  <a:lnTo>
                    <a:pt x="386" y="15"/>
                  </a:lnTo>
                  <a:lnTo>
                    <a:pt x="384" y="19"/>
                  </a:lnTo>
                  <a:lnTo>
                    <a:pt x="383" y="23"/>
                  </a:lnTo>
                  <a:lnTo>
                    <a:pt x="383" y="29"/>
                  </a:lnTo>
                  <a:lnTo>
                    <a:pt x="379" y="33"/>
                  </a:lnTo>
                  <a:lnTo>
                    <a:pt x="373" y="35"/>
                  </a:lnTo>
                  <a:lnTo>
                    <a:pt x="368" y="38"/>
                  </a:lnTo>
                  <a:lnTo>
                    <a:pt x="367" y="42"/>
                  </a:lnTo>
                  <a:lnTo>
                    <a:pt x="365" y="45"/>
                  </a:lnTo>
                  <a:lnTo>
                    <a:pt x="362" y="49"/>
                  </a:lnTo>
                  <a:lnTo>
                    <a:pt x="358" y="52"/>
                  </a:lnTo>
                  <a:lnTo>
                    <a:pt x="358" y="67"/>
                  </a:lnTo>
                  <a:lnTo>
                    <a:pt x="354" y="69"/>
                  </a:lnTo>
                  <a:lnTo>
                    <a:pt x="350" y="72"/>
                  </a:lnTo>
                  <a:lnTo>
                    <a:pt x="346" y="83"/>
                  </a:lnTo>
                  <a:lnTo>
                    <a:pt x="344" y="96"/>
                  </a:lnTo>
                  <a:lnTo>
                    <a:pt x="325" y="120"/>
                  </a:lnTo>
                  <a:lnTo>
                    <a:pt x="325" y="135"/>
                  </a:lnTo>
                  <a:lnTo>
                    <a:pt x="320" y="137"/>
                  </a:lnTo>
                  <a:lnTo>
                    <a:pt x="315" y="139"/>
                  </a:lnTo>
                  <a:lnTo>
                    <a:pt x="315" y="154"/>
                  </a:lnTo>
                  <a:lnTo>
                    <a:pt x="314" y="155"/>
                  </a:lnTo>
                  <a:lnTo>
                    <a:pt x="313" y="156"/>
                  </a:lnTo>
                  <a:lnTo>
                    <a:pt x="312" y="157"/>
                  </a:lnTo>
                  <a:lnTo>
                    <a:pt x="310" y="159"/>
                  </a:lnTo>
                  <a:lnTo>
                    <a:pt x="310" y="164"/>
                  </a:lnTo>
                  <a:lnTo>
                    <a:pt x="310" y="168"/>
                  </a:lnTo>
                  <a:lnTo>
                    <a:pt x="307" y="169"/>
                  </a:lnTo>
                  <a:lnTo>
                    <a:pt x="305" y="173"/>
                  </a:lnTo>
                  <a:lnTo>
                    <a:pt x="304" y="176"/>
                  </a:lnTo>
                  <a:lnTo>
                    <a:pt x="303" y="180"/>
                  </a:lnTo>
                  <a:lnTo>
                    <a:pt x="300" y="185"/>
                  </a:lnTo>
                  <a:lnTo>
                    <a:pt x="298" y="189"/>
                  </a:lnTo>
                  <a:lnTo>
                    <a:pt x="296" y="192"/>
                  </a:lnTo>
                  <a:lnTo>
                    <a:pt x="291" y="193"/>
                  </a:lnTo>
                  <a:lnTo>
                    <a:pt x="286" y="197"/>
                  </a:lnTo>
                  <a:lnTo>
                    <a:pt x="285" y="203"/>
                  </a:lnTo>
                  <a:lnTo>
                    <a:pt x="280" y="209"/>
                  </a:lnTo>
                  <a:lnTo>
                    <a:pt x="276" y="215"/>
                  </a:lnTo>
                  <a:lnTo>
                    <a:pt x="271" y="217"/>
                  </a:lnTo>
                  <a:lnTo>
                    <a:pt x="271" y="226"/>
                  </a:lnTo>
                  <a:lnTo>
                    <a:pt x="267" y="232"/>
                  </a:lnTo>
                  <a:lnTo>
                    <a:pt x="261" y="236"/>
                  </a:lnTo>
                  <a:lnTo>
                    <a:pt x="252" y="236"/>
                  </a:lnTo>
                  <a:lnTo>
                    <a:pt x="249" y="242"/>
                  </a:lnTo>
                  <a:lnTo>
                    <a:pt x="242" y="247"/>
                  </a:lnTo>
                  <a:lnTo>
                    <a:pt x="233" y="253"/>
                  </a:lnTo>
                  <a:lnTo>
                    <a:pt x="228" y="255"/>
                  </a:lnTo>
                  <a:lnTo>
                    <a:pt x="227" y="260"/>
                  </a:lnTo>
                  <a:lnTo>
                    <a:pt x="222" y="265"/>
                  </a:lnTo>
                  <a:lnTo>
                    <a:pt x="218" y="271"/>
                  </a:lnTo>
                  <a:lnTo>
                    <a:pt x="213" y="275"/>
                  </a:lnTo>
                  <a:lnTo>
                    <a:pt x="213" y="284"/>
                  </a:lnTo>
                  <a:lnTo>
                    <a:pt x="208" y="290"/>
                  </a:lnTo>
                  <a:lnTo>
                    <a:pt x="199" y="294"/>
                  </a:lnTo>
                  <a:lnTo>
                    <a:pt x="199" y="304"/>
                  </a:lnTo>
                  <a:lnTo>
                    <a:pt x="194" y="308"/>
                  </a:lnTo>
                  <a:lnTo>
                    <a:pt x="188" y="314"/>
                  </a:lnTo>
                  <a:lnTo>
                    <a:pt x="182" y="322"/>
                  </a:lnTo>
                  <a:lnTo>
                    <a:pt x="180" y="328"/>
                  </a:lnTo>
                  <a:lnTo>
                    <a:pt x="174" y="333"/>
                  </a:lnTo>
                  <a:lnTo>
                    <a:pt x="165" y="338"/>
                  </a:lnTo>
                  <a:lnTo>
                    <a:pt x="163" y="343"/>
                  </a:lnTo>
                  <a:lnTo>
                    <a:pt x="158" y="352"/>
                  </a:lnTo>
                  <a:lnTo>
                    <a:pt x="151" y="359"/>
                  </a:lnTo>
                  <a:lnTo>
                    <a:pt x="145" y="362"/>
                  </a:lnTo>
                  <a:lnTo>
                    <a:pt x="145" y="367"/>
                  </a:lnTo>
                  <a:lnTo>
                    <a:pt x="142" y="371"/>
                  </a:lnTo>
                  <a:lnTo>
                    <a:pt x="140" y="373"/>
                  </a:lnTo>
                  <a:lnTo>
                    <a:pt x="137" y="375"/>
                  </a:lnTo>
                  <a:lnTo>
                    <a:pt x="134" y="376"/>
                  </a:lnTo>
                  <a:lnTo>
                    <a:pt x="131" y="377"/>
                  </a:lnTo>
                  <a:lnTo>
                    <a:pt x="131" y="382"/>
                  </a:lnTo>
                  <a:lnTo>
                    <a:pt x="131" y="386"/>
                  </a:lnTo>
                  <a:lnTo>
                    <a:pt x="130" y="387"/>
                  </a:lnTo>
                  <a:lnTo>
                    <a:pt x="128" y="388"/>
                  </a:lnTo>
                  <a:lnTo>
                    <a:pt x="127" y="387"/>
                  </a:lnTo>
                  <a:lnTo>
                    <a:pt x="127" y="388"/>
                  </a:lnTo>
                  <a:lnTo>
                    <a:pt x="126" y="389"/>
                  </a:lnTo>
                  <a:lnTo>
                    <a:pt x="126" y="391"/>
                  </a:lnTo>
                  <a:lnTo>
                    <a:pt x="122" y="394"/>
                  </a:lnTo>
                  <a:lnTo>
                    <a:pt x="117" y="399"/>
                  </a:lnTo>
                  <a:lnTo>
                    <a:pt x="113" y="406"/>
                  </a:lnTo>
                  <a:lnTo>
                    <a:pt x="112" y="410"/>
                  </a:lnTo>
                  <a:lnTo>
                    <a:pt x="107" y="412"/>
                  </a:lnTo>
                  <a:lnTo>
                    <a:pt x="102" y="416"/>
                  </a:lnTo>
                  <a:lnTo>
                    <a:pt x="93" y="425"/>
                  </a:lnTo>
                  <a:lnTo>
                    <a:pt x="83" y="435"/>
                  </a:lnTo>
                  <a:lnTo>
                    <a:pt x="73" y="435"/>
                  </a:lnTo>
                  <a:lnTo>
                    <a:pt x="73" y="445"/>
                  </a:lnTo>
                  <a:lnTo>
                    <a:pt x="64" y="445"/>
                  </a:lnTo>
                  <a:lnTo>
                    <a:pt x="62" y="448"/>
                  </a:lnTo>
                  <a:lnTo>
                    <a:pt x="58" y="452"/>
                  </a:lnTo>
                  <a:lnTo>
                    <a:pt x="54" y="453"/>
                  </a:lnTo>
                  <a:lnTo>
                    <a:pt x="49" y="454"/>
                  </a:lnTo>
                  <a:lnTo>
                    <a:pt x="48" y="457"/>
                  </a:lnTo>
                  <a:lnTo>
                    <a:pt x="46" y="460"/>
                  </a:lnTo>
                  <a:lnTo>
                    <a:pt x="43" y="463"/>
                  </a:lnTo>
                  <a:lnTo>
                    <a:pt x="39" y="464"/>
                  </a:lnTo>
                  <a:lnTo>
                    <a:pt x="25" y="478"/>
                  </a:lnTo>
                  <a:lnTo>
                    <a:pt x="24" y="514"/>
                  </a:lnTo>
                  <a:lnTo>
                    <a:pt x="22" y="554"/>
                  </a:lnTo>
                  <a:lnTo>
                    <a:pt x="20" y="594"/>
                  </a:lnTo>
                  <a:lnTo>
                    <a:pt x="20" y="633"/>
                  </a:lnTo>
                  <a:lnTo>
                    <a:pt x="17" y="636"/>
                  </a:lnTo>
                  <a:lnTo>
                    <a:pt x="15" y="642"/>
                  </a:lnTo>
                  <a:lnTo>
                    <a:pt x="12" y="652"/>
                  </a:lnTo>
                  <a:lnTo>
                    <a:pt x="10" y="666"/>
                  </a:lnTo>
                  <a:lnTo>
                    <a:pt x="5" y="702"/>
                  </a:lnTo>
                  <a:lnTo>
                    <a:pt x="0" y="744"/>
                  </a:lnTo>
                  <a:lnTo>
                    <a:pt x="22" y="744"/>
                  </a:lnTo>
                  <a:lnTo>
                    <a:pt x="22" y="767"/>
                  </a:lnTo>
                  <a:lnTo>
                    <a:pt x="21" y="793"/>
                  </a:lnTo>
                  <a:lnTo>
                    <a:pt x="21" y="820"/>
                  </a:lnTo>
                  <a:lnTo>
                    <a:pt x="22" y="848"/>
                  </a:lnTo>
                  <a:lnTo>
                    <a:pt x="24" y="861"/>
                  </a:lnTo>
                  <a:lnTo>
                    <a:pt x="25" y="875"/>
                  </a:lnTo>
                  <a:lnTo>
                    <a:pt x="27" y="887"/>
                  </a:lnTo>
                  <a:lnTo>
                    <a:pt x="30" y="899"/>
                  </a:lnTo>
                  <a:lnTo>
                    <a:pt x="34" y="910"/>
                  </a:lnTo>
                  <a:lnTo>
                    <a:pt x="38" y="920"/>
                  </a:lnTo>
                  <a:lnTo>
                    <a:pt x="44" y="929"/>
                  </a:lnTo>
                  <a:lnTo>
                    <a:pt x="50" y="937"/>
                  </a:lnTo>
                  <a:lnTo>
                    <a:pt x="50" y="952"/>
                  </a:lnTo>
                  <a:lnTo>
                    <a:pt x="57" y="958"/>
                  </a:lnTo>
                  <a:lnTo>
                    <a:pt x="65" y="965"/>
                  </a:lnTo>
                  <a:lnTo>
                    <a:pt x="65" y="979"/>
                  </a:lnTo>
                  <a:lnTo>
                    <a:pt x="66" y="983"/>
                  </a:lnTo>
                  <a:lnTo>
                    <a:pt x="70" y="991"/>
                  </a:lnTo>
                  <a:lnTo>
                    <a:pt x="73" y="995"/>
                  </a:lnTo>
                  <a:lnTo>
                    <a:pt x="75" y="1000"/>
                  </a:lnTo>
                  <a:lnTo>
                    <a:pt x="77" y="1002"/>
                  </a:lnTo>
                  <a:lnTo>
                    <a:pt x="78" y="1003"/>
                  </a:lnTo>
                  <a:lnTo>
                    <a:pt x="82" y="1015"/>
                  </a:lnTo>
                  <a:lnTo>
                    <a:pt x="84" y="1026"/>
                  </a:lnTo>
                  <a:lnTo>
                    <a:pt x="93" y="1031"/>
                  </a:lnTo>
                  <a:lnTo>
                    <a:pt x="93" y="1041"/>
                  </a:lnTo>
                  <a:lnTo>
                    <a:pt x="97" y="1043"/>
                  </a:lnTo>
                  <a:lnTo>
                    <a:pt x="102" y="1045"/>
                  </a:lnTo>
                  <a:lnTo>
                    <a:pt x="103" y="1051"/>
                  </a:lnTo>
                  <a:lnTo>
                    <a:pt x="104" y="1053"/>
                  </a:lnTo>
                  <a:lnTo>
                    <a:pt x="106" y="1054"/>
                  </a:lnTo>
                  <a:lnTo>
                    <a:pt x="112" y="1054"/>
                  </a:lnTo>
                  <a:lnTo>
                    <a:pt x="118" y="1068"/>
                  </a:lnTo>
                  <a:lnTo>
                    <a:pt x="126" y="1078"/>
                  </a:lnTo>
                  <a:lnTo>
                    <a:pt x="131" y="1083"/>
                  </a:lnTo>
                  <a:lnTo>
                    <a:pt x="134" y="1083"/>
                  </a:lnTo>
                  <a:lnTo>
                    <a:pt x="140" y="1085"/>
                  </a:lnTo>
                  <a:lnTo>
                    <a:pt x="143" y="1089"/>
                  </a:lnTo>
                  <a:lnTo>
                    <a:pt x="144" y="1092"/>
                  </a:lnTo>
                  <a:lnTo>
                    <a:pt x="163" y="1101"/>
                  </a:lnTo>
                  <a:lnTo>
                    <a:pt x="178" y="1111"/>
                  </a:lnTo>
                  <a:lnTo>
                    <a:pt x="190" y="1111"/>
                  </a:lnTo>
                  <a:lnTo>
                    <a:pt x="207" y="1110"/>
                  </a:lnTo>
                  <a:lnTo>
                    <a:pt x="216" y="1110"/>
                  </a:lnTo>
                  <a:lnTo>
                    <a:pt x="222" y="1109"/>
                  </a:lnTo>
                  <a:lnTo>
                    <a:pt x="227" y="1108"/>
                  </a:lnTo>
                  <a:lnTo>
                    <a:pt x="229" y="1107"/>
                  </a:lnTo>
                  <a:lnTo>
                    <a:pt x="235" y="1107"/>
                  </a:lnTo>
                  <a:lnTo>
                    <a:pt x="240" y="1106"/>
                  </a:lnTo>
                  <a:lnTo>
                    <a:pt x="243" y="1106"/>
                  </a:lnTo>
                  <a:lnTo>
                    <a:pt x="246" y="1104"/>
                  </a:lnTo>
                  <a:lnTo>
                    <a:pt x="247" y="1103"/>
                  </a:lnTo>
                  <a:lnTo>
                    <a:pt x="248" y="1101"/>
                  </a:lnTo>
                  <a:lnTo>
                    <a:pt x="257" y="1101"/>
                  </a:lnTo>
                  <a:lnTo>
                    <a:pt x="267" y="1099"/>
                  </a:lnTo>
                  <a:lnTo>
                    <a:pt x="279" y="1098"/>
                  </a:lnTo>
                  <a:lnTo>
                    <a:pt x="290" y="1097"/>
                  </a:lnTo>
                  <a:lnTo>
                    <a:pt x="297" y="1097"/>
                  </a:lnTo>
                  <a:lnTo>
                    <a:pt x="308" y="1098"/>
                  </a:lnTo>
                  <a:lnTo>
                    <a:pt x="314" y="1098"/>
                  </a:lnTo>
                  <a:lnTo>
                    <a:pt x="318" y="1099"/>
                  </a:lnTo>
                  <a:lnTo>
                    <a:pt x="322" y="1100"/>
                  </a:lnTo>
                  <a:lnTo>
                    <a:pt x="323" y="1101"/>
                  </a:lnTo>
                  <a:lnTo>
                    <a:pt x="333" y="1101"/>
                  </a:lnTo>
                  <a:lnTo>
                    <a:pt x="334" y="1104"/>
                  </a:lnTo>
                  <a:lnTo>
                    <a:pt x="337" y="1108"/>
                  </a:lnTo>
                  <a:lnTo>
                    <a:pt x="341" y="1110"/>
                  </a:lnTo>
                  <a:lnTo>
                    <a:pt x="342" y="1111"/>
                  </a:lnTo>
                  <a:lnTo>
                    <a:pt x="352" y="1125"/>
                  </a:lnTo>
                  <a:lnTo>
                    <a:pt x="361" y="1135"/>
                  </a:lnTo>
                  <a:lnTo>
                    <a:pt x="367" y="1146"/>
                  </a:lnTo>
                  <a:lnTo>
                    <a:pt x="375" y="1154"/>
                  </a:lnTo>
                  <a:lnTo>
                    <a:pt x="375" y="1157"/>
                  </a:lnTo>
                  <a:lnTo>
                    <a:pt x="375" y="1159"/>
                  </a:lnTo>
                  <a:lnTo>
                    <a:pt x="376" y="1161"/>
                  </a:lnTo>
                  <a:lnTo>
                    <a:pt x="380" y="1162"/>
                  </a:lnTo>
                  <a:lnTo>
                    <a:pt x="380" y="1166"/>
                  </a:lnTo>
                  <a:lnTo>
                    <a:pt x="380" y="1169"/>
                  </a:lnTo>
                  <a:lnTo>
                    <a:pt x="382" y="1171"/>
                  </a:lnTo>
                  <a:lnTo>
                    <a:pt x="384" y="1173"/>
                  </a:lnTo>
                  <a:lnTo>
                    <a:pt x="385" y="1179"/>
                  </a:lnTo>
                  <a:lnTo>
                    <a:pt x="386" y="1187"/>
                  </a:lnTo>
                  <a:lnTo>
                    <a:pt x="389" y="1196"/>
                  </a:lnTo>
                  <a:lnTo>
                    <a:pt x="391" y="1205"/>
                  </a:lnTo>
                  <a:lnTo>
                    <a:pt x="396" y="1222"/>
                  </a:lnTo>
                  <a:lnTo>
                    <a:pt x="399" y="1237"/>
                  </a:lnTo>
                  <a:lnTo>
                    <a:pt x="408" y="1247"/>
                  </a:lnTo>
                  <a:lnTo>
                    <a:pt x="408" y="1256"/>
                  </a:lnTo>
                  <a:lnTo>
                    <a:pt x="412" y="1262"/>
                  </a:lnTo>
                  <a:lnTo>
                    <a:pt x="416" y="1269"/>
                  </a:lnTo>
                  <a:lnTo>
                    <a:pt x="420" y="1275"/>
                  </a:lnTo>
                  <a:lnTo>
                    <a:pt x="422" y="1280"/>
                  </a:lnTo>
                  <a:lnTo>
                    <a:pt x="431" y="1285"/>
                  </a:lnTo>
                  <a:lnTo>
                    <a:pt x="441" y="1290"/>
                  </a:lnTo>
                  <a:lnTo>
                    <a:pt x="450" y="1294"/>
                  </a:lnTo>
                  <a:lnTo>
                    <a:pt x="451" y="1298"/>
                  </a:lnTo>
                  <a:lnTo>
                    <a:pt x="454" y="1302"/>
                  </a:lnTo>
                  <a:lnTo>
                    <a:pt x="459" y="1306"/>
                  </a:lnTo>
                  <a:lnTo>
                    <a:pt x="464" y="1310"/>
                  </a:lnTo>
                  <a:lnTo>
                    <a:pt x="473" y="1318"/>
                  </a:lnTo>
                  <a:lnTo>
                    <a:pt x="478" y="1322"/>
                  </a:lnTo>
                  <a:lnTo>
                    <a:pt x="486" y="1329"/>
                  </a:lnTo>
                  <a:lnTo>
                    <a:pt x="499" y="1342"/>
                  </a:lnTo>
                  <a:lnTo>
                    <a:pt x="510" y="1356"/>
                  </a:lnTo>
                  <a:lnTo>
                    <a:pt x="516" y="1364"/>
                  </a:lnTo>
                  <a:lnTo>
                    <a:pt x="525" y="1369"/>
                  </a:lnTo>
                  <a:lnTo>
                    <a:pt x="526" y="1373"/>
                  </a:lnTo>
                  <a:lnTo>
                    <a:pt x="527" y="1378"/>
                  </a:lnTo>
                  <a:lnTo>
                    <a:pt x="529" y="1382"/>
                  </a:lnTo>
                  <a:lnTo>
                    <a:pt x="533" y="1387"/>
                  </a:lnTo>
                  <a:lnTo>
                    <a:pt x="536" y="1391"/>
                  </a:lnTo>
                  <a:lnTo>
                    <a:pt x="539" y="1395"/>
                  </a:lnTo>
                  <a:lnTo>
                    <a:pt x="542" y="1397"/>
                  </a:lnTo>
                  <a:lnTo>
                    <a:pt x="544" y="1398"/>
                  </a:lnTo>
                  <a:lnTo>
                    <a:pt x="546" y="1405"/>
                  </a:lnTo>
                  <a:lnTo>
                    <a:pt x="548" y="1411"/>
                  </a:lnTo>
                  <a:lnTo>
                    <a:pt x="558" y="1416"/>
                  </a:lnTo>
                  <a:lnTo>
                    <a:pt x="559" y="1433"/>
                  </a:lnTo>
                  <a:lnTo>
                    <a:pt x="563" y="1453"/>
                  </a:lnTo>
                  <a:lnTo>
                    <a:pt x="566" y="1474"/>
                  </a:lnTo>
                  <a:lnTo>
                    <a:pt x="567" y="1496"/>
                  </a:lnTo>
                  <a:lnTo>
                    <a:pt x="564" y="1497"/>
                  </a:lnTo>
                  <a:lnTo>
                    <a:pt x="560" y="1500"/>
                  </a:lnTo>
                  <a:lnTo>
                    <a:pt x="558" y="1502"/>
                  </a:lnTo>
                  <a:lnTo>
                    <a:pt x="558" y="1505"/>
                  </a:lnTo>
                  <a:lnTo>
                    <a:pt x="544" y="1507"/>
                  </a:lnTo>
                  <a:lnTo>
                    <a:pt x="529" y="1511"/>
                  </a:lnTo>
                  <a:lnTo>
                    <a:pt x="526" y="1515"/>
                  </a:lnTo>
                  <a:lnTo>
                    <a:pt x="520" y="1521"/>
                  </a:lnTo>
                  <a:lnTo>
                    <a:pt x="531" y="1523"/>
                  </a:lnTo>
                  <a:lnTo>
                    <a:pt x="539" y="1524"/>
                  </a:lnTo>
                  <a:lnTo>
                    <a:pt x="543" y="1526"/>
                  </a:lnTo>
                  <a:lnTo>
                    <a:pt x="544" y="1527"/>
                  </a:lnTo>
                  <a:lnTo>
                    <a:pt x="546" y="1529"/>
                  </a:lnTo>
                  <a:lnTo>
                    <a:pt x="546" y="1531"/>
                  </a:lnTo>
                  <a:lnTo>
                    <a:pt x="546" y="1543"/>
                  </a:lnTo>
                  <a:lnTo>
                    <a:pt x="547" y="1555"/>
                  </a:lnTo>
                  <a:lnTo>
                    <a:pt x="549" y="1568"/>
                  </a:lnTo>
                  <a:lnTo>
                    <a:pt x="552" y="1581"/>
                  </a:lnTo>
                  <a:lnTo>
                    <a:pt x="555" y="1594"/>
                  </a:lnTo>
                  <a:lnTo>
                    <a:pt x="559" y="1607"/>
                  </a:lnTo>
                  <a:lnTo>
                    <a:pt x="564" y="1619"/>
                  </a:lnTo>
                  <a:lnTo>
                    <a:pt x="569" y="1631"/>
                  </a:lnTo>
                  <a:lnTo>
                    <a:pt x="575" y="1642"/>
                  </a:lnTo>
                  <a:lnTo>
                    <a:pt x="583" y="1652"/>
                  </a:lnTo>
                  <a:lnTo>
                    <a:pt x="590" y="1662"/>
                  </a:lnTo>
                  <a:lnTo>
                    <a:pt x="598" y="1670"/>
                  </a:lnTo>
                  <a:lnTo>
                    <a:pt x="607" y="1677"/>
                  </a:lnTo>
                  <a:lnTo>
                    <a:pt x="617" y="1681"/>
                  </a:lnTo>
                  <a:lnTo>
                    <a:pt x="627" y="1685"/>
                  </a:lnTo>
                  <a:lnTo>
                    <a:pt x="639" y="1686"/>
                  </a:lnTo>
                  <a:lnTo>
                    <a:pt x="655" y="1686"/>
                  </a:lnTo>
                  <a:lnTo>
                    <a:pt x="671" y="1688"/>
                  </a:lnTo>
                  <a:lnTo>
                    <a:pt x="687" y="1692"/>
                  </a:lnTo>
                  <a:lnTo>
                    <a:pt x="700" y="1696"/>
                  </a:lnTo>
                  <a:lnTo>
                    <a:pt x="713" y="1702"/>
                  </a:lnTo>
                  <a:lnTo>
                    <a:pt x="726" y="1707"/>
                  </a:lnTo>
                  <a:lnTo>
                    <a:pt x="737" y="1714"/>
                  </a:lnTo>
                  <a:lnTo>
                    <a:pt x="748" y="1721"/>
                  </a:lnTo>
                  <a:lnTo>
                    <a:pt x="768" y="1733"/>
                  </a:lnTo>
                  <a:lnTo>
                    <a:pt x="786" y="1744"/>
                  </a:lnTo>
                  <a:lnTo>
                    <a:pt x="794" y="1748"/>
                  </a:lnTo>
                  <a:lnTo>
                    <a:pt x="802" y="1752"/>
                  </a:lnTo>
                  <a:lnTo>
                    <a:pt x="809" y="1754"/>
                  </a:lnTo>
                  <a:lnTo>
                    <a:pt x="816" y="1755"/>
                  </a:lnTo>
                  <a:lnTo>
                    <a:pt x="804" y="1756"/>
                  </a:lnTo>
                  <a:lnTo>
                    <a:pt x="793" y="1758"/>
                  </a:lnTo>
                  <a:lnTo>
                    <a:pt x="783" y="1763"/>
                  </a:lnTo>
                  <a:lnTo>
                    <a:pt x="773" y="1769"/>
                  </a:lnTo>
                  <a:lnTo>
                    <a:pt x="764" y="1775"/>
                  </a:lnTo>
                  <a:lnTo>
                    <a:pt x="755" y="1784"/>
                  </a:lnTo>
                  <a:lnTo>
                    <a:pt x="747" y="1793"/>
                  </a:lnTo>
                  <a:lnTo>
                    <a:pt x="740" y="1804"/>
                  </a:lnTo>
                  <a:lnTo>
                    <a:pt x="735" y="1817"/>
                  </a:lnTo>
                  <a:lnTo>
                    <a:pt x="729" y="1830"/>
                  </a:lnTo>
                  <a:lnTo>
                    <a:pt x="723" y="1844"/>
                  </a:lnTo>
                  <a:lnTo>
                    <a:pt x="719" y="1859"/>
                  </a:lnTo>
                  <a:lnTo>
                    <a:pt x="716" y="1875"/>
                  </a:lnTo>
                  <a:lnTo>
                    <a:pt x="712" y="1891"/>
                  </a:lnTo>
                  <a:lnTo>
                    <a:pt x="709" y="1909"/>
                  </a:lnTo>
                  <a:lnTo>
                    <a:pt x="707" y="1927"/>
                  </a:lnTo>
                  <a:lnTo>
                    <a:pt x="703" y="1965"/>
                  </a:lnTo>
                  <a:lnTo>
                    <a:pt x="701" y="2004"/>
                  </a:lnTo>
                  <a:lnTo>
                    <a:pt x="700" y="2044"/>
                  </a:lnTo>
                  <a:lnTo>
                    <a:pt x="700" y="2084"/>
                  </a:lnTo>
                  <a:lnTo>
                    <a:pt x="702" y="2164"/>
                  </a:lnTo>
                  <a:lnTo>
                    <a:pt x="706" y="2236"/>
                  </a:lnTo>
                  <a:lnTo>
                    <a:pt x="735" y="2236"/>
                  </a:lnTo>
                  <a:lnTo>
                    <a:pt x="749" y="2245"/>
                  </a:lnTo>
                  <a:lnTo>
                    <a:pt x="763" y="2253"/>
                  </a:lnTo>
                  <a:lnTo>
                    <a:pt x="779" y="2253"/>
                  </a:lnTo>
                  <a:lnTo>
                    <a:pt x="782" y="2258"/>
                  </a:lnTo>
                  <a:lnTo>
                    <a:pt x="785" y="2264"/>
                  </a:lnTo>
                  <a:lnTo>
                    <a:pt x="799" y="2269"/>
                  </a:lnTo>
                  <a:lnTo>
                    <a:pt x="832" y="2279"/>
                  </a:lnTo>
                  <a:lnTo>
                    <a:pt x="850" y="2284"/>
                  </a:lnTo>
                  <a:lnTo>
                    <a:pt x="864" y="2290"/>
                  </a:lnTo>
                  <a:lnTo>
                    <a:pt x="875" y="2294"/>
                  </a:lnTo>
                  <a:lnTo>
                    <a:pt x="879" y="2298"/>
                  </a:lnTo>
                  <a:lnTo>
                    <a:pt x="893" y="2300"/>
                  </a:lnTo>
                  <a:lnTo>
                    <a:pt x="907" y="2303"/>
                  </a:lnTo>
                  <a:lnTo>
                    <a:pt x="910" y="2309"/>
                  </a:lnTo>
                  <a:lnTo>
                    <a:pt x="912" y="2314"/>
                  </a:lnTo>
                  <a:lnTo>
                    <a:pt x="918" y="2320"/>
                  </a:lnTo>
                  <a:lnTo>
                    <a:pt x="929" y="2320"/>
                  </a:lnTo>
                  <a:lnTo>
                    <a:pt x="934" y="2325"/>
                  </a:lnTo>
                  <a:lnTo>
                    <a:pt x="974" y="2363"/>
                  </a:lnTo>
                  <a:lnTo>
                    <a:pt x="977" y="2370"/>
                  </a:lnTo>
                  <a:lnTo>
                    <a:pt x="985" y="2380"/>
                  </a:lnTo>
                  <a:lnTo>
                    <a:pt x="991" y="2388"/>
                  </a:lnTo>
                  <a:lnTo>
                    <a:pt x="996" y="2391"/>
                  </a:lnTo>
                  <a:lnTo>
                    <a:pt x="1000" y="2402"/>
                  </a:lnTo>
                  <a:lnTo>
                    <a:pt x="1006" y="2414"/>
                  </a:lnTo>
                  <a:lnTo>
                    <a:pt x="1011" y="2417"/>
                  </a:lnTo>
                  <a:lnTo>
                    <a:pt x="1017" y="2419"/>
                  </a:lnTo>
                  <a:lnTo>
                    <a:pt x="1023" y="2436"/>
                  </a:lnTo>
                  <a:lnTo>
                    <a:pt x="1028" y="2453"/>
                  </a:lnTo>
                  <a:lnTo>
                    <a:pt x="1032" y="2454"/>
                  </a:lnTo>
                  <a:lnTo>
                    <a:pt x="1034" y="2456"/>
                  </a:lnTo>
                  <a:lnTo>
                    <a:pt x="1034" y="2459"/>
                  </a:lnTo>
                  <a:lnTo>
                    <a:pt x="1034" y="2464"/>
                  </a:lnTo>
                  <a:lnTo>
                    <a:pt x="1045" y="2475"/>
                  </a:lnTo>
                  <a:lnTo>
                    <a:pt x="1046" y="2481"/>
                  </a:lnTo>
                  <a:lnTo>
                    <a:pt x="1047" y="2486"/>
                  </a:lnTo>
                  <a:lnTo>
                    <a:pt x="1048" y="2492"/>
                  </a:lnTo>
                  <a:lnTo>
                    <a:pt x="1051" y="2497"/>
                  </a:lnTo>
                  <a:lnTo>
                    <a:pt x="1053" y="2502"/>
                  </a:lnTo>
                  <a:lnTo>
                    <a:pt x="1055" y="2507"/>
                  </a:lnTo>
                  <a:lnTo>
                    <a:pt x="1056" y="2513"/>
                  </a:lnTo>
                  <a:lnTo>
                    <a:pt x="1056" y="2519"/>
                  </a:lnTo>
                  <a:lnTo>
                    <a:pt x="1062" y="2522"/>
                  </a:lnTo>
                  <a:lnTo>
                    <a:pt x="1067" y="2524"/>
                  </a:lnTo>
                  <a:lnTo>
                    <a:pt x="1078" y="2569"/>
                  </a:lnTo>
                  <a:lnTo>
                    <a:pt x="1080" y="2571"/>
                  </a:lnTo>
                  <a:lnTo>
                    <a:pt x="1081" y="2574"/>
                  </a:lnTo>
                  <a:lnTo>
                    <a:pt x="1084" y="2577"/>
                  </a:lnTo>
                  <a:lnTo>
                    <a:pt x="1087" y="2580"/>
                  </a:lnTo>
                  <a:lnTo>
                    <a:pt x="1134" y="2580"/>
                  </a:lnTo>
                  <a:lnTo>
                    <a:pt x="1168" y="2578"/>
                  </a:lnTo>
                  <a:lnTo>
                    <a:pt x="1180" y="2575"/>
                  </a:lnTo>
                  <a:lnTo>
                    <a:pt x="1191" y="2573"/>
                  </a:lnTo>
                  <a:lnTo>
                    <a:pt x="1200" y="2570"/>
                  </a:lnTo>
                  <a:lnTo>
                    <a:pt x="1208" y="2566"/>
                  </a:lnTo>
                  <a:lnTo>
                    <a:pt x="1216" y="2562"/>
                  </a:lnTo>
                  <a:lnTo>
                    <a:pt x="1221" y="2556"/>
                  </a:lnTo>
                  <a:lnTo>
                    <a:pt x="1228" y="2550"/>
                  </a:lnTo>
                  <a:lnTo>
                    <a:pt x="1235" y="2543"/>
                  </a:lnTo>
                  <a:lnTo>
                    <a:pt x="1251" y="2524"/>
                  </a:lnTo>
                  <a:lnTo>
                    <a:pt x="1273" y="2502"/>
                  </a:lnTo>
                  <a:lnTo>
                    <a:pt x="1278" y="2496"/>
                  </a:lnTo>
                  <a:lnTo>
                    <a:pt x="1282" y="2491"/>
                  </a:lnTo>
                  <a:lnTo>
                    <a:pt x="1285" y="2484"/>
                  </a:lnTo>
                  <a:lnTo>
                    <a:pt x="1288" y="2478"/>
                  </a:lnTo>
                  <a:lnTo>
                    <a:pt x="1291" y="2471"/>
                  </a:lnTo>
                  <a:lnTo>
                    <a:pt x="1293" y="2464"/>
                  </a:lnTo>
                  <a:lnTo>
                    <a:pt x="1294" y="2457"/>
                  </a:lnTo>
                  <a:lnTo>
                    <a:pt x="1294" y="2449"/>
                  </a:lnTo>
                  <a:lnTo>
                    <a:pt x="1294" y="2434"/>
                  </a:lnTo>
                  <a:lnTo>
                    <a:pt x="1293" y="2417"/>
                  </a:lnTo>
                  <a:lnTo>
                    <a:pt x="1291" y="2399"/>
                  </a:lnTo>
                  <a:lnTo>
                    <a:pt x="1287" y="2381"/>
                  </a:lnTo>
                  <a:lnTo>
                    <a:pt x="1278" y="2344"/>
                  </a:lnTo>
                  <a:lnTo>
                    <a:pt x="1269" y="2308"/>
                  </a:lnTo>
                  <a:lnTo>
                    <a:pt x="1265" y="2290"/>
                  </a:lnTo>
                  <a:lnTo>
                    <a:pt x="1262" y="2272"/>
                  </a:lnTo>
                  <a:lnTo>
                    <a:pt x="1260" y="2254"/>
                  </a:lnTo>
                  <a:lnTo>
                    <a:pt x="1259" y="2237"/>
                  </a:lnTo>
                  <a:lnTo>
                    <a:pt x="1260" y="2227"/>
                  </a:lnTo>
                  <a:lnTo>
                    <a:pt x="1262" y="2221"/>
                  </a:lnTo>
                  <a:lnTo>
                    <a:pt x="1265" y="2215"/>
                  </a:lnTo>
                  <a:lnTo>
                    <a:pt x="1270" y="2212"/>
                  </a:lnTo>
                  <a:lnTo>
                    <a:pt x="1275" y="2210"/>
                  </a:lnTo>
                  <a:lnTo>
                    <a:pt x="1282" y="2209"/>
                  </a:lnTo>
                  <a:lnTo>
                    <a:pt x="1289" y="2210"/>
                  </a:lnTo>
                  <a:lnTo>
                    <a:pt x="1297" y="2213"/>
                  </a:lnTo>
                  <a:lnTo>
                    <a:pt x="1314" y="2217"/>
                  </a:lnTo>
                  <a:lnTo>
                    <a:pt x="1332" y="2221"/>
                  </a:lnTo>
                  <a:lnTo>
                    <a:pt x="1341" y="2223"/>
                  </a:lnTo>
                  <a:lnTo>
                    <a:pt x="1349" y="2223"/>
                  </a:lnTo>
                  <a:lnTo>
                    <a:pt x="1358" y="2222"/>
                  </a:lnTo>
                  <a:lnTo>
                    <a:pt x="1365" y="2218"/>
                  </a:lnTo>
                  <a:lnTo>
                    <a:pt x="1378" y="2212"/>
                  </a:lnTo>
                  <a:lnTo>
                    <a:pt x="1393" y="2202"/>
                  </a:lnTo>
                  <a:lnTo>
                    <a:pt x="1411" y="2190"/>
                  </a:lnTo>
                  <a:lnTo>
                    <a:pt x="1429" y="2177"/>
                  </a:lnTo>
                  <a:lnTo>
                    <a:pt x="1461" y="2152"/>
                  </a:lnTo>
                  <a:lnTo>
                    <a:pt x="1481" y="2136"/>
                  </a:lnTo>
                  <a:lnTo>
                    <a:pt x="1488" y="2128"/>
                  </a:lnTo>
                  <a:lnTo>
                    <a:pt x="1494" y="2120"/>
                  </a:lnTo>
                  <a:lnTo>
                    <a:pt x="1497" y="2112"/>
                  </a:lnTo>
                  <a:lnTo>
                    <a:pt x="1499" y="2106"/>
                  </a:lnTo>
                  <a:lnTo>
                    <a:pt x="1499" y="2098"/>
                  </a:lnTo>
                  <a:lnTo>
                    <a:pt x="1498" y="2091"/>
                  </a:lnTo>
                  <a:lnTo>
                    <a:pt x="1496" y="2083"/>
                  </a:lnTo>
                  <a:lnTo>
                    <a:pt x="1494" y="2077"/>
                  </a:lnTo>
                  <a:lnTo>
                    <a:pt x="1489" y="2070"/>
                  </a:lnTo>
                  <a:lnTo>
                    <a:pt x="1484" y="2063"/>
                  </a:lnTo>
                  <a:lnTo>
                    <a:pt x="1478" y="2056"/>
                  </a:lnTo>
                  <a:lnTo>
                    <a:pt x="1471" y="2050"/>
                  </a:lnTo>
                  <a:lnTo>
                    <a:pt x="1458" y="2036"/>
                  </a:lnTo>
                  <a:lnTo>
                    <a:pt x="1442" y="2024"/>
                  </a:lnTo>
                  <a:lnTo>
                    <a:pt x="1427" y="2012"/>
                  </a:lnTo>
                  <a:lnTo>
                    <a:pt x="1412" y="2000"/>
                  </a:lnTo>
                  <a:lnTo>
                    <a:pt x="1399" y="1987"/>
                  </a:lnTo>
                  <a:lnTo>
                    <a:pt x="1388" y="1975"/>
                  </a:lnTo>
                  <a:lnTo>
                    <a:pt x="1383" y="1969"/>
                  </a:lnTo>
                  <a:lnTo>
                    <a:pt x="1381" y="1963"/>
                  </a:lnTo>
                  <a:lnTo>
                    <a:pt x="1379" y="1957"/>
                  </a:lnTo>
                  <a:lnTo>
                    <a:pt x="1378" y="1952"/>
                  </a:lnTo>
                  <a:lnTo>
                    <a:pt x="1379" y="1945"/>
                  </a:lnTo>
                  <a:lnTo>
                    <a:pt x="1380" y="1939"/>
                  </a:lnTo>
                  <a:lnTo>
                    <a:pt x="1383" y="1933"/>
                  </a:lnTo>
                  <a:lnTo>
                    <a:pt x="1389" y="1927"/>
                  </a:lnTo>
                  <a:lnTo>
                    <a:pt x="1392" y="1924"/>
                  </a:lnTo>
                  <a:lnTo>
                    <a:pt x="1395" y="1921"/>
                  </a:lnTo>
                  <a:lnTo>
                    <a:pt x="1400" y="1920"/>
                  </a:lnTo>
                  <a:lnTo>
                    <a:pt x="1404" y="1919"/>
                  </a:lnTo>
                  <a:lnTo>
                    <a:pt x="1413" y="1918"/>
                  </a:lnTo>
                  <a:lnTo>
                    <a:pt x="1423" y="1919"/>
                  </a:lnTo>
                  <a:lnTo>
                    <a:pt x="1435" y="1921"/>
                  </a:lnTo>
                  <a:lnTo>
                    <a:pt x="1446" y="1925"/>
                  </a:lnTo>
                  <a:lnTo>
                    <a:pt x="1458" y="1928"/>
                  </a:lnTo>
                  <a:lnTo>
                    <a:pt x="1470" y="1934"/>
                  </a:lnTo>
                  <a:lnTo>
                    <a:pt x="1495" y="1944"/>
                  </a:lnTo>
                  <a:lnTo>
                    <a:pt x="1518" y="1954"/>
                  </a:lnTo>
                  <a:lnTo>
                    <a:pt x="1529" y="1958"/>
                  </a:lnTo>
                  <a:lnTo>
                    <a:pt x="1539" y="1960"/>
                  </a:lnTo>
                  <a:lnTo>
                    <a:pt x="1548" y="1963"/>
                  </a:lnTo>
                  <a:lnTo>
                    <a:pt x="1556" y="1964"/>
                  </a:lnTo>
                  <a:lnTo>
                    <a:pt x="1560" y="1963"/>
                  </a:lnTo>
                  <a:lnTo>
                    <a:pt x="1564" y="1959"/>
                  </a:lnTo>
                  <a:lnTo>
                    <a:pt x="1570" y="1954"/>
                  </a:lnTo>
                  <a:lnTo>
                    <a:pt x="1577" y="1947"/>
                  </a:lnTo>
                  <a:lnTo>
                    <a:pt x="1594" y="1931"/>
                  </a:lnTo>
                  <a:lnTo>
                    <a:pt x="1614" y="1916"/>
                  </a:lnTo>
                  <a:lnTo>
                    <a:pt x="1625" y="1908"/>
                  </a:lnTo>
                  <a:lnTo>
                    <a:pt x="1637" y="1901"/>
                  </a:lnTo>
                  <a:lnTo>
                    <a:pt x="1648" y="1897"/>
                  </a:lnTo>
                  <a:lnTo>
                    <a:pt x="1659" y="1894"/>
                  </a:lnTo>
                  <a:lnTo>
                    <a:pt x="1666" y="1892"/>
                  </a:lnTo>
                  <a:lnTo>
                    <a:pt x="1671" y="1892"/>
                  </a:lnTo>
                  <a:lnTo>
                    <a:pt x="1677" y="1894"/>
                  </a:lnTo>
                  <a:lnTo>
                    <a:pt x="1682" y="1895"/>
                  </a:lnTo>
                  <a:lnTo>
                    <a:pt x="1688" y="1897"/>
                  </a:lnTo>
                  <a:lnTo>
                    <a:pt x="1694" y="1900"/>
                  </a:lnTo>
                  <a:lnTo>
                    <a:pt x="1699" y="1904"/>
                  </a:lnTo>
                  <a:lnTo>
                    <a:pt x="1704" y="1908"/>
                  </a:lnTo>
                  <a:lnTo>
                    <a:pt x="1710" y="1914"/>
                  </a:lnTo>
                  <a:lnTo>
                    <a:pt x="1716" y="1917"/>
                  </a:lnTo>
                  <a:lnTo>
                    <a:pt x="1721" y="1920"/>
                  </a:lnTo>
                  <a:lnTo>
                    <a:pt x="1727" y="1923"/>
                  </a:lnTo>
                  <a:lnTo>
                    <a:pt x="1733" y="1924"/>
                  </a:lnTo>
                  <a:lnTo>
                    <a:pt x="1738" y="1924"/>
                  </a:lnTo>
                  <a:lnTo>
                    <a:pt x="1744" y="1924"/>
                  </a:lnTo>
                  <a:lnTo>
                    <a:pt x="1749" y="1923"/>
                  </a:lnTo>
                  <a:lnTo>
                    <a:pt x="1754" y="1920"/>
                  </a:lnTo>
                  <a:lnTo>
                    <a:pt x="1759" y="1918"/>
                  </a:lnTo>
                  <a:lnTo>
                    <a:pt x="1764" y="1915"/>
                  </a:lnTo>
                  <a:lnTo>
                    <a:pt x="1768" y="1911"/>
                  </a:lnTo>
                  <a:lnTo>
                    <a:pt x="1777" y="1904"/>
                  </a:lnTo>
                  <a:lnTo>
                    <a:pt x="1784" y="1894"/>
                  </a:lnTo>
                  <a:lnTo>
                    <a:pt x="1788" y="1883"/>
                  </a:lnTo>
                  <a:lnTo>
                    <a:pt x="1792" y="1873"/>
                  </a:lnTo>
                  <a:lnTo>
                    <a:pt x="1792" y="1869"/>
                  </a:lnTo>
                  <a:lnTo>
                    <a:pt x="1793" y="1863"/>
                  </a:lnTo>
                  <a:lnTo>
                    <a:pt x="1792" y="1859"/>
                  </a:lnTo>
                  <a:lnTo>
                    <a:pt x="1791" y="1854"/>
                  </a:lnTo>
                  <a:lnTo>
                    <a:pt x="1788" y="1850"/>
                  </a:lnTo>
                  <a:lnTo>
                    <a:pt x="1786" y="1847"/>
                  </a:lnTo>
                  <a:lnTo>
                    <a:pt x="1783" y="1843"/>
                  </a:lnTo>
                  <a:lnTo>
                    <a:pt x="1780" y="1840"/>
                  </a:lnTo>
                  <a:lnTo>
                    <a:pt x="1775" y="1838"/>
                  </a:lnTo>
                  <a:lnTo>
                    <a:pt x="1768" y="1835"/>
                  </a:lnTo>
                  <a:lnTo>
                    <a:pt x="1763" y="1834"/>
                  </a:lnTo>
                  <a:lnTo>
                    <a:pt x="1755" y="1834"/>
                  </a:lnTo>
                  <a:lnTo>
                    <a:pt x="1736" y="1833"/>
                  </a:lnTo>
                  <a:lnTo>
                    <a:pt x="1718" y="1831"/>
                  </a:lnTo>
                  <a:lnTo>
                    <a:pt x="1702" y="1828"/>
                  </a:lnTo>
                  <a:lnTo>
                    <a:pt x="1689" y="1822"/>
                  </a:lnTo>
                  <a:lnTo>
                    <a:pt x="1678" y="1817"/>
                  </a:lnTo>
                  <a:lnTo>
                    <a:pt x="1668" y="1809"/>
                  </a:lnTo>
                  <a:lnTo>
                    <a:pt x="1660" y="1801"/>
                  </a:lnTo>
                  <a:lnTo>
                    <a:pt x="1653" y="1792"/>
                  </a:lnTo>
                  <a:lnTo>
                    <a:pt x="1649" y="1782"/>
                  </a:lnTo>
                  <a:lnTo>
                    <a:pt x="1644" y="1771"/>
                  </a:lnTo>
                  <a:lnTo>
                    <a:pt x="1642" y="1760"/>
                  </a:lnTo>
                  <a:lnTo>
                    <a:pt x="1642" y="1747"/>
                  </a:lnTo>
                  <a:lnTo>
                    <a:pt x="1642" y="1735"/>
                  </a:lnTo>
                  <a:lnTo>
                    <a:pt x="1644" y="1723"/>
                  </a:lnTo>
                  <a:lnTo>
                    <a:pt x="1647" y="1710"/>
                  </a:lnTo>
                  <a:lnTo>
                    <a:pt x="1651" y="1697"/>
                  </a:lnTo>
                  <a:lnTo>
                    <a:pt x="1656" y="1685"/>
                  </a:lnTo>
                  <a:lnTo>
                    <a:pt x="1661" y="1673"/>
                  </a:lnTo>
                  <a:lnTo>
                    <a:pt x="1668" y="1659"/>
                  </a:lnTo>
                  <a:lnTo>
                    <a:pt x="1676" y="1647"/>
                  </a:lnTo>
                  <a:lnTo>
                    <a:pt x="1684" y="1636"/>
                  </a:lnTo>
                  <a:lnTo>
                    <a:pt x="1692" y="1625"/>
                  </a:lnTo>
                  <a:lnTo>
                    <a:pt x="1701" y="1613"/>
                  </a:lnTo>
                  <a:lnTo>
                    <a:pt x="1710" y="1603"/>
                  </a:lnTo>
                  <a:lnTo>
                    <a:pt x="1720" y="1594"/>
                  </a:lnTo>
                  <a:lnTo>
                    <a:pt x="1732" y="1585"/>
                  </a:lnTo>
                  <a:lnTo>
                    <a:pt x="1742" y="1579"/>
                  </a:lnTo>
                  <a:lnTo>
                    <a:pt x="1753" y="1572"/>
                  </a:lnTo>
                  <a:lnTo>
                    <a:pt x="1764" y="1568"/>
                  </a:lnTo>
                  <a:lnTo>
                    <a:pt x="1775" y="1564"/>
                  </a:lnTo>
                  <a:lnTo>
                    <a:pt x="1786" y="1562"/>
                  </a:lnTo>
                  <a:lnTo>
                    <a:pt x="1796" y="1561"/>
                  </a:lnTo>
                  <a:lnTo>
                    <a:pt x="1807" y="1561"/>
                  </a:lnTo>
                  <a:lnTo>
                    <a:pt x="1817" y="1560"/>
                  </a:lnTo>
                  <a:lnTo>
                    <a:pt x="1826" y="1558"/>
                  </a:lnTo>
                  <a:lnTo>
                    <a:pt x="1835" y="1556"/>
                  </a:lnTo>
                  <a:lnTo>
                    <a:pt x="1844" y="1553"/>
                  </a:lnTo>
                  <a:lnTo>
                    <a:pt x="1853" y="1550"/>
                  </a:lnTo>
                  <a:lnTo>
                    <a:pt x="1861" y="1546"/>
                  </a:lnTo>
                  <a:lnTo>
                    <a:pt x="1869" y="1543"/>
                  </a:lnTo>
                  <a:lnTo>
                    <a:pt x="1882" y="1533"/>
                  </a:lnTo>
                  <a:lnTo>
                    <a:pt x="1896" y="1523"/>
                  </a:lnTo>
                  <a:lnTo>
                    <a:pt x="1908" y="1511"/>
                  </a:lnTo>
                  <a:lnTo>
                    <a:pt x="1919" y="1497"/>
                  </a:lnTo>
                  <a:lnTo>
                    <a:pt x="1929" y="1484"/>
                  </a:lnTo>
                  <a:lnTo>
                    <a:pt x="1939" y="1469"/>
                  </a:lnTo>
                  <a:lnTo>
                    <a:pt x="1948" y="1455"/>
                  </a:lnTo>
                  <a:lnTo>
                    <a:pt x="1957" y="1440"/>
                  </a:lnTo>
                  <a:lnTo>
                    <a:pt x="1974" y="1411"/>
                  </a:lnTo>
                  <a:lnTo>
                    <a:pt x="1992" y="1383"/>
                  </a:lnTo>
                  <a:lnTo>
                    <a:pt x="1974" y="1359"/>
                  </a:lnTo>
                  <a:lnTo>
                    <a:pt x="1957" y="1330"/>
                  </a:lnTo>
                  <a:lnTo>
                    <a:pt x="1949" y="1317"/>
                  </a:lnTo>
                  <a:lnTo>
                    <a:pt x="1942" y="1304"/>
                  </a:lnTo>
                  <a:lnTo>
                    <a:pt x="1938" y="1294"/>
                  </a:lnTo>
                  <a:lnTo>
                    <a:pt x="1937" y="1286"/>
                  </a:lnTo>
                  <a:lnTo>
                    <a:pt x="1935" y="1285"/>
                  </a:lnTo>
                  <a:lnTo>
                    <a:pt x="1934" y="1283"/>
                  </a:lnTo>
                  <a:lnTo>
                    <a:pt x="1931" y="1279"/>
                  </a:lnTo>
                  <a:lnTo>
                    <a:pt x="1930" y="1274"/>
                  </a:lnTo>
                  <a:lnTo>
                    <a:pt x="1928" y="1264"/>
                  </a:lnTo>
                  <a:lnTo>
                    <a:pt x="1927" y="1257"/>
                  </a:lnTo>
                  <a:lnTo>
                    <a:pt x="1926" y="1256"/>
                  </a:lnTo>
                  <a:lnTo>
                    <a:pt x="1922" y="1253"/>
                  </a:lnTo>
                  <a:lnTo>
                    <a:pt x="1920" y="1248"/>
                  </a:lnTo>
                  <a:lnTo>
                    <a:pt x="1918" y="1243"/>
                  </a:lnTo>
                  <a:lnTo>
                    <a:pt x="1915" y="1231"/>
                  </a:lnTo>
                  <a:lnTo>
                    <a:pt x="1912" y="1224"/>
                  </a:lnTo>
                  <a:lnTo>
                    <a:pt x="1911" y="1223"/>
                  </a:lnTo>
                  <a:lnTo>
                    <a:pt x="1910" y="1222"/>
                  </a:lnTo>
                  <a:lnTo>
                    <a:pt x="1909" y="1221"/>
                  </a:lnTo>
                  <a:lnTo>
                    <a:pt x="1909" y="1218"/>
                  </a:lnTo>
                  <a:lnTo>
                    <a:pt x="1908" y="1214"/>
                  </a:lnTo>
                  <a:lnTo>
                    <a:pt x="1908" y="1209"/>
                  </a:lnTo>
                  <a:lnTo>
                    <a:pt x="1898" y="1199"/>
                  </a:lnTo>
                  <a:lnTo>
                    <a:pt x="1898" y="1196"/>
                  </a:lnTo>
                  <a:lnTo>
                    <a:pt x="1898" y="1193"/>
                  </a:lnTo>
                  <a:lnTo>
                    <a:pt x="1896" y="1190"/>
                  </a:lnTo>
                  <a:lnTo>
                    <a:pt x="1893" y="1189"/>
                  </a:lnTo>
                  <a:lnTo>
                    <a:pt x="1893" y="1175"/>
                  </a:lnTo>
                  <a:lnTo>
                    <a:pt x="1891" y="1165"/>
                  </a:lnTo>
                  <a:lnTo>
                    <a:pt x="1886" y="1142"/>
                  </a:lnTo>
                  <a:lnTo>
                    <a:pt x="1881" y="1118"/>
                  </a:lnTo>
                  <a:lnTo>
                    <a:pt x="1879" y="1102"/>
                  </a:lnTo>
                  <a:lnTo>
                    <a:pt x="1878" y="1093"/>
                  </a:lnTo>
                  <a:lnTo>
                    <a:pt x="1877" y="1083"/>
                  </a:lnTo>
                  <a:lnTo>
                    <a:pt x="1874" y="1072"/>
                  </a:lnTo>
                  <a:lnTo>
                    <a:pt x="1871" y="1061"/>
                  </a:lnTo>
                  <a:lnTo>
                    <a:pt x="1869" y="1050"/>
                  </a:lnTo>
                  <a:lnTo>
                    <a:pt x="1867" y="1037"/>
                  </a:lnTo>
                  <a:lnTo>
                    <a:pt x="1864" y="1026"/>
                  </a:lnTo>
                  <a:lnTo>
                    <a:pt x="1864" y="1015"/>
                  </a:lnTo>
                  <a:lnTo>
                    <a:pt x="1862" y="1015"/>
                  </a:lnTo>
                  <a:lnTo>
                    <a:pt x="1861" y="1013"/>
                  </a:lnTo>
                  <a:lnTo>
                    <a:pt x="1859" y="1011"/>
                  </a:lnTo>
                  <a:lnTo>
                    <a:pt x="1857" y="1007"/>
                  </a:lnTo>
                  <a:lnTo>
                    <a:pt x="1853" y="998"/>
                  </a:lnTo>
                  <a:lnTo>
                    <a:pt x="1850" y="988"/>
                  </a:lnTo>
                  <a:lnTo>
                    <a:pt x="1846" y="979"/>
                  </a:lnTo>
                  <a:lnTo>
                    <a:pt x="1842" y="971"/>
                  </a:lnTo>
                  <a:lnTo>
                    <a:pt x="1841" y="967"/>
                  </a:lnTo>
                  <a:lnTo>
                    <a:pt x="1839" y="965"/>
                  </a:lnTo>
                  <a:lnTo>
                    <a:pt x="1838" y="963"/>
                  </a:lnTo>
                  <a:lnTo>
                    <a:pt x="1835" y="963"/>
                  </a:lnTo>
                  <a:lnTo>
                    <a:pt x="1834" y="952"/>
                  </a:lnTo>
                  <a:lnTo>
                    <a:pt x="1831" y="939"/>
                  </a:lnTo>
                  <a:lnTo>
                    <a:pt x="1826" y="928"/>
                  </a:lnTo>
                  <a:lnTo>
                    <a:pt x="1821" y="916"/>
                  </a:lnTo>
                  <a:lnTo>
                    <a:pt x="1815" y="905"/>
                  </a:lnTo>
                  <a:lnTo>
                    <a:pt x="1811" y="892"/>
                  </a:lnTo>
                  <a:lnTo>
                    <a:pt x="1807" y="881"/>
                  </a:lnTo>
                  <a:lnTo>
                    <a:pt x="1806" y="870"/>
                  </a:lnTo>
                  <a:lnTo>
                    <a:pt x="1804" y="870"/>
                  </a:lnTo>
                  <a:lnTo>
                    <a:pt x="1803" y="868"/>
                  </a:lnTo>
                  <a:lnTo>
                    <a:pt x="1801" y="866"/>
                  </a:lnTo>
                  <a:lnTo>
                    <a:pt x="1800" y="862"/>
                  </a:lnTo>
                  <a:lnTo>
                    <a:pt x="1797" y="856"/>
                  </a:lnTo>
                  <a:lnTo>
                    <a:pt x="1796" y="851"/>
                  </a:lnTo>
                  <a:lnTo>
                    <a:pt x="1795" y="850"/>
                  </a:lnTo>
                  <a:lnTo>
                    <a:pt x="1794" y="849"/>
                  </a:lnTo>
                  <a:lnTo>
                    <a:pt x="1793" y="848"/>
                  </a:lnTo>
                  <a:lnTo>
                    <a:pt x="1792" y="846"/>
                  </a:lnTo>
                  <a:lnTo>
                    <a:pt x="1792" y="841"/>
                  </a:lnTo>
                  <a:lnTo>
                    <a:pt x="1792" y="837"/>
                  </a:lnTo>
                  <a:lnTo>
                    <a:pt x="1788" y="835"/>
                  </a:lnTo>
                  <a:lnTo>
                    <a:pt x="1787" y="833"/>
                  </a:lnTo>
                  <a:lnTo>
                    <a:pt x="1787" y="830"/>
                  </a:lnTo>
                  <a:lnTo>
                    <a:pt x="1787" y="827"/>
                  </a:lnTo>
                  <a:lnTo>
                    <a:pt x="1775" y="820"/>
                  </a:lnTo>
                  <a:lnTo>
                    <a:pt x="1767" y="812"/>
                  </a:lnTo>
                  <a:lnTo>
                    <a:pt x="1758" y="812"/>
                  </a:lnTo>
                  <a:lnTo>
                    <a:pt x="1753" y="802"/>
                  </a:lnTo>
                  <a:lnTo>
                    <a:pt x="1748" y="802"/>
                  </a:lnTo>
                  <a:lnTo>
                    <a:pt x="1744" y="800"/>
                  </a:lnTo>
                  <a:lnTo>
                    <a:pt x="1739" y="796"/>
                  </a:lnTo>
                  <a:lnTo>
                    <a:pt x="1736" y="793"/>
                  </a:lnTo>
                  <a:lnTo>
                    <a:pt x="1733" y="790"/>
                  </a:lnTo>
                  <a:lnTo>
                    <a:pt x="1728" y="786"/>
                  </a:lnTo>
                  <a:lnTo>
                    <a:pt x="1724" y="784"/>
                  </a:lnTo>
                  <a:lnTo>
                    <a:pt x="1719" y="783"/>
                  </a:lnTo>
                  <a:lnTo>
                    <a:pt x="1715" y="777"/>
                  </a:lnTo>
                  <a:lnTo>
                    <a:pt x="1706" y="770"/>
                  </a:lnTo>
                  <a:lnTo>
                    <a:pt x="1697" y="762"/>
                  </a:lnTo>
                  <a:lnTo>
                    <a:pt x="1690" y="758"/>
                  </a:lnTo>
                  <a:lnTo>
                    <a:pt x="1688" y="754"/>
                  </a:lnTo>
                  <a:lnTo>
                    <a:pt x="1685" y="750"/>
                  </a:lnTo>
                  <a:lnTo>
                    <a:pt x="1676" y="747"/>
                  </a:lnTo>
                  <a:lnTo>
                    <a:pt x="1666" y="744"/>
                  </a:lnTo>
                  <a:lnTo>
                    <a:pt x="1666" y="735"/>
                  </a:lnTo>
                  <a:lnTo>
                    <a:pt x="1656" y="735"/>
                  </a:lnTo>
                  <a:lnTo>
                    <a:pt x="1651" y="729"/>
                  </a:lnTo>
                  <a:lnTo>
                    <a:pt x="1649" y="725"/>
                  </a:lnTo>
                  <a:lnTo>
                    <a:pt x="1647" y="721"/>
                  </a:lnTo>
                  <a:lnTo>
                    <a:pt x="1637" y="721"/>
                  </a:lnTo>
                  <a:lnTo>
                    <a:pt x="1637" y="710"/>
                  </a:lnTo>
                  <a:lnTo>
                    <a:pt x="1632" y="706"/>
                  </a:lnTo>
                  <a:lnTo>
                    <a:pt x="1627" y="704"/>
                  </a:lnTo>
                  <a:lnTo>
                    <a:pt x="1622" y="700"/>
                  </a:lnTo>
                  <a:lnTo>
                    <a:pt x="1619" y="694"/>
                  </a:lnTo>
                  <a:lnTo>
                    <a:pt x="1610" y="683"/>
                  </a:lnTo>
                  <a:lnTo>
                    <a:pt x="1602" y="671"/>
                  </a:lnTo>
                  <a:lnTo>
                    <a:pt x="1598" y="667"/>
                  </a:lnTo>
                  <a:lnTo>
                    <a:pt x="1598" y="660"/>
                  </a:lnTo>
                  <a:lnTo>
                    <a:pt x="1596" y="654"/>
                  </a:lnTo>
                  <a:lnTo>
                    <a:pt x="1594" y="646"/>
                  </a:lnTo>
                  <a:lnTo>
                    <a:pt x="1591" y="638"/>
                  </a:lnTo>
                  <a:lnTo>
                    <a:pt x="1584" y="621"/>
                  </a:lnTo>
                  <a:lnTo>
                    <a:pt x="1576" y="603"/>
                  </a:lnTo>
                  <a:lnTo>
                    <a:pt x="1569" y="584"/>
                  </a:lnTo>
                  <a:lnTo>
                    <a:pt x="1561" y="567"/>
                  </a:lnTo>
                  <a:lnTo>
                    <a:pt x="1558" y="558"/>
                  </a:lnTo>
                  <a:lnTo>
                    <a:pt x="1556" y="549"/>
                  </a:lnTo>
                  <a:lnTo>
                    <a:pt x="1555" y="540"/>
                  </a:lnTo>
                  <a:lnTo>
                    <a:pt x="1554" y="532"/>
                  </a:lnTo>
                  <a:lnTo>
                    <a:pt x="1553" y="531"/>
                  </a:lnTo>
                  <a:lnTo>
                    <a:pt x="1552" y="527"/>
                  </a:lnTo>
                  <a:lnTo>
                    <a:pt x="1551" y="524"/>
                  </a:lnTo>
                  <a:lnTo>
                    <a:pt x="1551" y="519"/>
                  </a:lnTo>
                  <a:lnTo>
                    <a:pt x="1550" y="508"/>
                  </a:lnTo>
                  <a:lnTo>
                    <a:pt x="1550" y="503"/>
                  </a:lnTo>
                  <a:lnTo>
                    <a:pt x="1545" y="495"/>
                  </a:lnTo>
                  <a:lnTo>
                    <a:pt x="1539" y="483"/>
                  </a:lnTo>
                  <a:lnTo>
                    <a:pt x="1528" y="484"/>
                  </a:lnTo>
                  <a:lnTo>
                    <a:pt x="1517" y="485"/>
                  </a:lnTo>
                  <a:lnTo>
                    <a:pt x="1506" y="487"/>
                  </a:lnTo>
                  <a:lnTo>
                    <a:pt x="1495" y="491"/>
                  </a:lnTo>
                  <a:lnTo>
                    <a:pt x="1484" y="493"/>
                  </a:lnTo>
                  <a:lnTo>
                    <a:pt x="1473" y="495"/>
                  </a:lnTo>
                  <a:lnTo>
                    <a:pt x="1462" y="497"/>
                  </a:lnTo>
                  <a:lnTo>
                    <a:pt x="1452" y="497"/>
                  </a:lnTo>
                  <a:lnTo>
                    <a:pt x="1451" y="502"/>
                  </a:lnTo>
                  <a:lnTo>
                    <a:pt x="1449" y="505"/>
                  </a:lnTo>
                  <a:lnTo>
                    <a:pt x="1443" y="508"/>
                  </a:lnTo>
                  <a:lnTo>
                    <a:pt x="1438" y="510"/>
                  </a:lnTo>
                  <a:lnTo>
                    <a:pt x="1421" y="513"/>
                  </a:lnTo>
                  <a:lnTo>
                    <a:pt x="1403" y="514"/>
                  </a:lnTo>
                  <a:lnTo>
                    <a:pt x="1366" y="513"/>
                  </a:lnTo>
                  <a:lnTo>
                    <a:pt x="1346" y="512"/>
                  </a:lnTo>
                  <a:lnTo>
                    <a:pt x="1342" y="503"/>
                  </a:lnTo>
                  <a:lnTo>
                    <a:pt x="1331" y="502"/>
                  </a:lnTo>
                  <a:lnTo>
                    <a:pt x="1322" y="500"/>
                  </a:lnTo>
                  <a:lnTo>
                    <a:pt x="1313" y="498"/>
                  </a:lnTo>
                  <a:lnTo>
                    <a:pt x="1303" y="497"/>
                  </a:lnTo>
                  <a:lnTo>
                    <a:pt x="1299" y="495"/>
                  </a:lnTo>
                  <a:lnTo>
                    <a:pt x="1293" y="491"/>
                  </a:lnTo>
                  <a:lnTo>
                    <a:pt x="1283" y="485"/>
                  </a:lnTo>
                  <a:lnTo>
                    <a:pt x="1270" y="478"/>
                  </a:lnTo>
                  <a:lnTo>
                    <a:pt x="1257" y="473"/>
                  </a:lnTo>
                  <a:lnTo>
                    <a:pt x="1246" y="468"/>
                  </a:lnTo>
                  <a:lnTo>
                    <a:pt x="1236" y="465"/>
                  </a:lnTo>
                  <a:lnTo>
                    <a:pt x="1230" y="464"/>
                  </a:lnTo>
                  <a:lnTo>
                    <a:pt x="1229" y="462"/>
                  </a:lnTo>
                  <a:lnTo>
                    <a:pt x="1228" y="460"/>
                  </a:lnTo>
                  <a:lnTo>
                    <a:pt x="1227" y="460"/>
                  </a:lnTo>
                  <a:lnTo>
                    <a:pt x="1225" y="459"/>
                  </a:lnTo>
                  <a:lnTo>
                    <a:pt x="1220" y="459"/>
                  </a:lnTo>
                  <a:lnTo>
                    <a:pt x="1216" y="459"/>
                  </a:lnTo>
                  <a:lnTo>
                    <a:pt x="1216" y="449"/>
                  </a:lnTo>
                  <a:lnTo>
                    <a:pt x="1211" y="448"/>
                  </a:lnTo>
                  <a:lnTo>
                    <a:pt x="1207" y="446"/>
                  </a:lnTo>
                  <a:lnTo>
                    <a:pt x="1202" y="443"/>
                  </a:lnTo>
                  <a:lnTo>
                    <a:pt x="1201" y="439"/>
                  </a:lnTo>
                  <a:lnTo>
                    <a:pt x="1191" y="439"/>
                  </a:lnTo>
                  <a:lnTo>
                    <a:pt x="1187" y="430"/>
                  </a:lnTo>
                  <a:lnTo>
                    <a:pt x="1183" y="429"/>
                  </a:lnTo>
                  <a:lnTo>
                    <a:pt x="1180" y="429"/>
                  </a:lnTo>
                  <a:lnTo>
                    <a:pt x="1178" y="428"/>
                  </a:lnTo>
                  <a:lnTo>
                    <a:pt x="1177" y="425"/>
                  </a:lnTo>
                  <a:lnTo>
                    <a:pt x="1162" y="425"/>
                  </a:lnTo>
                  <a:lnTo>
                    <a:pt x="1162" y="424"/>
                  </a:lnTo>
                  <a:lnTo>
                    <a:pt x="1160" y="421"/>
                  </a:lnTo>
                  <a:lnTo>
                    <a:pt x="1158" y="420"/>
                  </a:lnTo>
                  <a:lnTo>
                    <a:pt x="1154" y="418"/>
                  </a:lnTo>
                  <a:lnTo>
                    <a:pt x="1148" y="416"/>
                  </a:lnTo>
                  <a:lnTo>
                    <a:pt x="1143" y="416"/>
                  </a:lnTo>
                  <a:lnTo>
                    <a:pt x="1135" y="410"/>
                  </a:lnTo>
                  <a:lnTo>
                    <a:pt x="1129" y="406"/>
                  </a:lnTo>
                  <a:lnTo>
                    <a:pt x="1114" y="406"/>
                  </a:lnTo>
                  <a:lnTo>
                    <a:pt x="1112" y="400"/>
                  </a:lnTo>
                  <a:lnTo>
                    <a:pt x="1109" y="396"/>
                  </a:lnTo>
                  <a:lnTo>
                    <a:pt x="1100" y="396"/>
                  </a:lnTo>
                  <a:lnTo>
                    <a:pt x="1090" y="387"/>
                  </a:lnTo>
                  <a:lnTo>
                    <a:pt x="1080" y="377"/>
                  </a:lnTo>
                  <a:lnTo>
                    <a:pt x="1075" y="375"/>
                  </a:lnTo>
                  <a:lnTo>
                    <a:pt x="1068" y="369"/>
                  </a:lnTo>
                  <a:lnTo>
                    <a:pt x="1063" y="362"/>
                  </a:lnTo>
                  <a:lnTo>
                    <a:pt x="1061" y="357"/>
                  </a:lnTo>
                  <a:lnTo>
                    <a:pt x="1056" y="354"/>
                  </a:lnTo>
                  <a:lnTo>
                    <a:pt x="1051" y="352"/>
                  </a:lnTo>
                  <a:lnTo>
                    <a:pt x="1048" y="346"/>
                  </a:lnTo>
                  <a:lnTo>
                    <a:pt x="1046" y="338"/>
                  </a:lnTo>
                  <a:lnTo>
                    <a:pt x="1042" y="333"/>
                  </a:lnTo>
                  <a:lnTo>
                    <a:pt x="1037" y="332"/>
                  </a:lnTo>
                  <a:lnTo>
                    <a:pt x="1033" y="330"/>
                  </a:lnTo>
                  <a:lnTo>
                    <a:pt x="1028" y="327"/>
                  </a:lnTo>
                  <a:lnTo>
                    <a:pt x="1027" y="323"/>
                  </a:lnTo>
                  <a:lnTo>
                    <a:pt x="1017" y="323"/>
                  </a:lnTo>
                  <a:lnTo>
                    <a:pt x="1016" y="320"/>
                  </a:lnTo>
                  <a:lnTo>
                    <a:pt x="1014" y="317"/>
                  </a:lnTo>
                  <a:lnTo>
                    <a:pt x="1011" y="314"/>
                  </a:lnTo>
                  <a:lnTo>
                    <a:pt x="1007" y="313"/>
                  </a:lnTo>
                  <a:lnTo>
                    <a:pt x="1000" y="305"/>
                  </a:lnTo>
                  <a:lnTo>
                    <a:pt x="993" y="294"/>
                  </a:lnTo>
                  <a:lnTo>
                    <a:pt x="987" y="290"/>
                  </a:lnTo>
                  <a:lnTo>
                    <a:pt x="978" y="284"/>
                  </a:lnTo>
                  <a:lnTo>
                    <a:pt x="978" y="275"/>
                  </a:lnTo>
                  <a:lnTo>
                    <a:pt x="976" y="274"/>
                  </a:lnTo>
                  <a:lnTo>
                    <a:pt x="975" y="272"/>
                  </a:lnTo>
                  <a:lnTo>
                    <a:pt x="974" y="269"/>
                  </a:lnTo>
                  <a:lnTo>
                    <a:pt x="974" y="265"/>
                  </a:lnTo>
                  <a:lnTo>
                    <a:pt x="972" y="265"/>
                  </a:lnTo>
                  <a:lnTo>
                    <a:pt x="970" y="264"/>
                  </a:lnTo>
                  <a:lnTo>
                    <a:pt x="970" y="262"/>
                  </a:lnTo>
                  <a:lnTo>
                    <a:pt x="969" y="260"/>
                  </a:lnTo>
                  <a:lnTo>
                    <a:pt x="969" y="255"/>
                  </a:lnTo>
                  <a:lnTo>
                    <a:pt x="969" y="251"/>
                  </a:lnTo>
                  <a:lnTo>
                    <a:pt x="959" y="251"/>
                  </a:lnTo>
                  <a:lnTo>
                    <a:pt x="959" y="241"/>
                  </a:lnTo>
                  <a:lnTo>
                    <a:pt x="955" y="238"/>
                  </a:lnTo>
                  <a:lnTo>
                    <a:pt x="949" y="236"/>
                  </a:lnTo>
                  <a:lnTo>
                    <a:pt x="949" y="226"/>
                  </a:lnTo>
                  <a:lnTo>
                    <a:pt x="940" y="222"/>
                  </a:lnTo>
                  <a:lnTo>
                    <a:pt x="940" y="215"/>
                  </a:lnTo>
                  <a:lnTo>
                    <a:pt x="940" y="207"/>
                  </a:lnTo>
                  <a:lnTo>
                    <a:pt x="938" y="207"/>
                  </a:lnTo>
                  <a:lnTo>
                    <a:pt x="937" y="206"/>
                  </a:lnTo>
                  <a:lnTo>
                    <a:pt x="936" y="204"/>
                  </a:lnTo>
                  <a:lnTo>
                    <a:pt x="936" y="202"/>
                  </a:lnTo>
                  <a:lnTo>
                    <a:pt x="934" y="197"/>
                  </a:lnTo>
                  <a:lnTo>
                    <a:pt x="934" y="193"/>
                  </a:lnTo>
                  <a:lnTo>
                    <a:pt x="932" y="192"/>
                  </a:lnTo>
                  <a:lnTo>
                    <a:pt x="931" y="189"/>
                  </a:lnTo>
                  <a:lnTo>
                    <a:pt x="930" y="187"/>
                  </a:lnTo>
                  <a:lnTo>
                    <a:pt x="930" y="183"/>
                  </a:lnTo>
                  <a:lnTo>
                    <a:pt x="928" y="183"/>
                  </a:lnTo>
                  <a:lnTo>
                    <a:pt x="927" y="180"/>
                  </a:lnTo>
                  <a:lnTo>
                    <a:pt x="924" y="177"/>
                  </a:lnTo>
                  <a:lnTo>
                    <a:pt x="923" y="173"/>
                  </a:lnTo>
                  <a:lnTo>
                    <a:pt x="921" y="165"/>
                  </a:lnTo>
                  <a:lnTo>
                    <a:pt x="920" y="159"/>
                  </a:lnTo>
                  <a:lnTo>
                    <a:pt x="915" y="147"/>
                  </a:lnTo>
                  <a:lnTo>
                    <a:pt x="911" y="135"/>
                  </a:lnTo>
                  <a:lnTo>
                    <a:pt x="910" y="125"/>
                  </a:lnTo>
                  <a:lnTo>
                    <a:pt x="910" y="111"/>
                  </a:lnTo>
                  <a:lnTo>
                    <a:pt x="908" y="106"/>
                  </a:lnTo>
                  <a:lnTo>
                    <a:pt x="907" y="100"/>
                  </a:lnTo>
                  <a:lnTo>
                    <a:pt x="904" y="97"/>
                  </a:lnTo>
                  <a:lnTo>
                    <a:pt x="901" y="96"/>
                  </a:lnTo>
                  <a:lnTo>
                    <a:pt x="900" y="90"/>
                  </a:lnTo>
                  <a:lnTo>
                    <a:pt x="898" y="82"/>
                  </a:lnTo>
                  <a:lnTo>
                    <a:pt x="897" y="78"/>
                  </a:lnTo>
                  <a:lnTo>
                    <a:pt x="894" y="74"/>
                  </a:lnTo>
                  <a:lnTo>
                    <a:pt x="893" y="72"/>
                  </a:lnTo>
                  <a:lnTo>
                    <a:pt x="891" y="72"/>
                  </a:lnTo>
                  <a:lnTo>
                    <a:pt x="891" y="58"/>
                  </a:lnTo>
                  <a:lnTo>
                    <a:pt x="882" y="48"/>
                  </a:lnTo>
                  <a:lnTo>
                    <a:pt x="882" y="38"/>
                  </a:lnTo>
                  <a:lnTo>
                    <a:pt x="872" y="38"/>
                  </a:lnTo>
                  <a:lnTo>
                    <a:pt x="870" y="41"/>
                  </a:lnTo>
                  <a:lnTo>
                    <a:pt x="866" y="44"/>
                  </a:lnTo>
                  <a:lnTo>
                    <a:pt x="862" y="46"/>
                  </a:lnTo>
                  <a:lnTo>
                    <a:pt x="857" y="48"/>
                  </a:lnTo>
                  <a:lnTo>
                    <a:pt x="856" y="51"/>
                  </a:lnTo>
                  <a:lnTo>
                    <a:pt x="855" y="53"/>
                  </a:lnTo>
                  <a:lnTo>
                    <a:pt x="853" y="56"/>
                  </a:lnTo>
                  <a:lnTo>
                    <a:pt x="850" y="58"/>
                  </a:lnTo>
                  <a:lnTo>
                    <a:pt x="842" y="61"/>
                  </a:lnTo>
                  <a:lnTo>
                    <a:pt x="833" y="64"/>
                  </a:lnTo>
                  <a:lnTo>
                    <a:pt x="824" y="67"/>
                  </a:lnTo>
                  <a:lnTo>
                    <a:pt x="816" y="69"/>
                  </a:lnTo>
                  <a:lnTo>
                    <a:pt x="814" y="70"/>
                  </a:lnTo>
                  <a:lnTo>
                    <a:pt x="811" y="72"/>
                  </a:lnTo>
                  <a:lnTo>
                    <a:pt x="809" y="74"/>
                  </a:lnTo>
                  <a:lnTo>
                    <a:pt x="809" y="77"/>
                  </a:lnTo>
                  <a:lnTo>
                    <a:pt x="692" y="81"/>
                  </a:lnTo>
                  <a:lnTo>
                    <a:pt x="692" y="79"/>
                  </a:lnTo>
                  <a:lnTo>
                    <a:pt x="690" y="77"/>
                  </a:lnTo>
                  <a:lnTo>
                    <a:pt x="687" y="77"/>
                  </a:lnTo>
                  <a:lnTo>
                    <a:pt x="683" y="77"/>
                  </a:lnTo>
                  <a:lnTo>
                    <a:pt x="663" y="58"/>
                  </a:lnTo>
                  <a:lnTo>
                    <a:pt x="654" y="58"/>
                  </a:lnTo>
                  <a:lnTo>
                    <a:pt x="654" y="50"/>
                  </a:lnTo>
                  <a:lnTo>
                    <a:pt x="654" y="43"/>
                  </a:lnTo>
                  <a:lnTo>
                    <a:pt x="652" y="42"/>
                  </a:lnTo>
                  <a:lnTo>
                    <a:pt x="651" y="41"/>
                  </a:lnTo>
                  <a:lnTo>
                    <a:pt x="650" y="40"/>
                  </a:lnTo>
                  <a:lnTo>
                    <a:pt x="650" y="38"/>
                  </a:lnTo>
                  <a:lnTo>
                    <a:pt x="649" y="32"/>
                  </a:lnTo>
                  <a:lnTo>
                    <a:pt x="649" y="29"/>
                  </a:lnTo>
                  <a:lnTo>
                    <a:pt x="644" y="23"/>
                  </a:lnTo>
                  <a:lnTo>
                    <a:pt x="640" y="19"/>
                  </a:lnTo>
                  <a:lnTo>
                    <a:pt x="630" y="19"/>
                  </a:lnTo>
                  <a:lnTo>
                    <a:pt x="629" y="16"/>
                  </a:lnTo>
                  <a:lnTo>
                    <a:pt x="627" y="15"/>
                  </a:lnTo>
                  <a:lnTo>
                    <a:pt x="624" y="15"/>
                  </a:lnTo>
                  <a:lnTo>
                    <a:pt x="621" y="14"/>
                  </a:lnTo>
                  <a:lnTo>
                    <a:pt x="612" y="14"/>
                  </a:lnTo>
                  <a:lnTo>
                    <a:pt x="601" y="15"/>
                  </a:lnTo>
                  <a:lnTo>
                    <a:pt x="581" y="17"/>
                  </a:lnTo>
                  <a:lnTo>
                    <a:pt x="572" y="19"/>
                  </a:lnTo>
                  <a:lnTo>
                    <a:pt x="555" y="17"/>
                  </a:lnTo>
                  <a:lnTo>
                    <a:pt x="536" y="16"/>
                  </a:lnTo>
                  <a:lnTo>
                    <a:pt x="518" y="14"/>
                  </a:lnTo>
                  <a:lnTo>
                    <a:pt x="504" y="14"/>
                  </a:lnTo>
                  <a:lnTo>
                    <a:pt x="499" y="11"/>
                  </a:lnTo>
                  <a:lnTo>
                    <a:pt x="491" y="7"/>
                  </a:lnTo>
                  <a:lnTo>
                    <a:pt x="481" y="5"/>
                  </a:lnTo>
                  <a:lnTo>
                    <a:pt x="471" y="3"/>
                  </a:lnTo>
                  <a:lnTo>
                    <a:pt x="450" y="0"/>
                  </a:lnTo>
                  <a:lnTo>
                    <a:pt x="431" y="0"/>
                  </a:lnTo>
                  <a:lnTo>
                    <a:pt x="431" y="1"/>
                  </a:lnTo>
                  <a:lnTo>
                    <a:pt x="429" y="2"/>
                  </a:lnTo>
                  <a:lnTo>
                    <a:pt x="427" y="3"/>
                  </a:lnTo>
                  <a:lnTo>
                    <a:pt x="423" y="4"/>
                  </a:lnTo>
                  <a:lnTo>
                    <a:pt x="415" y="6"/>
                  </a:lnTo>
                  <a:lnTo>
                    <a:pt x="408" y="8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5" name="Freeform 41"/>
            <p:cNvSpPr>
              <a:spLocks noChangeAspect="1" noEditPoints="1"/>
            </p:cNvSpPr>
            <p:nvPr/>
          </p:nvSpPr>
          <p:spPr bwMode="gray">
            <a:xfrm rot="355651">
              <a:off x="5754118" y="2859088"/>
              <a:ext cx="319503" cy="162885"/>
            </a:xfrm>
            <a:custGeom>
              <a:avLst/>
              <a:gdLst/>
              <a:ahLst/>
              <a:cxnLst>
                <a:cxn ang="0">
                  <a:pos x="154" y="208"/>
                </a:cxn>
                <a:cxn ang="0">
                  <a:pos x="389" y="208"/>
                </a:cxn>
                <a:cxn ang="0">
                  <a:pos x="424" y="189"/>
                </a:cxn>
                <a:cxn ang="0">
                  <a:pos x="451" y="176"/>
                </a:cxn>
                <a:cxn ang="0">
                  <a:pos x="491" y="164"/>
                </a:cxn>
                <a:cxn ang="0">
                  <a:pos x="574" y="131"/>
                </a:cxn>
                <a:cxn ang="0">
                  <a:pos x="615" y="109"/>
                </a:cxn>
                <a:cxn ang="0">
                  <a:pos x="639" y="23"/>
                </a:cxn>
                <a:cxn ang="0">
                  <a:pos x="657" y="11"/>
                </a:cxn>
                <a:cxn ang="0">
                  <a:pos x="759" y="0"/>
                </a:cxn>
                <a:cxn ang="0">
                  <a:pos x="885" y="11"/>
                </a:cxn>
                <a:cxn ang="0">
                  <a:pos x="952" y="28"/>
                </a:cxn>
                <a:cxn ang="0">
                  <a:pos x="974" y="38"/>
                </a:cxn>
                <a:cxn ang="0">
                  <a:pos x="1007" y="51"/>
                </a:cxn>
                <a:cxn ang="0">
                  <a:pos x="1028" y="67"/>
                </a:cxn>
                <a:cxn ang="0">
                  <a:pos x="1057" y="90"/>
                </a:cxn>
                <a:cxn ang="0">
                  <a:pos x="1080" y="103"/>
                </a:cxn>
                <a:cxn ang="0">
                  <a:pos x="1214" y="133"/>
                </a:cxn>
                <a:cxn ang="0">
                  <a:pos x="1269" y="183"/>
                </a:cxn>
                <a:cxn ang="0">
                  <a:pos x="1299" y="219"/>
                </a:cxn>
                <a:cxn ang="0">
                  <a:pos x="1319" y="231"/>
                </a:cxn>
                <a:cxn ang="0">
                  <a:pos x="1342" y="243"/>
                </a:cxn>
                <a:cxn ang="0">
                  <a:pos x="1358" y="261"/>
                </a:cxn>
                <a:cxn ang="0">
                  <a:pos x="1405" y="292"/>
                </a:cxn>
                <a:cxn ang="0">
                  <a:pos x="1455" y="323"/>
                </a:cxn>
                <a:cxn ang="0">
                  <a:pos x="1506" y="352"/>
                </a:cxn>
                <a:cxn ang="0">
                  <a:pos x="1548" y="377"/>
                </a:cxn>
                <a:cxn ang="0">
                  <a:pos x="1596" y="462"/>
                </a:cxn>
                <a:cxn ang="0">
                  <a:pos x="1611" y="540"/>
                </a:cxn>
                <a:cxn ang="0">
                  <a:pos x="1578" y="573"/>
                </a:cxn>
                <a:cxn ang="0">
                  <a:pos x="1573" y="699"/>
                </a:cxn>
                <a:cxn ang="0">
                  <a:pos x="1595" y="719"/>
                </a:cxn>
                <a:cxn ang="0">
                  <a:pos x="1713" y="741"/>
                </a:cxn>
                <a:cxn ang="0">
                  <a:pos x="1752" y="879"/>
                </a:cxn>
                <a:cxn ang="0">
                  <a:pos x="1700" y="1000"/>
                </a:cxn>
                <a:cxn ang="0">
                  <a:pos x="1669" y="1013"/>
                </a:cxn>
                <a:cxn ang="0">
                  <a:pos x="1450" y="992"/>
                </a:cxn>
                <a:cxn ang="0">
                  <a:pos x="1183" y="954"/>
                </a:cxn>
                <a:cxn ang="0">
                  <a:pos x="1128" y="934"/>
                </a:cxn>
                <a:cxn ang="0">
                  <a:pos x="1085" y="911"/>
                </a:cxn>
                <a:cxn ang="0">
                  <a:pos x="823" y="958"/>
                </a:cxn>
                <a:cxn ang="0">
                  <a:pos x="752" y="962"/>
                </a:cxn>
                <a:cxn ang="0">
                  <a:pos x="686" y="958"/>
                </a:cxn>
                <a:cxn ang="0">
                  <a:pos x="649" y="965"/>
                </a:cxn>
                <a:cxn ang="0">
                  <a:pos x="590" y="927"/>
                </a:cxn>
                <a:cxn ang="0">
                  <a:pos x="486" y="895"/>
                </a:cxn>
                <a:cxn ang="0">
                  <a:pos x="357" y="886"/>
                </a:cxn>
                <a:cxn ang="0">
                  <a:pos x="254" y="860"/>
                </a:cxn>
                <a:cxn ang="0">
                  <a:pos x="224" y="804"/>
                </a:cxn>
                <a:cxn ang="0">
                  <a:pos x="185" y="735"/>
                </a:cxn>
                <a:cxn ang="0">
                  <a:pos x="161" y="670"/>
                </a:cxn>
                <a:cxn ang="0">
                  <a:pos x="138" y="604"/>
                </a:cxn>
                <a:cxn ang="0">
                  <a:pos x="109" y="565"/>
                </a:cxn>
                <a:cxn ang="0">
                  <a:pos x="146" y="490"/>
                </a:cxn>
                <a:cxn ang="0">
                  <a:pos x="169" y="454"/>
                </a:cxn>
                <a:cxn ang="0">
                  <a:pos x="78" y="420"/>
                </a:cxn>
                <a:cxn ang="0">
                  <a:pos x="5" y="353"/>
                </a:cxn>
                <a:cxn ang="0">
                  <a:pos x="10" y="270"/>
                </a:cxn>
                <a:cxn ang="0">
                  <a:pos x="21" y="231"/>
                </a:cxn>
              </a:cxnLst>
              <a:rect l="0" t="0" r="r" b="b"/>
              <a:pathLst>
                <a:path w="1764" h="1018">
                  <a:moveTo>
                    <a:pt x="28" y="200"/>
                  </a:moveTo>
                  <a:lnTo>
                    <a:pt x="33" y="204"/>
                  </a:lnTo>
                  <a:lnTo>
                    <a:pt x="36" y="206"/>
                  </a:lnTo>
                  <a:lnTo>
                    <a:pt x="60" y="208"/>
                  </a:lnTo>
                  <a:lnTo>
                    <a:pt x="85" y="210"/>
                  </a:lnTo>
                  <a:lnTo>
                    <a:pt x="110" y="212"/>
                  </a:lnTo>
                  <a:lnTo>
                    <a:pt x="134" y="212"/>
                  </a:lnTo>
                  <a:lnTo>
                    <a:pt x="136" y="211"/>
                  </a:lnTo>
                  <a:lnTo>
                    <a:pt x="143" y="209"/>
                  </a:lnTo>
                  <a:lnTo>
                    <a:pt x="154" y="208"/>
                  </a:lnTo>
                  <a:lnTo>
                    <a:pt x="168" y="208"/>
                  </a:lnTo>
                  <a:lnTo>
                    <a:pt x="204" y="208"/>
                  </a:lnTo>
                  <a:lnTo>
                    <a:pt x="248" y="208"/>
                  </a:lnTo>
                  <a:lnTo>
                    <a:pt x="291" y="210"/>
                  </a:lnTo>
                  <a:lnTo>
                    <a:pt x="331" y="211"/>
                  </a:lnTo>
                  <a:lnTo>
                    <a:pt x="364" y="212"/>
                  </a:lnTo>
                  <a:lnTo>
                    <a:pt x="384" y="212"/>
                  </a:lnTo>
                  <a:lnTo>
                    <a:pt x="384" y="211"/>
                  </a:lnTo>
                  <a:lnTo>
                    <a:pt x="386" y="209"/>
                  </a:lnTo>
                  <a:lnTo>
                    <a:pt x="389" y="208"/>
                  </a:lnTo>
                  <a:lnTo>
                    <a:pt x="394" y="208"/>
                  </a:lnTo>
                  <a:lnTo>
                    <a:pt x="402" y="206"/>
                  </a:lnTo>
                  <a:lnTo>
                    <a:pt x="408" y="206"/>
                  </a:lnTo>
                  <a:lnTo>
                    <a:pt x="414" y="201"/>
                  </a:lnTo>
                  <a:lnTo>
                    <a:pt x="420" y="194"/>
                  </a:lnTo>
                  <a:lnTo>
                    <a:pt x="421" y="191"/>
                  </a:lnTo>
                  <a:lnTo>
                    <a:pt x="421" y="189"/>
                  </a:lnTo>
                  <a:lnTo>
                    <a:pt x="422" y="189"/>
                  </a:lnTo>
                  <a:lnTo>
                    <a:pt x="423" y="189"/>
                  </a:lnTo>
                  <a:lnTo>
                    <a:pt x="424" y="189"/>
                  </a:lnTo>
                  <a:lnTo>
                    <a:pt x="425" y="187"/>
                  </a:lnTo>
                  <a:lnTo>
                    <a:pt x="426" y="185"/>
                  </a:lnTo>
                  <a:lnTo>
                    <a:pt x="426" y="182"/>
                  </a:lnTo>
                  <a:lnTo>
                    <a:pt x="438" y="182"/>
                  </a:lnTo>
                  <a:lnTo>
                    <a:pt x="438" y="180"/>
                  </a:lnTo>
                  <a:lnTo>
                    <a:pt x="440" y="179"/>
                  </a:lnTo>
                  <a:lnTo>
                    <a:pt x="441" y="177"/>
                  </a:lnTo>
                  <a:lnTo>
                    <a:pt x="442" y="176"/>
                  </a:lnTo>
                  <a:lnTo>
                    <a:pt x="446" y="176"/>
                  </a:lnTo>
                  <a:lnTo>
                    <a:pt x="451" y="176"/>
                  </a:lnTo>
                  <a:lnTo>
                    <a:pt x="452" y="174"/>
                  </a:lnTo>
                  <a:lnTo>
                    <a:pt x="454" y="173"/>
                  </a:lnTo>
                  <a:lnTo>
                    <a:pt x="459" y="172"/>
                  </a:lnTo>
                  <a:lnTo>
                    <a:pt x="463" y="171"/>
                  </a:lnTo>
                  <a:lnTo>
                    <a:pt x="473" y="170"/>
                  </a:lnTo>
                  <a:lnTo>
                    <a:pt x="481" y="170"/>
                  </a:lnTo>
                  <a:lnTo>
                    <a:pt x="482" y="167"/>
                  </a:lnTo>
                  <a:lnTo>
                    <a:pt x="484" y="166"/>
                  </a:lnTo>
                  <a:lnTo>
                    <a:pt x="488" y="165"/>
                  </a:lnTo>
                  <a:lnTo>
                    <a:pt x="491" y="164"/>
                  </a:lnTo>
                  <a:lnTo>
                    <a:pt x="499" y="164"/>
                  </a:lnTo>
                  <a:lnTo>
                    <a:pt x="505" y="164"/>
                  </a:lnTo>
                  <a:lnTo>
                    <a:pt x="513" y="160"/>
                  </a:lnTo>
                  <a:lnTo>
                    <a:pt x="530" y="152"/>
                  </a:lnTo>
                  <a:lnTo>
                    <a:pt x="549" y="143"/>
                  </a:lnTo>
                  <a:lnTo>
                    <a:pt x="560" y="140"/>
                  </a:lnTo>
                  <a:lnTo>
                    <a:pt x="561" y="137"/>
                  </a:lnTo>
                  <a:lnTo>
                    <a:pt x="565" y="135"/>
                  </a:lnTo>
                  <a:lnTo>
                    <a:pt x="568" y="133"/>
                  </a:lnTo>
                  <a:lnTo>
                    <a:pt x="574" y="131"/>
                  </a:lnTo>
                  <a:lnTo>
                    <a:pt x="584" y="128"/>
                  </a:lnTo>
                  <a:lnTo>
                    <a:pt x="590" y="127"/>
                  </a:lnTo>
                  <a:lnTo>
                    <a:pt x="591" y="125"/>
                  </a:lnTo>
                  <a:lnTo>
                    <a:pt x="591" y="124"/>
                  </a:lnTo>
                  <a:lnTo>
                    <a:pt x="593" y="123"/>
                  </a:lnTo>
                  <a:lnTo>
                    <a:pt x="595" y="122"/>
                  </a:lnTo>
                  <a:lnTo>
                    <a:pt x="598" y="122"/>
                  </a:lnTo>
                  <a:lnTo>
                    <a:pt x="603" y="122"/>
                  </a:lnTo>
                  <a:lnTo>
                    <a:pt x="609" y="115"/>
                  </a:lnTo>
                  <a:lnTo>
                    <a:pt x="615" y="109"/>
                  </a:lnTo>
                  <a:lnTo>
                    <a:pt x="615" y="99"/>
                  </a:lnTo>
                  <a:lnTo>
                    <a:pt x="615" y="90"/>
                  </a:lnTo>
                  <a:lnTo>
                    <a:pt x="617" y="88"/>
                  </a:lnTo>
                  <a:lnTo>
                    <a:pt x="618" y="83"/>
                  </a:lnTo>
                  <a:lnTo>
                    <a:pt x="619" y="73"/>
                  </a:lnTo>
                  <a:lnTo>
                    <a:pt x="620" y="62"/>
                  </a:lnTo>
                  <a:lnTo>
                    <a:pt x="622" y="42"/>
                  </a:lnTo>
                  <a:lnTo>
                    <a:pt x="622" y="30"/>
                  </a:lnTo>
                  <a:lnTo>
                    <a:pt x="634" y="30"/>
                  </a:lnTo>
                  <a:lnTo>
                    <a:pt x="639" y="23"/>
                  </a:lnTo>
                  <a:lnTo>
                    <a:pt x="639" y="20"/>
                  </a:lnTo>
                  <a:lnTo>
                    <a:pt x="641" y="18"/>
                  </a:lnTo>
                  <a:lnTo>
                    <a:pt x="642" y="18"/>
                  </a:lnTo>
                  <a:lnTo>
                    <a:pt x="643" y="18"/>
                  </a:lnTo>
                  <a:lnTo>
                    <a:pt x="644" y="18"/>
                  </a:lnTo>
                  <a:lnTo>
                    <a:pt x="645" y="17"/>
                  </a:lnTo>
                  <a:lnTo>
                    <a:pt x="645" y="15"/>
                  </a:lnTo>
                  <a:lnTo>
                    <a:pt x="645" y="11"/>
                  </a:lnTo>
                  <a:lnTo>
                    <a:pt x="651" y="11"/>
                  </a:lnTo>
                  <a:lnTo>
                    <a:pt x="657" y="11"/>
                  </a:lnTo>
                  <a:lnTo>
                    <a:pt x="660" y="10"/>
                  </a:lnTo>
                  <a:lnTo>
                    <a:pt x="662" y="9"/>
                  </a:lnTo>
                  <a:lnTo>
                    <a:pt x="663" y="8"/>
                  </a:lnTo>
                  <a:lnTo>
                    <a:pt x="664" y="6"/>
                  </a:lnTo>
                  <a:lnTo>
                    <a:pt x="706" y="6"/>
                  </a:lnTo>
                  <a:lnTo>
                    <a:pt x="709" y="3"/>
                  </a:lnTo>
                  <a:lnTo>
                    <a:pt x="713" y="2"/>
                  </a:lnTo>
                  <a:lnTo>
                    <a:pt x="722" y="1"/>
                  </a:lnTo>
                  <a:lnTo>
                    <a:pt x="732" y="0"/>
                  </a:lnTo>
                  <a:lnTo>
                    <a:pt x="759" y="0"/>
                  </a:lnTo>
                  <a:lnTo>
                    <a:pt x="789" y="1"/>
                  </a:lnTo>
                  <a:lnTo>
                    <a:pt x="820" y="2"/>
                  </a:lnTo>
                  <a:lnTo>
                    <a:pt x="848" y="3"/>
                  </a:lnTo>
                  <a:lnTo>
                    <a:pt x="868" y="4"/>
                  </a:lnTo>
                  <a:lnTo>
                    <a:pt x="877" y="6"/>
                  </a:lnTo>
                  <a:lnTo>
                    <a:pt x="877" y="8"/>
                  </a:lnTo>
                  <a:lnTo>
                    <a:pt x="878" y="9"/>
                  </a:lnTo>
                  <a:lnTo>
                    <a:pt x="879" y="10"/>
                  </a:lnTo>
                  <a:lnTo>
                    <a:pt x="881" y="11"/>
                  </a:lnTo>
                  <a:lnTo>
                    <a:pt x="885" y="11"/>
                  </a:lnTo>
                  <a:lnTo>
                    <a:pt x="889" y="11"/>
                  </a:lnTo>
                  <a:lnTo>
                    <a:pt x="892" y="13"/>
                  </a:lnTo>
                  <a:lnTo>
                    <a:pt x="897" y="16"/>
                  </a:lnTo>
                  <a:lnTo>
                    <a:pt x="905" y="18"/>
                  </a:lnTo>
                  <a:lnTo>
                    <a:pt x="915" y="20"/>
                  </a:lnTo>
                  <a:lnTo>
                    <a:pt x="935" y="22"/>
                  </a:lnTo>
                  <a:lnTo>
                    <a:pt x="950" y="23"/>
                  </a:lnTo>
                  <a:lnTo>
                    <a:pt x="951" y="26"/>
                  </a:lnTo>
                  <a:lnTo>
                    <a:pt x="951" y="27"/>
                  </a:lnTo>
                  <a:lnTo>
                    <a:pt x="952" y="28"/>
                  </a:lnTo>
                  <a:lnTo>
                    <a:pt x="954" y="29"/>
                  </a:lnTo>
                  <a:lnTo>
                    <a:pt x="958" y="30"/>
                  </a:lnTo>
                  <a:lnTo>
                    <a:pt x="962" y="30"/>
                  </a:lnTo>
                  <a:lnTo>
                    <a:pt x="963" y="33"/>
                  </a:lnTo>
                  <a:lnTo>
                    <a:pt x="964" y="35"/>
                  </a:lnTo>
                  <a:lnTo>
                    <a:pt x="967" y="36"/>
                  </a:lnTo>
                  <a:lnTo>
                    <a:pt x="969" y="36"/>
                  </a:lnTo>
                  <a:lnTo>
                    <a:pt x="971" y="36"/>
                  </a:lnTo>
                  <a:lnTo>
                    <a:pt x="973" y="37"/>
                  </a:lnTo>
                  <a:lnTo>
                    <a:pt x="974" y="38"/>
                  </a:lnTo>
                  <a:lnTo>
                    <a:pt x="974" y="42"/>
                  </a:lnTo>
                  <a:lnTo>
                    <a:pt x="993" y="42"/>
                  </a:lnTo>
                  <a:lnTo>
                    <a:pt x="993" y="44"/>
                  </a:lnTo>
                  <a:lnTo>
                    <a:pt x="994" y="46"/>
                  </a:lnTo>
                  <a:lnTo>
                    <a:pt x="996" y="47"/>
                  </a:lnTo>
                  <a:lnTo>
                    <a:pt x="997" y="47"/>
                  </a:lnTo>
                  <a:lnTo>
                    <a:pt x="1001" y="48"/>
                  </a:lnTo>
                  <a:lnTo>
                    <a:pt x="1006" y="48"/>
                  </a:lnTo>
                  <a:lnTo>
                    <a:pt x="1006" y="50"/>
                  </a:lnTo>
                  <a:lnTo>
                    <a:pt x="1007" y="51"/>
                  </a:lnTo>
                  <a:lnTo>
                    <a:pt x="1008" y="52"/>
                  </a:lnTo>
                  <a:lnTo>
                    <a:pt x="1009" y="54"/>
                  </a:lnTo>
                  <a:lnTo>
                    <a:pt x="1013" y="54"/>
                  </a:lnTo>
                  <a:lnTo>
                    <a:pt x="1018" y="55"/>
                  </a:lnTo>
                  <a:lnTo>
                    <a:pt x="1023" y="60"/>
                  </a:lnTo>
                  <a:lnTo>
                    <a:pt x="1023" y="64"/>
                  </a:lnTo>
                  <a:lnTo>
                    <a:pt x="1025" y="66"/>
                  </a:lnTo>
                  <a:lnTo>
                    <a:pt x="1026" y="66"/>
                  </a:lnTo>
                  <a:lnTo>
                    <a:pt x="1027" y="66"/>
                  </a:lnTo>
                  <a:lnTo>
                    <a:pt x="1028" y="67"/>
                  </a:lnTo>
                  <a:lnTo>
                    <a:pt x="1029" y="67"/>
                  </a:lnTo>
                  <a:lnTo>
                    <a:pt x="1029" y="69"/>
                  </a:lnTo>
                  <a:lnTo>
                    <a:pt x="1029" y="73"/>
                  </a:lnTo>
                  <a:lnTo>
                    <a:pt x="1039" y="76"/>
                  </a:lnTo>
                  <a:lnTo>
                    <a:pt x="1048" y="78"/>
                  </a:lnTo>
                  <a:lnTo>
                    <a:pt x="1054" y="85"/>
                  </a:lnTo>
                  <a:lnTo>
                    <a:pt x="1055" y="88"/>
                  </a:lnTo>
                  <a:lnTo>
                    <a:pt x="1055" y="90"/>
                  </a:lnTo>
                  <a:lnTo>
                    <a:pt x="1056" y="90"/>
                  </a:lnTo>
                  <a:lnTo>
                    <a:pt x="1057" y="90"/>
                  </a:lnTo>
                  <a:lnTo>
                    <a:pt x="1058" y="90"/>
                  </a:lnTo>
                  <a:lnTo>
                    <a:pt x="1059" y="92"/>
                  </a:lnTo>
                  <a:lnTo>
                    <a:pt x="1060" y="94"/>
                  </a:lnTo>
                  <a:lnTo>
                    <a:pt x="1060" y="97"/>
                  </a:lnTo>
                  <a:lnTo>
                    <a:pt x="1073" y="97"/>
                  </a:lnTo>
                  <a:lnTo>
                    <a:pt x="1073" y="99"/>
                  </a:lnTo>
                  <a:lnTo>
                    <a:pt x="1074" y="100"/>
                  </a:lnTo>
                  <a:lnTo>
                    <a:pt x="1075" y="102"/>
                  </a:lnTo>
                  <a:lnTo>
                    <a:pt x="1076" y="103"/>
                  </a:lnTo>
                  <a:lnTo>
                    <a:pt x="1080" y="103"/>
                  </a:lnTo>
                  <a:lnTo>
                    <a:pt x="1085" y="103"/>
                  </a:lnTo>
                  <a:lnTo>
                    <a:pt x="1090" y="115"/>
                  </a:lnTo>
                  <a:lnTo>
                    <a:pt x="1099" y="118"/>
                  </a:lnTo>
                  <a:lnTo>
                    <a:pt x="1108" y="122"/>
                  </a:lnTo>
                  <a:lnTo>
                    <a:pt x="1133" y="122"/>
                  </a:lnTo>
                  <a:lnTo>
                    <a:pt x="1145" y="125"/>
                  </a:lnTo>
                  <a:lnTo>
                    <a:pt x="1159" y="128"/>
                  </a:lnTo>
                  <a:lnTo>
                    <a:pt x="1172" y="131"/>
                  </a:lnTo>
                  <a:lnTo>
                    <a:pt x="1185" y="132"/>
                  </a:lnTo>
                  <a:lnTo>
                    <a:pt x="1214" y="133"/>
                  </a:lnTo>
                  <a:lnTo>
                    <a:pt x="1243" y="134"/>
                  </a:lnTo>
                  <a:lnTo>
                    <a:pt x="1244" y="138"/>
                  </a:lnTo>
                  <a:lnTo>
                    <a:pt x="1249" y="142"/>
                  </a:lnTo>
                  <a:lnTo>
                    <a:pt x="1253" y="144"/>
                  </a:lnTo>
                  <a:lnTo>
                    <a:pt x="1255" y="145"/>
                  </a:lnTo>
                  <a:lnTo>
                    <a:pt x="1257" y="155"/>
                  </a:lnTo>
                  <a:lnTo>
                    <a:pt x="1261" y="164"/>
                  </a:lnTo>
                  <a:lnTo>
                    <a:pt x="1266" y="173"/>
                  </a:lnTo>
                  <a:lnTo>
                    <a:pt x="1267" y="182"/>
                  </a:lnTo>
                  <a:lnTo>
                    <a:pt x="1269" y="183"/>
                  </a:lnTo>
                  <a:lnTo>
                    <a:pt x="1271" y="184"/>
                  </a:lnTo>
                  <a:lnTo>
                    <a:pt x="1273" y="186"/>
                  </a:lnTo>
                  <a:lnTo>
                    <a:pt x="1276" y="189"/>
                  </a:lnTo>
                  <a:lnTo>
                    <a:pt x="1278" y="195"/>
                  </a:lnTo>
                  <a:lnTo>
                    <a:pt x="1279" y="201"/>
                  </a:lnTo>
                  <a:lnTo>
                    <a:pt x="1291" y="206"/>
                  </a:lnTo>
                  <a:lnTo>
                    <a:pt x="1298" y="212"/>
                  </a:lnTo>
                  <a:lnTo>
                    <a:pt x="1298" y="217"/>
                  </a:lnTo>
                  <a:lnTo>
                    <a:pt x="1299" y="218"/>
                  </a:lnTo>
                  <a:lnTo>
                    <a:pt x="1299" y="219"/>
                  </a:lnTo>
                  <a:lnTo>
                    <a:pt x="1300" y="219"/>
                  </a:lnTo>
                  <a:lnTo>
                    <a:pt x="1301" y="219"/>
                  </a:lnTo>
                  <a:lnTo>
                    <a:pt x="1303" y="220"/>
                  </a:lnTo>
                  <a:lnTo>
                    <a:pt x="1304" y="221"/>
                  </a:lnTo>
                  <a:lnTo>
                    <a:pt x="1304" y="224"/>
                  </a:lnTo>
                  <a:lnTo>
                    <a:pt x="1316" y="224"/>
                  </a:lnTo>
                  <a:lnTo>
                    <a:pt x="1316" y="229"/>
                  </a:lnTo>
                  <a:lnTo>
                    <a:pt x="1317" y="230"/>
                  </a:lnTo>
                  <a:lnTo>
                    <a:pt x="1318" y="231"/>
                  </a:lnTo>
                  <a:lnTo>
                    <a:pt x="1319" y="231"/>
                  </a:lnTo>
                  <a:lnTo>
                    <a:pt x="1320" y="231"/>
                  </a:lnTo>
                  <a:lnTo>
                    <a:pt x="1321" y="232"/>
                  </a:lnTo>
                  <a:lnTo>
                    <a:pt x="1321" y="233"/>
                  </a:lnTo>
                  <a:lnTo>
                    <a:pt x="1323" y="237"/>
                  </a:lnTo>
                  <a:lnTo>
                    <a:pt x="1334" y="237"/>
                  </a:lnTo>
                  <a:lnTo>
                    <a:pt x="1335" y="239"/>
                  </a:lnTo>
                  <a:lnTo>
                    <a:pt x="1335" y="240"/>
                  </a:lnTo>
                  <a:lnTo>
                    <a:pt x="1336" y="241"/>
                  </a:lnTo>
                  <a:lnTo>
                    <a:pt x="1338" y="242"/>
                  </a:lnTo>
                  <a:lnTo>
                    <a:pt x="1342" y="243"/>
                  </a:lnTo>
                  <a:lnTo>
                    <a:pt x="1346" y="243"/>
                  </a:lnTo>
                  <a:lnTo>
                    <a:pt x="1353" y="249"/>
                  </a:lnTo>
                  <a:lnTo>
                    <a:pt x="1353" y="252"/>
                  </a:lnTo>
                  <a:lnTo>
                    <a:pt x="1354" y="254"/>
                  </a:lnTo>
                  <a:lnTo>
                    <a:pt x="1355" y="256"/>
                  </a:lnTo>
                  <a:lnTo>
                    <a:pt x="1356" y="256"/>
                  </a:lnTo>
                  <a:lnTo>
                    <a:pt x="1357" y="256"/>
                  </a:lnTo>
                  <a:lnTo>
                    <a:pt x="1357" y="256"/>
                  </a:lnTo>
                  <a:lnTo>
                    <a:pt x="1358" y="258"/>
                  </a:lnTo>
                  <a:lnTo>
                    <a:pt x="1358" y="261"/>
                  </a:lnTo>
                  <a:lnTo>
                    <a:pt x="1371" y="261"/>
                  </a:lnTo>
                  <a:lnTo>
                    <a:pt x="1377" y="270"/>
                  </a:lnTo>
                  <a:lnTo>
                    <a:pt x="1383" y="280"/>
                  </a:lnTo>
                  <a:lnTo>
                    <a:pt x="1395" y="280"/>
                  </a:lnTo>
                  <a:lnTo>
                    <a:pt x="1402" y="286"/>
                  </a:lnTo>
                  <a:lnTo>
                    <a:pt x="1402" y="289"/>
                  </a:lnTo>
                  <a:lnTo>
                    <a:pt x="1402" y="291"/>
                  </a:lnTo>
                  <a:lnTo>
                    <a:pt x="1403" y="291"/>
                  </a:lnTo>
                  <a:lnTo>
                    <a:pt x="1404" y="291"/>
                  </a:lnTo>
                  <a:lnTo>
                    <a:pt x="1405" y="292"/>
                  </a:lnTo>
                  <a:lnTo>
                    <a:pt x="1406" y="292"/>
                  </a:lnTo>
                  <a:lnTo>
                    <a:pt x="1407" y="295"/>
                  </a:lnTo>
                  <a:lnTo>
                    <a:pt x="1407" y="298"/>
                  </a:lnTo>
                  <a:lnTo>
                    <a:pt x="1416" y="301"/>
                  </a:lnTo>
                  <a:lnTo>
                    <a:pt x="1431" y="308"/>
                  </a:lnTo>
                  <a:lnTo>
                    <a:pt x="1439" y="311"/>
                  </a:lnTo>
                  <a:lnTo>
                    <a:pt x="1444" y="316"/>
                  </a:lnTo>
                  <a:lnTo>
                    <a:pt x="1449" y="319"/>
                  </a:lnTo>
                  <a:lnTo>
                    <a:pt x="1450" y="323"/>
                  </a:lnTo>
                  <a:lnTo>
                    <a:pt x="1455" y="323"/>
                  </a:lnTo>
                  <a:lnTo>
                    <a:pt x="1462" y="325"/>
                  </a:lnTo>
                  <a:lnTo>
                    <a:pt x="1469" y="327"/>
                  </a:lnTo>
                  <a:lnTo>
                    <a:pt x="1476" y="330"/>
                  </a:lnTo>
                  <a:lnTo>
                    <a:pt x="1482" y="334"/>
                  </a:lnTo>
                  <a:lnTo>
                    <a:pt x="1488" y="338"/>
                  </a:lnTo>
                  <a:lnTo>
                    <a:pt x="1491" y="343"/>
                  </a:lnTo>
                  <a:lnTo>
                    <a:pt x="1492" y="347"/>
                  </a:lnTo>
                  <a:lnTo>
                    <a:pt x="1505" y="347"/>
                  </a:lnTo>
                  <a:lnTo>
                    <a:pt x="1506" y="350"/>
                  </a:lnTo>
                  <a:lnTo>
                    <a:pt x="1506" y="352"/>
                  </a:lnTo>
                  <a:lnTo>
                    <a:pt x="1507" y="353"/>
                  </a:lnTo>
                  <a:lnTo>
                    <a:pt x="1508" y="353"/>
                  </a:lnTo>
                  <a:lnTo>
                    <a:pt x="1509" y="353"/>
                  </a:lnTo>
                  <a:lnTo>
                    <a:pt x="1510" y="354"/>
                  </a:lnTo>
                  <a:lnTo>
                    <a:pt x="1511" y="355"/>
                  </a:lnTo>
                  <a:lnTo>
                    <a:pt x="1511" y="359"/>
                  </a:lnTo>
                  <a:lnTo>
                    <a:pt x="1524" y="359"/>
                  </a:lnTo>
                  <a:lnTo>
                    <a:pt x="1529" y="371"/>
                  </a:lnTo>
                  <a:lnTo>
                    <a:pt x="1538" y="374"/>
                  </a:lnTo>
                  <a:lnTo>
                    <a:pt x="1548" y="377"/>
                  </a:lnTo>
                  <a:lnTo>
                    <a:pt x="1554" y="383"/>
                  </a:lnTo>
                  <a:lnTo>
                    <a:pt x="1555" y="387"/>
                  </a:lnTo>
                  <a:lnTo>
                    <a:pt x="1557" y="392"/>
                  </a:lnTo>
                  <a:lnTo>
                    <a:pt x="1561" y="394"/>
                  </a:lnTo>
                  <a:lnTo>
                    <a:pt x="1566" y="395"/>
                  </a:lnTo>
                  <a:lnTo>
                    <a:pt x="1572" y="411"/>
                  </a:lnTo>
                  <a:lnTo>
                    <a:pt x="1578" y="426"/>
                  </a:lnTo>
                  <a:lnTo>
                    <a:pt x="1587" y="435"/>
                  </a:lnTo>
                  <a:lnTo>
                    <a:pt x="1596" y="444"/>
                  </a:lnTo>
                  <a:lnTo>
                    <a:pt x="1596" y="462"/>
                  </a:lnTo>
                  <a:lnTo>
                    <a:pt x="1598" y="463"/>
                  </a:lnTo>
                  <a:lnTo>
                    <a:pt x="1601" y="467"/>
                  </a:lnTo>
                  <a:lnTo>
                    <a:pt x="1602" y="470"/>
                  </a:lnTo>
                  <a:lnTo>
                    <a:pt x="1603" y="474"/>
                  </a:lnTo>
                  <a:lnTo>
                    <a:pt x="1605" y="479"/>
                  </a:lnTo>
                  <a:lnTo>
                    <a:pt x="1607" y="483"/>
                  </a:lnTo>
                  <a:lnTo>
                    <a:pt x="1611" y="485"/>
                  </a:lnTo>
                  <a:lnTo>
                    <a:pt x="1615" y="487"/>
                  </a:lnTo>
                  <a:lnTo>
                    <a:pt x="1615" y="536"/>
                  </a:lnTo>
                  <a:lnTo>
                    <a:pt x="1611" y="540"/>
                  </a:lnTo>
                  <a:lnTo>
                    <a:pt x="1605" y="544"/>
                  </a:lnTo>
                  <a:lnTo>
                    <a:pt x="1601" y="547"/>
                  </a:lnTo>
                  <a:lnTo>
                    <a:pt x="1596" y="548"/>
                  </a:lnTo>
                  <a:lnTo>
                    <a:pt x="1596" y="560"/>
                  </a:lnTo>
                  <a:lnTo>
                    <a:pt x="1593" y="561"/>
                  </a:lnTo>
                  <a:lnTo>
                    <a:pt x="1589" y="566"/>
                  </a:lnTo>
                  <a:lnTo>
                    <a:pt x="1587" y="568"/>
                  </a:lnTo>
                  <a:lnTo>
                    <a:pt x="1585" y="570"/>
                  </a:lnTo>
                  <a:lnTo>
                    <a:pt x="1582" y="571"/>
                  </a:lnTo>
                  <a:lnTo>
                    <a:pt x="1578" y="573"/>
                  </a:lnTo>
                  <a:lnTo>
                    <a:pt x="1576" y="599"/>
                  </a:lnTo>
                  <a:lnTo>
                    <a:pt x="1572" y="631"/>
                  </a:lnTo>
                  <a:lnTo>
                    <a:pt x="1568" y="664"/>
                  </a:lnTo>
                  <a:lnTo>
                    <a:pt x="1566" y="694"/>
                  </a:lnTo>
                  <a:lnTo>
                    <a:pt x="1569" y="694"/>
                  </a:lnTo>
                  <a:lnTo>
                    <a:pt x="1572" y="695"/>
                  </a:lnTo>
                  <a:lnTo>
                    <a:pt x="1572" y="696"/>
                  </a:lnTo>
                  <a:lnTo>
                    <a:pt x="1572" y="698"/>
                  </a:lnTo>
                  <a:lnTo>
                    <a:pt x="1573" y="699"/>
                  </a:lnTo>
                  <a:lnTo>
                    <a:pt x="1573" y="699"/>
                  </a:lnTo>
                  <a:lnTo>
                    <a:pt x="1575" y="700"/>
                  </a:lnTo>
                  <a:lnTo>
                    <a:pt x="1578" y="700"/>
                  </a:lnTo>
                  <a:lnTo>
                    <a:pt x="1578" y="712"/>
                  </a:lnTo>
                  <a:lnTo>
                    <a:pt x="1591" y="712"/>
                  </a:lnTo>
                  <a:lnTo>
                    <a:pt x="1591" y="715"/>
                  </a:lnTo>
                  <a:lnTo>
                    <a:pt x="1592" y="718"/>
                  </a:lnTo>
                  <a:lnTo>
                    <a:pt x="1593" y="719"/>
                  </a:lnTo>
                  <a:lnTo>
                    <a:pt x="1594" y="719"/>
                  </a:lnTo>
                  <a:lnTo>
                    <a:pt x="1595" y="719"/>
                  </a:lnTo>
                  <a:lnTo>
                    <a:pt x="1595" y="719"/>
                  </a:lnTo>
                  <a:lnTo>
                    <a:pt x="1596" y="721"/>
                  </a:lnTo>
                  <a:lnTo>
                    <a:pt x="1596" y="724"/>
                  </a:lnTo>
                  <a:lnTo>
                    <a:pt x="1621" y="724"/>
                  </a:lnTo>
                  <a:lnTo>
                    <a:pt x="1622" y="727"/>
                  </a:lnTo>
                  <a:lnTo>
                    <a:pt x="1625" y="729"/>
                  </a:lnTo>
                  <a:lnTo>
                    <a:pt x="1631" y="731"/>
                  </a:lnTo>
                  <a:lnTo>
                    <a:pt x="1637" y="732"/>
                  </a:lnTo>
                  <a:lnTo>
                    <a:pt x="1654" y="735"/>
                  </a:lnTo>
                  <a:lnTo>
                    <a:pt x="1674" y="738"/>
                  </a:lnTo>
                  <a:lnTo>
                    <a:pt x="1713" y="741"/>
                  </a:lnTo>
                  <a:lnTo>
                    <a:pt x="1737" y="743"/>
                  </a:lnTo>
                  <a:lnTo>
                    <a:pt x="1749" y="746"/>
                  </a:lnTo>
                  <a:lnTo>
                    <a:pt x="1764" y="750"/>
                  </a:lnTo>
                  <a:lnTo>
                    <a:pt x="1762" y="778"/>
                  </a:lnTo>
                  <a:lnTo>
                    <a:pt x="1761" y="806"/>
                  </a:lnTo>
                  <a:lnTo>
                    <a:pt x="1760" y="834"/>
                  </a:lnTo>
                  <a:lnTo>
                    <a:pt x="1760" y="860"/>
                  </a:lnTo>
                  <a:lnTo>
                    <a:pt x="1757" y="863"/>
                  </a:lnTo>
                  <a:lnTo>
                    <a:pt x="1755" y="869"/>
                  </a:lnTo>
                  <a:lnTo>
                    <a:pt x="1752" y="879"/>
                  </a:lnTo>
                  <a:lnTo>
                    <a:pt x="1750" y="893"/>
                  </a:lnTo>
                  <a:lnTo>
                    <a:pt x="1745" y="929"/>
                  </a:lnTo>
                  <a:lnTo>
                    <a:pt x="1740" y="971"/>
                  </a:lnTo>
                  <a:lnTo>
                    <a:pt x="1735" y="971"/>
                  </a:lnTo>
                  <a:lnTo>
                    <a:pt x="1720" y="981"/>
                  </a:lnTo>
                  <a:lnTo>
                    <a:pt x="1716" y="990"/>
                  </a:lnTo>
                  <a:lnTo>
                    <a:pt x="1711" y="996"/>
                  </a:lnTo>
                  <a:lnTo>
                    <a:pt x="1701" y="996"/>
                  </a:lnTo>
                  <a:lnTo>
                    <a:pt x="1701" y="998"/>
                  </a:lnTo>
                  <a:lnTo>
                    <a:pt x="1700" y="1000"/>
                  </a:lnTo>
                  <a:lnTo>
                    <a:pt x="1698" y="1002"/>
                  </a:lnTo>
                  <a:lnTo>
                    <a:pt x="1695" y="1003"/>
                  </a:lnTo>
                  <a:lnTo>
                    <a:pt x="1691" y="1004"/>
                  </a:lnTo>
                  <a:lnTo>
                    <a:pt x="1688" y="1004"/>
                  </a:lnTo>
                  <a:lnTo>
                    <a:pt x="1687" y="1007"/>
                  </a:lnTo>
                  <a:lnTo>
                    <a:pt x="1685" y="1008"/>
                  </a:lnTo>
                  <a:lnTo>
                    <a:pt x="1682" y="1009"/>
                  </a:lnTo>
                  <a:lnTo>
                    <a:pt x="1680" y="1011"/>
                  </a:lnTo>
                  <a:lnTo>
                    <a:pt x="1673" y="1013"/>
                  </a:lnTo>
                  <a:lnTo>
                    <a:pt x="1669" y="1013"/>
                  </a:lnTo>
                  <a:lnTo>
                    <a:pt x="1668" y="1016"/>
                  </a:lnTo>
                  <a:lnTo>
                    <a:pt x="1665" y="1017"/>
                  </a:lnTo>
                  <a:lnTo>
                    <a:pt x="1662" y="1018"/>
                  </a:lnTo>
                  <a:lnTo>
                    <a:pt x="1658" y="1018"/>
                  </a:lnTo>
                  <a:lnTo>
                    <a:pt x="1646" y="1018"/>
                  </a:lnTo>
                  <a:lnTo>
                    <a:pt x="1631" y="1018"/>
                  </a:lnTo>
                  <a:lnTo>
                    <a:pt x="1591" y="1013"/>
                  </a:lnTo>
                  <a:lnTo>
                    <a:pt x="1544" y="1007"/>
                  </a:lnTo>
                  <a:lnTo>
                    <a:pt x="1496" y="1000"/>
                  </a:lnTo>
                  <a:lnTo>
                    <a:pt x="1450" y="992"/>
                  </a:lnTo>
                  <a:lnTo>
                    <a:pt x="1414" y="988"/>
                  </a:lnTo>
                  <a:lnTo>
                    <a:pt x="1391" y="985"/>
                  </a:lnTo>
                  <a:lnTo>
                    <a:pt x="1364" y="984"/>
                  </a:lnTo>
                  <a:lnTo>
                    <a:pt x="1336" y="981"/>
                  </a:lnTo>
                  <a:lnTo>
                    <a:pt x="1307" y="975"/>
                  </a:lnTo>
                  <a:lnTo>
                    <a:pt x="1277" y="969"/>
                  </a:lnTo>
                  <a:lnTo>
                    <a:pt x="1246" y="963"/>
                  </a:lnTo>
                  <a:lnTo>
                    <a:pt x="1214" y="958"/>
                  </a:lnTo>
                  <a:lnTo>
                    <a:pt x="1199" y="955"/>
                  </a:lnTo>
                  <a:lnTo>
                    <a:pt x="1183" y="954"/>
                  </a:lnTo>
                  <a:lnTo>
                    <a:pt x="1167" y="953"/>
                  </a:lnTo>
                  <a:lnTo>
                    <a:pt x="1152" y="953"/>
                  </a:lnTo>
                  <a:lnTo>
                    <a:pt x="1151" y="951"/>
                  </a:lnTo>
                  <a:lnTo>
                    <a:pt x="1150" y="950"/>
                  </a:lnTo>
                  <a:lnTo>
                    <a:pt x="1148" y="950"/>
                  </a:lnTo>
                  <a:lnTo>
                    <a:pt x="1146" y="949"/>
                  </a:lnTo>
                  <a:lnTo>
                    <a:pt x="1142" y="949"/>
                  </a:lnTo>
                  <a:lnTo>
                    <a:pt x="1137" y="948"/>
                  </a:lnTo>
                  <a:lnTo>
                    <a:pt x="1133" y="943"/>
                  </a:lnTo>
                  <a:lnTo>
                    <a:pt x="1128" y="934"/>
                  </a:lnTo>
                  <a:lnTo>
                    <a:pt x="1121" y="932"/>
                  </a:lnTo>
                  <a:lnTo>
                    <a:pt x="1114" y="930"/>
                  </a:lnTo>
                  <a:lnTo>
                    <a:pt x="1112" y="924"/>
                  </a:lnTo>
                  <a:lnTo>
                    <a:pt x="1109" y="920"/>
                  </a:lnTo>
                  <a:lnTo>
                    <a:pt x="1099" y="917"/>
                  </a:lnTo>
                  <a:lnTo>
                    <a:pt x="1090" y="915"/>
                  </a:lnTo>
                  <a:lnTo>
                    <a:pt x="1090" y="914"/>
                  </a:lnTo>
                  <a:lnTo>
                    <a:pt x="1089" y="913"/>
                  </a:lnTo>
                  <a:lnTo>
                    <a:pt x="1087" y="912"/>
                  </a:lnTo>
                  <a:lnTo>
                    <a:pt x="1085" y="911"/>
                  </a:lnTo>
                  <a:lnTo>
                    <a:pt x="1080" y="911"/>
                  </a:lnTo>
                  <a:lnTo>
                    <a:pt x="1076" y="911"/>
                  </a:lnTo>
                  <a:lnTo>
                    <a:pt x="860" y="877"/>
                  </a:lnTo>
                  <a:lnTo>
                    <a:pt x="850" y="889"/>
                  </a:lnTo>
                  <a:lnTo>
                    <a:pt x="841" y="906"/>
                  </a:lnTo>
                  <a:lnTo>
                    <a:pt x="833" y="911"/>
                  </a:lnTo>
                  <a:lnTo>
                    <a:pt x="830" y="921"/>
                  </a:lnTo>
                  <a:lnTo>
                    <a:pt x="827" y="934"/>
                  </a:lnTo>
                  <a:lnTo>
                    <a:pt x="824" y="948"/>
                  </a:lnTo>
                  <a:lnTo>
                    <a:pt x="823" y="958"/>
                  </a:lnTo>
                  <a:lnTo>
                    <a:pt x="814" y="958"/>
                  </a:lnTo>
                  <a:lnTo>
                    <a:pt x="812" y="960"/>
                  </a:lnTo>
                  <a:lnTo>
                    <a:pt x="811" y="962"/>
                  </a:lnTo>
                  <a:lnTo>
                    <a:pt x="809" y="964"/>
                  </a:lnTo>
                  <a:lnTo>
                    <a:pt x="807" y="965"/>
                  </a:lnTo>
                  <a:lnTo>
                    <a:pt x="799" y="968"/>
                  </a:lnTo>
                  <a:lnTo>
                    <a:pt x="791" y="970"/>
                  </a:lnTo>
                  <a:lnTo>
                    <a:pt x="773" y="971"/>
                  </a:lnTo>
                  <a:lnTo>
                    <a:pt x="761" y="971"/>
                  </a:lnTo>
                  <a:lnTo>
                    <a:pt x="752" y="962"/>
                  </a:lnTo>
                  <a:lnTo>
                    <a:pt x="743" y="962"/>
                  </a:lnTo>
                  <a:lnTo>
                    <a:pt x="738" y="953"/>
                  </a:lnTo>
                  <a:lnTo>
                    <a:pt x="725" y="951"/>
                  </a:lnTo>
                  <a:lnTo>
                    <a:pt x="711" y="948"/>
                  </a:lnTo>
                  <a:lnTo>
                    <a:pt x="703" y="948"/>
                  </a:lnTo>
                  <a:lnTo>
                    <a:pt x="696" y="949"/>
                  </a:lnTo>
                  <a:lnTo>
                    <a:pt x="693" y="950"/>
                  </a:lnTo>
                  <a:lnTo>
                    <a:pt x="691" y="952"/>
                  </a:lnTo>
                  <a:lnTo>
                    <a:pt x="689" y="954"/>
                  </a:lnTo>
                  <a:lnTo>
                    <a:pt x="686" y="958"/>
                  </a:lnTo>
                  <a:lnTo>
                    <a:pt x="672" y="958"/>
                  </a:lnTo>
                  <a:lnTo>
                    <a:pt x="672" y="959"/>
                  </a:lnTo>
                  <a:lnTo>
                    <a:pt x="671" y="960"/>
                  </a:lnTo>
                  <a:lnTo>
                    <a:pt x="670" y="961"/>
                  </a:lnTo>
                  <a:lnTo>
                    <a:pt x="667" y="962"/>
                  </a:lnTo>
                  <a:lnTo>
                    <a:pt x="663" y="962"/>
                  </a:lnTo>
                  <a:lnTo>
                    <a:pt x="658" y="962"/>
                  </a:lnTo>
                  <a:lnTo>
                    <a:pt x="657" y="963"/>
                  </a:lnTo>
                  <a:lnTo>
                    <a:pt x="654" y="965"/>
                  </a:lnTo>
                  <a:lnTo>
                    <a:pt x="649" y="965"/>
                  </a:lnTo>
                  <a:lnTo>
                    <a:pt x="644" y="967"/>
                  </a:lnTo>
                  <a:lnTo>
                    <a:pt x="633" y="967"/>
                  </a:lnTo>
                  <a:lnTo>
                    <a:pt x="625" y="967"/>
                  </a:lnTo>
                  <a:lnTo>
                    <a:pt x="623" y="965"/>
                  </a:lnTo>
                  <a:lnTo>
                    <a:pt x="617" y="964"/>
                  </a:lnTo>
                  <a:lnTo>
                    <a:pt x="608" y="963"/>
                  </a:lnTo>
                  <a:lnTo>
                    <a:pt x="599" y="962"/>
                  </a:lnTo>
                  <a:lnTo>
                    <a:pt x="598" y="950"/>
                  </a:lnTo>
                  <a:lnTo>
                    <a:pt x="598" y="941"/>
                  </a:lnTo>
                  <a:lnTo>
                    <a:pt x="590" y="927"/>
                  </a:lnTo>
                  <a:lnTo>
                    <a:pt x="581" y="913"/>
                  </a:lnTo>
                  <a:lnTo>
                    <a:pt x="581" y="902"/>
                  </a:lnTo>
                  <a:lnTo>
                    <a:pt x="570" y="892"/>
                  </a:lnTo>
                  <a:lnTo>
                    <a:pt x="552" y="892"/>
                  </a:lnTo>
                  <a:lnTo>
                    <a:pt x="532" y="892"/>
                  </a:lnTo>
                  <a:lnTo>
                    <a:pt x="512" y="892"/>
                  </a:lnTo>
                  <a:lnTo>
                    <a:pt x="493" y="892"/>
                  </a:lnTo>
                  <a:lnTo>
                    <a:pt x="493" y="893"/>
                  </a:lnTo>
                  <a:lnTo>
                    <a:pt x="491" y="894"/>
                  </a:lnTo>
                  <a:lnTo>
                    <a:pt x="486" y="895"/>
                  </a:lnTo>
                  <a:lnTo>
                    <a:pt x="482" y="896"/>
                  </a:lnTo>
                  <a:lnTo>
                    <a:pt x="470" y="896"/>
                  </a:lnTo>
                  <a:lnTo>
                    <a:pt x="455" y="895"/>
                  </a:lnTo>
                  <a:lnTo>
                    <a:pt x="428" y="893"/>
                  </a:lnTo>
                  <a:lnTo>
                    <a:pt x="417" y="892"/>
                  </a:lnTo>
                  <a:lnTo>
                    <a:pt x="414" y="889"/>
                  </a:lnTo>
                  <a:lnTo>
                    <a:pt x="406" y="888"/>
                  </a:lnTo>
                  <a:lnTo>
                    <a:pt x="395" y="887"/>
                  </a:lnTo>
                  <a:lnTo>
                    <a:pt x="383" y="886"/>
                  </a:lnTo>
                  <a:lnTo>
                    <a:pt x="357" y="886"/>
                  </a:lnTo>
                  <a:lnTo>
                    <a:pt x="340" y="886"/>
                  </a:lnTo>
                  <a:lnTo>
                    <a:pt x="329" y="885"/>
                  </a:lnTo>
                  <a:lnTo>
                    <a:pt x="319" y="883"/>
                  </a:lnTo>
                  <a:lnTo>
                    <a:pt x="309" y="881"/>
                  </a:lnTo>
                  <a:lnTo>
                    <a:pt x="299" y="877"/>
                  </a:lnTo>
                  <a:lnTo>
                    <a:pt x="289" y="875"/>
                  </a:lnTo>
                  <a:lnTo>
                    <a:pt x="278" y="872"/>
                  </a:lnTo>
                  <a:lnTo>
                    <a:pt x="268" y="869"/>
                  </a:lnTo>
                  <a:lnTo>
                    <a:pt x="258" y="869"/>
                  </a:lnTo>
                  <a:lnTo>
                    <a:pt x="254" y="860"/>
                  </a:lnTo>
                  <a:lnTo>
                    <a:pt x="252" y="853"/>
                  </a:lnTo>
                  <a:lnTo>
                    <a:pt x="249" y="852"/>
                  </a:lnTo>
                  <a:lnTo>
                    <a:pt x="245" y="847"/>
                  </a:lnTo>
                  <a:lnTo>
                    <a:pt x="244" y="845"/>
                  </a:lnTo>
                  <a:lnTo>
                    <a:pt x="242" y="844"/>
                  </a:lnTo>
                  <a:lnTo>
                    <a:pt x="239" y="843"/>
                  </a:lnTo>
                  <a:lnTo>
                    <a:pt x="235" y="842"/>
                  </a:lnTo>
                  <a:lnTo>
                    <a:pt x="233" y="825"/>
                  </a:lnTo>
                  <a:lnTo>
                    <a:pt x="230" y="809"/>
                  </a:lnTo>
                  <a:lnTo>
                    <a:pt x="224" y="804"/>
                  </a:lnTo>
                  <a:lnTo>
                    <a:pt x="219" y="798"/>
                  </a:lnTo>
                  <a:lnTo>
                    <a:pt x="219" y="781"/>
                  </a:lnTo>
                  <a:lnTo>
                    <a:pt x="216" y="781"/>
                  </a:lnTo>
                  <a:lnTo>
                    <a:pt x="214" y="779"/>
                  </a:lnTo>
                  <a:lnTo>
                    <a:pt x="212" y="777"/>
                  </a:lnTo>
                  <a:lnTo>
                    <a:pt x="209" y="773"/>
                  </a:lnTo>
                  <a:lnTo>
                    <a:pt x="202" y="766"/>
                  </a:lnTo>
                  <a:lnTo>
                    <a:pt x="196" y="756"/>
                  </a:lnTo>
                  <a:lnTo>
                    <a:pt x="190" y="744"/>
                  </a:lnTo>
                  <a:lnTo>
                    <a:pt x="185" y="735"/>
                  </a:lnTo>
                  <a:lnTo>
                    <a:pt x="182" y="727"/>
                  </a:lnTo>
                  <a:lnTo>
                    <a:pt x="181" y="721"/>
                  </a:lnTo>
                  <a:lnTo>
                    <a:pt x="175" y="719"/>
                  </a:lnTo>
                  <a:lnTo>
                    <a:pt x="169" y="715"/>
                  </a:lnTo>
                  <a:lnTo>
                    <a:pt x="169" y="693"/>
                  </a:lnTo>
                  <a:lnTo>
                    <a:pt x="167" y="693"/>
                  </a:lnTo>
                  <a:lnTo>
                    <a:pt x="166" y="690"/>
                  </a:lnTo>
                  <a:lnTo>
                    <a:pt x="165" y="686"/>
                  </a:lnTo>
                  <a:lnTo>
                    <a:pt x="163" y="682"/>
                  </a:lnTo>
                  <a:lnTo>
                    <a:pt x="161" y="670"/>
                  </a:lnTo>
                  <a:lnTo>
                    <a:pt x="158" y="655"/>
                  </a:lnTo>
                  <a:lnTo>
                    <a:pt x="155" y="641"/>
                  </a:lnTo>
                  <a:lnTo>
                    <a:pt x="152" y="628"/>
                  </a:lnTo>
                  <a:lnTo>
                    <a:pt x="149" y="624"/>
                  </a:lnTo>
                  <a:lnTo>
                    <a:pt x="147" y="621"/>
                  </a:lnTo>
                  <a:lnTo>
                    <a:pt x="145" y="617"/>
                  </a:lnTo>
                  <a:lnTo>
                    <a:pt x="143" y="617"/>
                  </a:lnTo>
                  <a:lnTo>
                    <a:pt x="143" y="606"/>
                  </a:lnTo>
                  <a:lnTo>
                    <a:pt x="140" y="605"/>
                  </a:lnTo>
                  <a:lnTo>
                    <a:pt x="138" y="604"/>
                  </a:lnTo>
                  <a:lnTo>
                    <a:pt x="136" y="602"/>
                  </a:lnTo>
                  <a:lnTo>
                    <a:pt x="135" y="599"/>
                  </a:lnTo>
                  <a:lnTo>
                    <a:pt x="133" y="594"/>
                  </a:lnTo>
                  <a:lnTo>
                    <a:pt x="132" y="589"/>
                  </a:lnTo>
                  <a:lnTo>
                    <a:pt x="127" y="588"/>
                  </a:lnTo>
                  <a:lnTo>
                    <a:pt x="123" y="586"/>
                  </a:lnTo>
                  <a:lnTo>
                    <a:pt x="119" y="583"/>
                  </a:lnTo>
                  <a:lnTo>
                    <a:pt x="115" y="578"/>
                  </a:lnTo>
                  <a:lnTo>
                    <a:pt x="115" y="567"/>
                  </a:lnTo>
                  <a:lnTo>
                    <a:pt x="109" y="565"/>
                  </a:lnTo>
                  <a:lnTo>
                    <a:pt x="104" y="561"/>
                  </a:lnTo>
                  <a:lnTo>
                    <a:pt x="104" y="540"/>
                  </a:lnTo>
                  <a:lnTo>
                    <a:pt x="109" y="535"/>
                  </a:lnTo>
                  <a:lnTo>
                    <a:pt x="115" y="531"/>
                  </a:lnTo>
                  <a:lnTo>
                    <a:pt x="120" y="529"/>
                  </a:lnTo>
                  <a:lnTo>
                    <a:pt x="120" y="518"/>
                  </a:lnTo>
                  <a:lnTo>
                    <a:pt x="132" y="518"/>
                  </a:lnTo>
                  <a:lnTo>
                    <a:pt x="137" y="504"/>
                  </a:lnTo>
                  <a:lnTo>
                    <a:pt x="143" y="490"/>
                  </a:lnTo>
                  <a:lnTo>
                    <a:pt x="146" y="490"/>
                  </a:lnTo>
                  <a:lnTo>
                    <a:pt x="149" y="487"/>
                  </a:lnTo>
                  <a:lnTo>
                    <a:pt x="153" y="483"/>
                  </a:lnTo>
                  <a:lnTo>
                    <a:pt x="153" y="480"/>
                  </a:lnTo>
                  <a:lnTo>
                    <a:pt x="158" y="477"/>
                  </a:lnTo>
                  <a:lnTo>
                    <a:pt x="164" y="474"/>
                  </a:lnTo>
                  <a:lnTo>
                    <a:pt x="164" y="463"/>
                  </a:lnTo>
                  <a:lnTo>
                    <a:pt x="166" y="462"/>
                  </a:lnTo>
                  <a:lnTo>
                    <a:pt x="167" y="460"/>
                  </a:lnTo>
                  <a:lnTo>
                    <a:pt x="168" y="458"/>
                  </a:lnTo>
                  <a:lnTo>
                    <a:pt x="169" y="454"/>
                  </a:lnTo>
                  <a:lnTo>
                    <a:pt x="169" y="446"/>
                  </a:lnTo>
                  <a:lnTo>
                    <a:pt x="169" y="441"/>
                  </a:lnTo>
                  <a:lnTo>
                    <a:pt x="164" y="435"/>
                  </a:lnTo>
                  <a:lnTo>
                    <a:pt x="154" y="435"/>
                  </a:lnTo>
                  <a:lnTo>
                    <a:pt x="142" y="433"/>
                  </a:lnTo>
                  <a:lnTo>
                    <a:pt x="129" y="431"/>
                  </a:lnTo>
                  <a:lnTo>
                    <a:pt x="117" y="427"/>
                  </a:lnTo>
                  <a:lnTo>
                    <a:pt x="104" y="424"/>
                  </a:lnTo>
                  <a:lnTo>
                    <a:pt x="91" y="422"/>
                  </a:lnTo>
                  <a:lnTo>
                    <a:pt x="78" y="420"/>
                  </a:lnTo>
                  <a:lnTo>
                    <a:pt x="66" y="419"/>
                  </a:lnTo>
                  <a:lnTo>
                    <a:pt x="62" y="401"/>
                  </a:lnTo>
                  <a:lnTo>
                    <a:pt x="60" y="386"/>
                  </a:lnTo>
                  <a:lnTo>
                    <a:pt x="49" y="386"/>
                  </a:lnTo>
                  <a:lnTo>
                    <a:pt x="41" y="378"/>
                  </a:lnTo>
                  <a:lnTo>
                    <a:pt x="32" y="369"/>
                  </a:lnTo>
                  <a:lnTo>
                    <a:pt x="21" y="369"/>
                  </a:lnTo>
                  <a:lnTo>
                    <a:pt x="15" y="364"/>
                  </a:lnTo>
                  <a:lnTo>
                    <a:pt x="11" y="358"/>
                  </a:lnTo>
                  <a:lnTo>
                    <a:pt x="5" y="353"/>
                  </a:lnTo>
                  <a:lnTo>
                    <a:pt x="0" y="347"/>
                  </a:lnTo>
                  <a:lnTo>
                    <a:pt x="0" y="330"/>
                  </a:lnTo>
                  <a:lnTo>
                    <a:pt x="2" y="312"/>
                  </a:lnTo>
                  <a:lnTo>
                    <a:pt x="4" y="296"/>
                  </a:lnTo>
                  <a:lnTo>
                    <a:pt x="5" y="281"/>
                  </a:lnTo>
                  <a:lnTo>
                    <a:pt x="6" y="281"/>
                  </a:lnTo>
                  <a:lnTo>
                    <a:pt x="8" y="280"/>
                  </a:lnTo>
                  <a:lnTo>
                    <a:pt x="9" y="278"/>
                  </a:lnTo>
                  <a:lnTo>
                    <a:pt x="10" y="276"/>
                  </a:lnTo>
                  <a:lnTo>
                    <a:pt x="10" y="270"/>
                  </a:lnTo>
                  <a:lnTo>
                    <a:pt x="11" y="266"/>
                  </a:lnTo>
                  <a:lnTo>
                    <a:pt x="12" y="265"/>
                  </a:lnTo>
                  <a:lnTo>
                    <a:pt x="13" y="262"/>
                  </a:lnTo>
                  <a:lnTo>
                    <a:pt x="14" y="258"/>
                  </a:lnTo>
                  <a:lnTo>
                    <a:pt x="15" y="253"/>
                  </a:lnTo>
                  <a:lnTo>
                    <a:pt x="15" y="244"/>
                  </a:lnTo>
                  <a:lnTo>
                    <a:pt x="15" y="238"/>
                  </a:lnTo>
                  <a:lnTo>
                    <a:pt x="18" y="237"/>
                  </a:lnTo>
                  <a:lnTo>
                    <a:pt x="20" y="234"/>
                  </a:lnTo>
                  <a:lnTo>
                    <a:pt x="21" y="231"/>
                  </a:lnTo>
                  <a:lnTo>
                    <a:pt x="23" y="227"/>
                  </a:lnTo>
                  <a:lnTo>
                    <a:pt x="25" y="214"/>
                  </a:lnTo>
                  <a:lnTo>
                    <a:pt x="28" y="200"/>
                  </a:lnTo>
                  <a:close/>
                  <a:moveTo>
                    <a:pt x="594" y="962"/>
                  </a:moveTo>
                  <a:lnTo>
                    <a:pt x="587" y="962"/>
                  </a:lnTo>
                  <a:lnTo>
                    <a:pt x="584" y="962"/>
                  </a:lnTo>
                  <a:lnTo>
                    <a:pt x="587" y="962"/>
                  </a:lnTo>
                  <a:lnTo>
                    <a:pt x="594" y="96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6" name="Freeform 42"/>
            <p:cNvSpPr>
              <a:spLocks noChangeAspect="1"/>
            </p:cNvSpPr>
            <p:nvPr/>
          </p:nvSpPr>
          <p:spPr bwMode="gray">
            <a:xfrm rot="355651">
              <a:off x="5855681" y="3003550"/>
              <a:ext cx="0" cy="4259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10" y="0"/>
                </a:cxn>
              </a:cxnLst>
              <a:rect l="0" t="0" r="r" b="b"/>
              <a:pathLst>
                <a:path w="10">
                  <a:moveTo>
                    <a:pt x="10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10" y="0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7" name="Freeform 43"/>
            <p:cNvSpPr>
              <a:spLocks noChangeAspect="1"/>
            </p:cNvSpPr>
            <p:nvPr/>
          </p:nvSpPr>
          <p:spPr bwMode="gray">
            <a:xfrm rot="355651">
              <a:off x="5705451" y="2635250"/>
              <a:ext cx="258141" cy="248052"/>
            </a:xfrm>
            <a:custGeom>
              <a:avLst/>
              <a:gdLst/>
              <a:ahLst/>
              <a:cxnLst>
                <a:cxn ang="0">
                  <a:pos x="516" y="365"/>
                </a:cxn>
                <a:cxn ang="0">
                  <a:pos x="469" y="432"/>
                </a:cxn>
                <a:cxn ang="0">
                  <a:pos x="446" y="459"/>
                </a:cxn>
                <a:cxn ang="0">
                  <a:pos x="401" y="516"/>
                </a:cxn>
                <a:cxn ang="0">
                  <a:pos x="341" y="564"/>
                </a:cxn>
                <a:cxn ang="0">
                  <a:pos x="311" y="609"/>
                </a:cxn>
                <a:cxn ang="0">
                  <a:pos x="268" y="637"/>
                </a:cxn>
                <a:cxn ang="0">
                  <a:pos x="201" y="661"/>
                </a:cxn>
                <a:cxn ang="0">
                  <a:pos x="150" y="690"/>
                </a:cxn>
                <a:cxn ang="0">
                  <a:pos x="103" y="708"/>
                </a:cxn>
                <a:cxn ang="0">
                  <a:pos x="73" y="721"/>
                </a:cxn>
                <a:cxn ang="0">
                  <a:pos x="45" y="749"/>
                </a:cxn>
                <a:cxn ang="0">
                  <a:pos x="27" y="799"/>
                </a:cxn>
                <a:cxn ang="0">
                  <a:pos x="2" y="995"/>
                </a:cxn>
                <a:cxn ang="0">
                  <a:pos x="7" y="1013"/>
                </a:cxn>
                <a:cxn ang="0">
                  <a:pos x="95" y="1018"/>
                </a:cxn>
                <a:cxn ang="0">
                  <a:pos x="128" y="1055"/>
                </a:cxn>
                <a:cxn ang="0">
                  <a:pos x="159" y="1093"/>
                </a:cxn>
                <a:cxn ang="0">
                  <a:pos x="229" y="1111"/>
                </a:cxn>
                <a:cxn ang="0">
                  <a:pos x="283" y="1130"/>
                </a:cxn>
                <a:cxn ang="0">
                  <a:pos x="349" y="1191"/>
                </a:cxn>
                <a:cxn ang="0">
                  <a:pos x="388" y="1325"/>
                </a:cxn>
                <a:cxn ang="0">
                  <a:pos x="399" y="1372"/>
                </a:cxn>
                <a:cxn ang="0">
                  <a:pos x="419" y="1493"/>
                </a:cxn>
                <a:cxn ang="0">
                  <a:pos x="524" y="1537"/>
                </a:cxn>
                <a:cxn ang="0">
                  <a:pos x="617" y="1507"/>
                </a:cxn>
                <a:cxn ang="0">
                  <a:pos x="603" y="1488"/>
                </a:cxn>
                <a:cxn ang="0">
                  <a:pos x="554" y="1431"/>
                </a:cxn>
                <a:cxn ang="0">
                  <a:pos x="542" y="1402"/>
                </a:cxn>
                <a:cxn ang="0">
                  <a:pos x="534" y="1345"/>
                </a:cxn>
                <a:cxn ang="0">
                  <a:pos x="508" y="1294"/>
                </a:cxn>
                <a:cxn ang="0">
                  <a:pos x="480" y="1223"/>
                </a:cxn>
                <a:cxn ang="0">
                  <a:pos x="488" y="1147"/>
                </a:cxn>
                <a:cxn ang="0">
                  <a:pos x="591" y="1111"/>
                </a:cxn>
                <a:cxn ang="0">
                  <a:pos x="656" y="1094"/>
                </a:cxn>
                <a:cxn ang="0">
                  <a:pos x="852" y="947"/>
                </a:cxn>
                <a:cxn ang="0">
                  <a:pos x="872" y="934"/>
                </a:cxn>
                <a:cxn ang="0">
                  <a:pos x="888" y="924"/>
                </a:cxn>
                <a:cxn ang="0">
                  <a:pos x="952" y="930"/>
                </a:cxn>
                <a:cxn ang="0">
                  <a:pos x="1002" y="902"/>
                </a:cxn>
                <a:cxn ang="0">
                  <a:pos x="1083" y="897"/>
                </a:cxn>
                <a:cxn ang="0">
                  <a:pos x="1144" y="921"/>
                </a:cxn>
                <a:cxn ang="0">
                  <a:pos x="1284" y="939"/>
                </a:cxn>
                <a:cxn ang="0">
                  <a:pos x="1344" y="929"/>
                </a:cxn>
                <a:cxn ang="0">
                  <a:pos x="1370" y="868"/>
                </a:cxn>
                <a:cxn ang="0">
                  <a:pos x="1377" y="712"/>
                </a:cxn>
                <a:cxn ang="0">
                  <a:pos x="1395" y="524"/>
                </a:cxn>
                <a:cxn ang="0">
                  <a:pos x="1416" y="425"/>
                </a:cxn>
                <a:cxn ang="0">
                  <a:pos x="1260" y="382"/>
                </a:cxn>
                <a:cxn ang="0">
                  <a:pos x="1216" y="326"/>
                </a:cxn>
                <a:cxn ang="0">
                  <a:pos x="1219" y="193"/>
                </a:cxn>
                <a:cxn ang="0">
                  <a:pos x="1171" y="164"/>
                </a:cxn>
                <a:cxn ang="0">
                  <a:pos x="1125" y="141"/>
                </a:cxn>
                <a:cxn ang="0">
                  <a:pos x="1004" y="97"/>
                </a:cxn>
                <a:cxn ang="0">
                  <a:pos x="984" y="35"/>
                </a:cxn>
                <a:cxn ang="0">
                  <a:pos x="970" y="0"/>
                </a:cxn>
                <a:cxn ang="0">
                  <a:pos x="937" y="46"/>
                </a:cxn>
                <a:cxn ang="0">
                  <a:pos x="912" y="87"/>
                </a:cxn>
                <a:cxn ang="0">
                  <a:pos x="886" y="161"/>
                </a:cxn>
                <a:cxn ang="0">
                  <a:pos x="872" y="207"/>
                </a:cxn>
                <a:cxn ang="0">
                  <a:pos x="829" y="232"/>
                </a:cxn>
                <a:cxn ang="0">
                  <a:pos x="734" y="327"/>
                </a:cxn>
                <a:cxn ang="0">
                  <a:pos x="619" y="314"/>
                </a:cxn>
              </a:cxnLst>
              <a:rect l="0" t="0" r="r" b="b"/>
              <a:pathLst>
                <a:path w="1416" h="1538">
                  <a:moveTo>
                    <a:pt x="564" y="341"/>
                  </a:moveTo>
                  <a:lnTo>
                    <a:pt x="551" y="345"/>
                  </a:lnTo>
                  <a:lnTo>
                    <a:pt x="542" y="348"/>
                  </a:lnTo>
                  <a:lnTo>
                    <a:pt x="538" y="349"/>
                  </a:lnTo>
                  <a:lnTo>
                    <a:pt x="536" y="353"/>
                  </a:lnTo>
                  <a:lnTo>
                    <a:pt x="533" y="356"/>
                  </a:lnTo>
                  <a:lnTo>
                    <a:pt x="531" y="361"/>
                  </a:lnTo>
                  <a:lnTo>
                    <a:pt x="517" y="361"/>
                  </a:lnTo>
                  <a:lnTo>
                    <a:pt x="516" y="365"/>
                  </a:lnTo>
                  <a:lnTo>
                    <a:pt x="514" y="370"/>
                  </a:lnTo>
                  <a:lnTo>
                    <a:pt x="509" y="375"/>
                  </a:lnTo>
                  <a:lnTo>
                    <a:pt x="504" y="378"/>
                  </a:lnTo>
                  <a:lnTo>
                    <a:pt x="493" y="387"/>
                  </a:lnTo>
                  <a:lnTo>
                    <a:pt x="485" y="393"/>
                  </a:lnTo>
                  <a:lnTo>
                    <a:pt x="485" y="406"/>
                  </a:lnTo>
                  <a:lnTo>
                    <a:pt x="472" y="413"/>
                  </a:lnTo>
                  <a:lnTo>
                    <a:pt x="472" y="432"/>
                  </a:lnTo>
                  <a:lnTo>
                    <a:pt x="469" y="432"/>
                  </a:lnTo>
                  <a:lnTo>
                    <a:pt x="468" y="433"/>
                  </a:lnTo>
                  <a:lnTo>
                    <a:pt x="467" y="434"/>
                  </a:lnTo>
                  <a:lnTo>
                    <a:pt x="466" y="436"/>
                  </a:lnTo>
                  <a:lnTo>
                    <a:pt x="466" y="441"/>
                  </a:lnTo>
                  <a:lnTo>
                    <a:pt x="465" y="445"/>
                  </a:lnTo>
                  <a:lnTo>
                    <a:pt x="460" y="450"/>
                  </a:lnTo>
                  <a:lnTo>
                    <a:pt x="456" y="454"/>
                  </a:lnTo>
                  <a:lnTo>
                    <a:pt x="450" y="458"/>
                  </a:lnTo>
                  <a:lnTo>
                    <a:pt x="446" y="459"/>
                  </a:lnTo>
                  <a:lnTo>
                    <a:pt x="446" y="471"/>
                  </a:lnTo>
                  <a:lnTo>
                    <a:pt x="436" y="474"/>
                  </a:lnTo>
                  <a:lnTo>
                    <a:pt x="426" y="478"/>
                  </a:lnTo>
                  <a:lnTo>
                    <a:pt x="419" y="484"/>
                  </a:lnTo>
                  <a:lnTo>
                    <a:pt x="416" y="498"/>
                  </a:lnTo>
                  <a:lnTo>
                    <a:pt x="412" y="511"/>
                  </a:lnTo>
                  <a:lnTo>
                    <a:pt x="410" y="511"/>
                  </a:lnTo>
                  <a:lnTo>
                    <a:pt x="406" y="514"/>
                  </a:lnTo>
                  <a:lnTo>
                    <a:pt x="401" y="516"/>
                  </a:lnTo>
                  <a:lnTo>
                    <a:pt x="397" y="519"/>
                  </a:lnTo>
                  <a:lnTo>
                    <a:pt x="393" y="524"/>
                  </a:lnTo>
                  <a:lnTo>
                    <a:pt x="390" y="528"/>
                  </a:lnTo>
                  <a:lnTo>
                    <a:pt x="388" y="532"/>
                  </a:lnTo>
                  <a:lnTo>
                    <a:pt x="387" y="537"/>
                  </a:lnTo>
                  <a:lnTo>
                    <a:pt x="373" y="537"/>
                  </a:lnTo>
                  <a:lnTo>
                    <a:pt x="363" y="550"/>
                  </a:lnTo>
                  <a:lnTo>
                    <a:pt x="354" y="564"/>
                  </a:lnTo>
                  <a:lnTo>
                    <a:pt x="341" y="564"/>
                  </a:lnTo>
                  <a:lnTo>
                    <a:pt x="340" y="566"/>
                  </a:lnTo>
                  <a:lnTo>
                    <a:pt x="339" y="568"/>
                  </a:lnTo>
                  <a:lnTo>
                    <a:pt x="336" y="570"/>
                  </a:lnTo>
                  <a:lnTo>
                    <a:pt x="334" y="573"/>
                  </a:lnTo>
                  <a:lnTo>
                    <a:pt x="330" y="575"/>
                  </a:lnTo>
                  <a:lnTo>
                    <a:pt x="327" y="576"/>
                  </a:lnTo>
                  <a:lnTo>
                    <a:pt x="327" y="589"/>
                  </a:lnTo>
                  <a:lnTo>
                    <a:pt x="314" y="596"/>
                  </a:lnTo>
                  <a:lnTo>
                    <a:pt x="311" y="609"/>
                  </a:lnTo>
                  <a:lnTo>
                    <a:pt x="309" y="622"/>
                  </a:lnTo>
                  <a:lnTo>
                    <a:pt x="302" y="624"/>
                  </a:lnTo>
                  <a:lnTo>
                    <a:pt x="295" y="626"/>
                  </a:lnTo>
                  <a:lnTo>
                    <a:pt x="293" y="628"/>
                  </a:lnTo>
                  <a:lnTo>
                    <a:pt x="291" y="631"/>
                  </a:lnTo>
                  <a:lnTo>
                    <a:pt x="288" y="633"/>
                  </a:lnTo>
                  <a:lnTo>
                    <a:pt x="288" y="635"/>
                  </a:lnTo>
                  <a:lnTo>
                    <a:pt x="278" y="636"/>
                  </a:lnTo>
                  <a:lnTo>
                    <a:pt x="268" y="637"/>
                  </a:lnTo>
                  <a:lnTo>
                    <a:pt x="258" y="640"/>
                  </a:lnTo>
                  <a:lnTo>
                    <a:pt x="249" y="642"/>
                  </a:lnTo>
                  <a:lnTo>
                    <a:pt x="239" y="644"/>
                  </a:lnTo>
                  <a:lnTo>
                    <a:pt x="229" y="646"/>
                  </a:lnTo>
                  <a:lnTo>
                    <a:pt x="219" y="647"/>
                  </a:lnTo>
                  <a:lnTo>
                    <a:pt x="209" y="649"/>
                  </a:lnTo>
                  <a:lnTo>
                    <a:pt x="208" y="653"/>
                  </a:lnTo>
                  <a:lnTo>
                    <a:pt x="206" y="657"/>
                  </a:lnTo>
                  <a:lnTo>
                    <a:pt x="201" y="661"/>
                  </a:lnTo>
                  <a:lnTo>
                    <a:pt x="197" y="662"/>
                  </a:lnTo>
                  <a:lnTo>
                    <a:pt x="196" y="664"/>
                  </a:lnTo>
                  <a:lnTo>
                    <a:pt x="192" y="668"/>
                  </a:lnTo>
                  <a:lnTo>
                    <a:pt x="188" y="671"/>
                  </a:lnTo>
                  <a:lnTo>
                    <a:pt x="182" y="674"/>
                  </a:lnTo>
                  <a:lnTo>
                    <a:pt x="171" y="682"/>
                  </a:lnTo>
                  <a:lnTo>
                    <a:pt x="163" y="688"/>
                  </a:lnTo>
                  <a:lnTo>
                    <a:pt x="157" y="689"/>
                  </a:lnTo>
                  <a:lnTo>
                    <a:pt x="150" y="690"/>
                  </a:lnTo>
                  <a:lnTo>
                    <a:pt x="143" y="692"/>
                  </a:lnTo>
                  <a:lnTo>
                    <a:pt x="138" y="694"/>
                  </a:lnTo>
                  <a:lnTo>
                    <a:pt x="131" y="697"/>
                  </a:lnTo>
                  <a:lnTo>
                    <a:pt x="125" y="699"/>
                  </a:lnTo>
                  <a:lnTo>
                    <a:pt x="119" y="700"/>
                  </a:lnTo>
                  <a:lnTo>
                    <a:pt x="111" y="701"/>
                  </a:lnTo>
                  <a:lnTo>
                    <a:pt x="110" y="703"/>
                  </a:lnTo>
                  <a:lnTo>
                    <a:pt x="108" y="705"/>
                  </a:lnTo>
                  <a:lnTo>
                    <a:pt x="103" y="708"/>
                  </a:lnTo>
                  <a:lnTo>
                    <a:pt x="98" y="710"/>
                  </a:lnTo>
                  <a:lnTo>
                    <a:pt x="86" y="713"/>
                  </a:lnTo>
                  <a:lnTo>
                    <a:pt x="79" y="714"/>
                  </a:lnTo>
                  <a:lnTo>
                    <a:pt x="79" y="718"/>
                  </a:lnTo>
                  <a:lnTo>
                    <a:pt x="77" y="720"/>
                  </a:lnTo>
                  <a:lnTo>
                    <a:pt x="76" y="720"/>
                  </a:lnTo>
                  <a:lnTo>
                    <a:pt x="75" y="721"/>
                  </a:lnTo>
                  <a:lnTo>
                    <a:pt x="74" y="721"/>
                  </a:lnTo>
                  <a:lnTo>
                    <a:pt x="73" y="721"/>
                  </a:lnTo>
                  <a:lnTo>
                    <a:pt x="72" y="723"/>
                  </a:lnTo>
                  <a:lnTo>
                    <a:pt x="72" y="727"/>
                  </a:lnTo>
                  <a:lnTo>
                    <a:pt x="58" y="727"/>
                  </a:lnTo>
                  <a:lnTo>
                    <a:pt x="58" y="740"/>
                  </a:lnTo>
                  <a:lnTo>
                    <a:pt x="54" y="741"/>
                  </a:lnTo>
                  <a:lnTo>
                    <a:pt x="51" y="742"/>
                  </a:lnTo>
                  <a:lnTo>
                    <a:pt x="48" y="745"/>
                  </a:lnTo>
                  <a:lnTo>
                    <a:pt x="46" y="747"/>
                  </a:lnTo>
                  <a:lnTo>
                    <a:pt x="45" y="749"/>
                  </a:lnTo>
                  <a:lnTo>
                    <a:pt x="43" y="751"/>
                  </a:lnTo>
                  <a:lnTo>
                    <a:pt x="42" y="752"/>
                  </a:lnTo>
                  <a:lnTo>
                    <a:pt x="39" y="753"/>
                  </a:lnTo>
                  <a:lnTo>
                    <a:pt x="39" y="767"/>
                  </a:lnTo>
                  <a:lnTo>
                    <a:pt x="37" y="768"/>
                  </a:lnTo>
                  <a:lnTo>
                    <a:pt x="34" y="771"/>
                  </a:lnTo>
                  <a:lnTo>
                    <a:pt x="32" y="778"/>
                  </a:lnTo>
                  <a:lnTo>
                    <a:pt x="31" y="785"/>
                  </a:lnTo>
                  <a:lnTo>
                    <a:pt x="27" y="799"/>
                  </a:lnTo>
                  <a:lnTo>
                    <a:pt x="26" y="813"/>
                  </a:lnTo>
                  <a:lnTo>
                    <a:pt x="13" y="819"/>
                  </a:lnTo>
                  <a:lnTo>
                    <a:pt x="13" y="843"/>
                  </a:lnTo>
                  <a:lnTo>
                    <a:pt x="12" y="866"/>
                  </a:lnTo>
                  <a:lnTo>
                    <a:pt x="9" y="892"/>
                  </a:lnTo>
                  <a:lnTo>
                    <a:pt x="7" y="918"/>
                  </a:lnTo>
                  <a:lnTo>
                    <a:pt x="5" y="943"/>
                  </a:lnTo>
                  <a:lnTo>
                    <a:pt x="3" y="969"/>
                  </a:lnTo>
                  <a:lnTo>
                    <a:pt x="2" y="995"/>
                  </a:lnTo>
                  <a:lnTo>
                    <a:pt x="0" y="1020"/>
                  </a:lnTo>
                  <a:lnTo>
                    <a:pt x="2" y="1020"/>
                  </a:lnTo>
                  <a:lnTo>
                    <a:pt x="3" y="1020"/>
                  </a:lnTo>
                  <a:lnTo>
                    <a:pt x="2" y="1017"/>
                  </a:lnTo>
                  <a:lnTo>
                    <a:pt x="2" y="1016"/>
                  </a:lnTo>
                  <a:lnTo>
                    <a:pt x="3" y="1015"/>
                  </a:lnTo>
                  <a:lnTo>
                    <a:pt x="4" y="1015"/>
                  </a:lnTo>
                  <a:lnTo>
                    <a:pt x="5" y="1015"/>
                  </a:lnTo>
                  <a:lnTo>
                    <a:pt x="7" y="1013"/>
                  </a:lnTo>
                  <a:lnTo>
                    <a:pt x="8" y="1012"/>
                  </a:lnTo>
                  <a:lnTo>
                    <a:pt x="8" y="1009"/>
                  </a:lnTo>
                  <a:lnTo>
                    <a:pt x="27" y="1009"/>
                  </a:lnTo>
                  <a:lnTo>
                    <a:pt x="56" y="1010"/>
                  </a:lnTo>
                  <a:lnTo>
                    <a:pt x="72" y="1012"/>
                  </a:lnTo>
                  <a:lnTo>
                    <a:pt x="84" y="1013"/>
                  </a:lnTo>
                  <a:lnTo>
                    <a:pt x="90" y="1015"/>
                  </a:lnTo>
                  <a:lnTo>
                    <a:pt x="93" y="1017"/>
                  </a:lnTo>
                  <a:lnTo>
                    <a:pt x="95" y="1018"/>
                  </a:lnTo>
                  <a:lnTo>
                    <a:pt x="96" y="1020"/>
                  </a:lnTo>
                  <a:lnTo>
                    <a:pt x="113" y="1020"/>
                  </a:lnTo>
                  <a:lnTo>
                    <a:pt x="113" y="1025"/>
                  </a:lnTo>
                  <a:lnTo>
                    <a:pt x="113" y="1028"/>
                  </a:lnTo>
                  <a:lnTo>
                    <a:pt x="115" y="1030"/>
                  </a:lnTo>
                  <a:lnTo>
                    <a:pt x="119" y="1031"/>
                  </a:lnTo>
                  <a:lnTo>
                    <a:pt x="120" y="1039"/>
                  </a:lnTo>
                  <a:lnTo>
                    <a:pt x="124" y="1049"/>
                  </a:lnTo>
                  <a:lnTo>
                    <a:pt x="128" y="1055"/>
                  </a:lnTo>
                  <a:lnTo>
                    <a:pt x="130" y="1059"/>
                  </a:lnTo>
                  <a:lnTo>
                    <a:pt x="132" y="1063"/>
                  </a:lnTo>
                  <a:lnTo>
                    <a:pt x="134" y="1064"/>
                  </a:lnTo>
                  <a:lnTo>
                    <a:pt x="134" y="1075"/>
                  </a:lnTo>
                  <a:lnTo>
                    <a:pt x="140" y="1080"/>
                  </a:lnTo>
                  <a:lnTo>
                    <a:pt x="146" y="1086"/>
                  </a:lnTo>
                  <a:lnTo>
                    <a:pt x="157" y="1086"/>
                  </a:lnTo>
                  <a:lnTo>
                    <a:pt x="157" y="1089"/>
                  </a:lnTo>
                  <a:lnTo>
                    <a:pt x="159" y="1093"/>
                  </a:lnTo>
                  <a:lnTo>
                    <a:pt x="160" y="1095"/>
                  </a:lnTo>
                  <a:lnTo>
                    <a:pt x="162" y="1096"/>
                  </a:lnTo>
                  <a:lnTo>
                    <a:pt x="166" y="1099"/>
                  </a:lnTo>
                  <a:lnTo>
                    <a:pt x="168" y="1103"/>
                  </a:lnTo>
                  <a:lnTo>
                    <a:pt x="182" y="1104"/>
                  </a:lnTo>
                  <a:lnTo>
                    <a:pt x="198" y="1105"/>
                  </a:lnTo>
                  <a:lnTo>
                    <a:pt x="214" y="1107"/>
                  </a:lnTo>
                  <a:lnTo>
                    <a:pt x="228" y="1108"/>
                  </a:lnTo>
                  <a:lnTo>
                    <a:pt x="229" y="1111"/>
                  </a:lnTo>
                  <a:lnTo>
                    <a:pt x="231" y="1112"/>
                  </a:lnTo>
                  <a:lnTo>
                    <a:pt x="235" y="1114"/>
                  </a:lnTo>
                  <a:lnTo>
                    <a:pt x="239" y="1115"/>
                  </a:lnTo>
                  <a:lnTo>
                    <a:pt x="249" y="1118"/>
                  </a:lnTo>
                  <a:lnTo>
                    <a:pt x="256" y="1120"/>
                  </a:lnTo>
                  <a:lnTo>
                    <a:pt x="258" y="1121"/>
                  </a:lnTo>
                  <a:lnTo>
                    <a:pt x="265" y="1124"/>
                  </a:lnTo>
                  <a:lnTo>
                    <a:pt x="274" y="1128"/>
                  </a:lnTo>
                  <a:lnTo>
                    <a:pt x="283" y="1130"/>
                  </a:lnTo>
                  <a:lnTo>
                    <a:pt x="288" y="1141"/>
                  </a:lnTo>
                  <a:lnTo>
                    <a:pt x="292" y="1142"/>
                  </a:lnTo>
                  <a:lnTo>
                    <a:pt x="295" y="1143"/>
                  </a:lnTo>
                  <a:lnTo>
                    <a:pt x="300" y="1145"/>
                  </a:lnTo>
                  <a:lnTo>
                    <a:pt x="304" y="1149"/>
                  </a:lnTo>
                  <a:lnTo>
                    <a:pt x="313" y="1156"/>
                  </a:lnTo>
                  <a:lnTo>
                    <a:pt x="323" y="1165"/>
                  </a:lnTo>
                  <a:lnTo>
                    <a:pt x="340" y="1183"/>
                  </a:lnTo>
                  <a:lnTo>
                    <a:pt x="349" y="1191"/>
                  </a:lnTo>
                  <a:lnTo>
                    <a:pt x="377" y="1267"/>
                  </a:lnTo>
                  <a:lnTo>
                    <a:pt x="377" y="1276"/>
                  </a:lnTo>
                  <a:lnTo>
                    <a:pt x="377" y="1288"/>
                  </a:lnTo>
                  <a:lnTo>
                    <a:pt x="378" y="1295"/>
                  </a:lnTo>
                  <a:lnTo>
                    <a:pt x="379" y="1300"/>
                  </a:lnTo>
                  <a:lnTo>
                    <a:pt x="380" y="1305"/>
                  </a:lnTo>
                  <a:lnTo>
                    <a:pt x="382" y="1306"/>
                  </a:lnTo>
                  <a:lnTo>
                    <a:pt x="382" y="1323"/>
                  </a:lnTo>
                  <a:lnTo>
                    <a:pt x="388" y="1325"/>
                  </a:lnTo>
                  <a:lnTo>
                    <a:pt x="393" y="1328"/>
                  </a:lnTo>
                  <a:lnTo>
                    <a:pt x="393" y="1333"/>
                  </a:lnTo>
                  <a:lnTo>
                    <a:pt x="393" y="1338"/>
                  </a:lnTo>
                  <a:lnTo>
                    <a:pt x="394" y="1341"/>
                  </a:lnTo>
                  <a:lnTo>
                    <a:pt x="396" y="1343"/>
                  </a:lnTo>
                  <a:lnTo>
                    <a:pt x="397" y="1344"/>
                  </a:lnTo>
                  <a:lnTo>
                    <a:pt x="399" y="1344"/>
                  </a:lnTo>
                  <a:lnTo>
                    <a:pt x="399" y="1358"/>
                  </a:lnTo>
                  <a:lnTo>
                    <a:pt x="399" y="1372"/>
                  </a:lnTo>
                  <a:lnTo>
                    <a:pt x="409" y="1432"/>
                  </a:lnTo>
                  <a:lnTo>
                    <a:pt x="410" y="1438"/>
                  </a:lnTo>
                  <a:lnTo>
                    <a:pt x="412" y="1451"/>
                  </a:lnTo>
                  <a:lnTo>
                    <a:pt x="415" y="1459"/>
                  </a:lnTo>
                  <a:lnTo>
                    <a:pt x="417" y="1464"/>
                  </a:lnTo>
                  <a:lnTo>
                    <a:pt x="418" y="1469"/>
                  </a:lnTo>
                  <a:lnTo>
                    <a:pt x="420" y="1470"/>
                  </a:lnTo>
                  <a:lnTo>
                    <a:pt x="420" y="1480"/>
                  </a:lnTo>
                  <a:lnTo>
                    <a:pt x="419" y="1493"/>
                  </a:lnTo>
                  <a:lnTo>
                    <a:pt x="418" y="1509"/>
                  </a:lnTo>
                  <a:lnTo>
                    <a:pt x="416" y="1526"/>
                  </a:lnTo>
                  <a:lnTo>
                    <a:pt x="421" y="1530"/>
                  </a:lnTo>
                  <a:lnTo>
                    <a:pt x="424" y="1532"/>
                  </a:lnTo>
                  <a:lnTo>
                    <a:pt x="448" y="1534"/>
                  </a:lnTo>
                  <a:lnTo>
                    <a:pt x="473" y="1536"/>
                  </a:lnTo>
                  <a:lnTo>
                    <a:pt x="498" y="1538"/>
                  </a:lnTo>
                  <a:lnTo>
                    <a:pt x="522" y="1538"/>
                  </a:lnTo>
                  <a:lnTo>
                    <a:pt x="524" y="1537"/>
                  </a:lnTo>
                  <a:lnTo>
                    <a:pt x="531" y="1535"/>
                  </a:lnTo>
                  <a:lnTo>
                    <a:pt x="542" y="1534"/>
                  </a:lnTo>
                  <a:lnTo>
                    <a:pt x="556" y="1534"/>
                  </a:lnTo>
                  <a:lnTo>
                    <a:pt x="593" y="1534"/>
                  </a:lnTo>
                  <a:lnTo>
                    <a:pt x="637" y="1534"/>
                  </a:lnTo>
                  <a:lnTo>
                    <a:pt x="636" y="1534"/>
                  </a:lnTo>
                  <a:lnTo>
                    <a:pt x="629" y="1527"/>
                  </a:lnTo>
                  <a:lnTo>
                    <a:pt x="617" y="1520"/>
                  </a:lnTo>
                  <a:lnTo>
                    <a:pt x="617" y="1507"/>
                  </a:lnTo>
                  <a:lnTo>
                    <a:pt x="612" y="1507"/>
                  </a:lnTo>
                  <a:lnTo>
                    <a:pt x="610" y="1506"/>
                  </a:lnTo>
                  <a:lnTo>
                    <a:pt x="610" y="1505"/>
                  </a:lnTo>
                  <a:lnTo>
                    <a:pt x="610" y="1503"/>
                  </a:lnTo>
                  <a:lnTo>
                    <a:pt x="610" y="1502"/>
                  </a:lnTo>
                  <a:lnTo>
                    <a:pt x="609" y="1501"/>
                  </a:lnTo>
                  <a:lnTo>
                    <a:pt x="607" y="1501"/>
                  </a:lnTo>
                  <a:lnTo>
                    <a:pt x="603" y="1500"/>
                  </a:lnTo>
                  <a:lnTo>
                    <a:pt x="603" y="1488"/>
                  </a:lnTo>
                  <a:lnTo>
                    <a:pt x="599" y="1487"/>
                  </a:lnTo>
                  <a:lnTo>
                    <a:pt x="595" y="1484"/>
                  </a:lnTo>
                  <a:lnTo>
                    <a:pt x="591" y="1482"/>
                  </a:lnTo>
                  <a:lnTo>
                    <a:pt x="588" y="1478"/>
                  </a:lnTo>
                  <a:lnTo>
                    <a:pt x="580" y="1469"/>
                  </a:lnTo>
                  <a:lnTo>
                    <a:pt x="572" y="1458"/>
                  </a:lnTo>
                  <a:lnTo>
                    <a:pt x="565" y="1448"/>
                  </a:lnTo>
                  <a:lnTo>
                    <a:pt x="559" y="1438"/>
                  </a:lnTo>
                  <a:lnTo>
                    <a:pt x="554" y="1431"/>
                  </a:lnTo>
                  <a:lnTo>
                    <a:pt x="551" y="1429"/>
                  </a:lnTo>
                  <a:lnTo>
                    <a:pt x="551" y="1415"/>
                  </a:lnTo>
                  <a:lnTo>
                    <a:pt x="549" y="1415"/>
                  </a:lnTo>
                  <a:lnTo>
                    <a:pt x="546" y="1414"/>
                  </a:lnTo>
                  <a:lnTo>
                    <a:pt x="545" y="1413"/>
                  </a:lnTo>
                  <a:lnTo>
                    <a:pt x="545" y="1411"/>
                  </a:lnTo>
                  <a:lnTo>
                    <a:pt x="544" y="1407"/>
                  </a:lnTo>
                  <a:lnTo>
                    <a:pt x="544" y="1402"/>
                  </a:lnTo>
                  <a:lnTo>
                    <a:pt x="542" y="1402"/>
                  </a:lnTo>
                  <a:lnTo>
                    <a:pt x="540" y="1401"/>
                  </a:lnTo>
                  <a:lnTo>
                    <a:pt x="538" y="1399"/>
                  </a:lnTo>
                  <a:lnTo>
                    <a:pt x="537" y="1396"/>
                  </a:lnTo>
                  <a:lnTo>
                    <a:pt x="536" y="1390"/>
                  </a:lnTo>
                  <a:lnTo>
                    <a:pt x="536" y="1382"/>
                  </a:lnTo>
                  <a:lnTo>
                    <a:pt x="536" y="1366"/>
                  </a:lnTo>
                  <a:lnTo>
                    <a:pt x="537" y="1356"/>
                  </a:lnTo>
                  <a:lnTo>
                    <a:pt x="536" y="1352"/>
                  </a:lnTo>
                  <a:lnTo>
                    <a:pt x="534" y="1345"/>
                  </a:lnTo>
                  <a:lnTo>
                    <a:pt x="531" y="1339"/>
                  </a:lnTo>
                  <a:lnTo>
                    <a:pt x="527" y="1333"/>
                  </a:lnTo>
                  <a:lnTo>
                    <a:pt x="524" y="1326"/>
                  </a:lnTo>
                  <a:lnTo>
                    <a:pt x="521" y="1318"/>
                  </a:lnTo>
                  <a:lnTo>
                    <a:pt x="518" y="1311"/>
                  </a:lnTo>
                  <a:lnTo>
                    <a:pt x="517" y="1304"/>
                  </a:lnTo>
                  <a:lnTo>
                    <a:pt x="515" y="1303"/>
                  </a:lnTo>
                  <a:lnTo>
                    <a:pt x="512" y="1299"/>
                  </a:lnTo>
                  <a:lnTo>
                    <a:pt x="508" y="1294"/>
                  </a:lnTo>
                  <a:lnTo>
                    <a:pt x="505" y="1287"/>
                  </a:lnTo>
                  <a:lnTo>
                    <a:pt x="501" y="1274"/>
                  </a:lnTo>
                  <a:lnTo>
                    <a:pt x="498" y="1265"/>
                  </a:lnTo>
                  <a:lnTo>
                    <a:pt x="495" y="1263"/>
                  </a:lnTo>
                  <a:lnTo>
                    <a:pt x="492" y="1261"/>
                  </a:lnTo>
                  <a:lnTo>
                    <a:pt x="489" y="1257"/>
                  </a:lnTo>
                  <a:lnTo>
                    <a:pt x="487" y="1252"/>
                  </a:lnTo>
                  <a:lnTo>
                    <a:pt x="483" y="1239"/>
                  </a:lnTo>
                  <a:lnTo>
                    <a:pt x="480" y="1223"/>
                  </a:lnTo>
                  <a:lnTo>
                    <a:pt x="478" y="1190"/>
                  </a:lnTo>
                  <a:lnTo>
                    <a:pt x="478" y="1166"/>
                  </a:lnTo>
                  <a:lnTo>
                    <a:pt x="483" y="1165"/>
                  </a:lnTo>
                  <a:lnTo>
                    <a:pt x="484" y="1163"/>
                  </a:lnTo>
                  <a:lnTo>
                    <a:pt x="485" y="1160"/>
                  </a:lnTo>
                  <a:lnTo>
                    <a:pt x="485" y="1156"/>
                  </a:lnTo>
                  <a:lnTo>
                    <a:pt x="485" y="1153"/>
                  </a:lnTo>
                  <a:lnTo>
                    <a:pt x="486" y="1150"/>
                  </a:lnTo>
                  <a:lnTo>
                    <a:pt x="488" y="1147"/>
                  </a:lnTo>
                  <a:lnTo>
                    <a:pt x="492" y="1146"/>
                  </a:lnTo>
                  <a:lnTo>
                    <a:pt x="492" y="1127"/>
                  </a:lnTo>
                  <a:lnTo>
                    <a:pt x="498" y="1121"/>
                  </a:lnTo>
                  <a:lnTo>
                    <a:pt x="505" y="1114"/>
                  </a:lnTo>
                  <a:lnTo>
                    <a:pt x="525" y="1114"/>
                  </a:lnTo>
                  <a:lnTo>
                    <a:pt x="547" y="1114"/>
                  </a:lnTo>
                  <a:lnTo>
                    <a:pt x="569" y="1114"/>
                  </a:lnTo>
                  <a:lnTo>
                    <a:pt x="590" y="1114"/>
                  </a:lnTo>
                  <a:lnTo>
                    <a:pt x="591" y="1111"/>
                  </a:lnTo>
                  <a:lnTo>
                    <a:pt x="593" y="1108"/>
                  </a:lnTo>
                  <a:lnTo>
                    <a:pt x="597" y="1107"/>
                  </a:lnTo>
                  <a:lnTo>
                    <a:pt x="600" y="1107"/>
                  </a:lnTo>
                  <a:lnTo>
                    <a:pt x="603" y="1107"/>
                  </a:lnTo>
                  <a:lnTo>
                    <a:pt x="607" y="1106"/>
                  </a:lnTo>
                  <a:lnTo>
                    <a:pt x="609" y="1105"/>
                  </a:lnTo>
                  <a:lnTo>
                    <a:pt x="610" y="1101"/>
                  </a:lnTo>
                  <a:lnTo>
                    <a:pt x="642" y="1101"/>
                  </a:lnTo>
                  <a:lnTo>
                    <a:pt x="656" y="1094"/>
                  </a:lnTo>
                  <a:lnTo>
                    <a:pt x="677" y="1079"/>
                  </a:lnTo>
                  <a:lnTo>
                    <a:pt x="725" y="1045"/>
                  </a:lnTo>
                  <a:lnTo>
                    <a:pt x="774" y="1011"/>
                  </a:lnTo>
                  <a:lnTo>
                    <a:pt x="800" y="996"/>
                  </a:lnTo>
                  <a:lnTo>
                    <a:pt x="813" y="980"/>
                  </a:lnTo>
                  <a:lnTo>
                    <a:pt x="825" y="963"/>
                  </a:lnTo>
                  <a:lnTo>
                    <a:pt x="839" y="957"/>
                  </a:lnTo>
                  <a:lnTo>
                    <a:pt x="852" y="950"/>
                  </a:lnTo>
                  <a:lnTo>
                    <a:pt x="852" y="947"/>
                  </a:lnTo>
                  <a:lnTo>
                    <a:pt x="853" y="944"/>
                  </a:lnTo>
                  <a:lnTo>
                    <a:pt x="854" y="943"/>
                  </a:lnTo>
                  <a:lnTo>
                    <a:pt x="856" y="943"/>
                  </a:lnTo>
                  <a:lnTo>
                    <a:pt x="857" y="943"/>
                  </a:lnTo>
                  <a:lnTo>
                    <a:pt x="858" y="943"/>
                  </a:lnTo>
                  <a:lnTo>
                    <a:pt x="859" y="941"/>
                  </a:lnTo>
                  <a:lnTo>
                    <a:pt x="859" y="936"/>
                  </a:lnTo>
                  <a:lnTo>
                    <a:pt x="872" y="936"/>
                  </a:lnTo>
                  <a:lnTo>
                    <a:pt x="872" y="934"/>
                  </a:lnTo>
                  <a:lnTo>
                    <a:pt x="873" y="933"/>
                  </a:lnTo>
                  <a:lnTo>
                    <a:pt x="874" y="932"/>
                  </a:lnTo>
                  <a:lnTo>
                    <a:pt x="876" y="931"/>
                  </a:lnTo>
                  <a:lnTo>
                    <a:pt x="880" y="931"/>
                  </a:lnTo>
                  <a:lnTo>
                    <a:pt x="885" y="930"/>
                  </a:lnTo>
                  <a:lnTo>
                    <a:pt x="886" y="926"/>
                  </a:lnTo>
                  <a:lnTo>
                    <a:pt x="886" y="924"/>
                  </a:lnTo>
                  <a:lnTo>
                    <a:pt x="887" y="924"/>
                  </a:lnTo>
                  <a:lnTo>
                    <a:pt x="888" y="924"/>
                  </a:lnTo>
                  <a:lnTo>
                    <a:pt x="889" y="924"/>
                  </a:lnTo>
                  <a:lnTo>
                    <a:pt x="890" y="923"/>
                  </a:lnTo>
                  <a:lnTo>
                    <a:pt x="891" y="921"/>
                  </a:lnTo>
                  <a:lnTo>
                    <a:pt x="891" y="918"/>
                  </a:lnTo>
                  <a:lnTo>
                    <a:pt x="907" y="919"/>
                  </a:lnTo>
                  <a:lnTo>
                    <a:pt x="929" y="922"/>
                  </a:lnTo>
                  <a:lnTo>
                    <a:pt x="939" y="925"/>
                  </a:lnTo>
                  <a:lnTo>
                    <a:pt x="948" y="929"/>
                  </a:lnTo>
                  <a:lnTo>
                    <a:pt x="952" y="930"/>
                  </a:lnTo>
                  <a:lnTo>
                    <a:pt x="955" y="932"/>
                  </a:lnTo>
                  <a:lnTo>
                    <a:pt x="956" y="934"/>
                  </a:lnTo>
                  <a:lnTo>
                    <a:pt x="957" y="936"/>
                  </a:lnTo>
                  <a:lnTo>
                    <a:pt x="970" y="936"/>
                  </a:lnTo>
                  <a:lnTo>
                    <a:pt x="979" y="924"/>
                  </a:lnTo>
                  <a:lnTo>
                    <a:pt x="989" y="911"/>
                  </a:lnTo>
                  <a:lnTo>
                    <a:pt x="995" y="910"/>
                  </a:lnTo>
                  <a:lnTo>
                    <a:pt x="998" y="906"/>
                  </a:lnTo>
                  <a:lnTo>
                    <a:pt x="1002" y="902"/>
                  </a:lnTo>
                  <a:lnTo>
                    <a:pt x="1003" y="897"/>
                  </a:lnTo>
                  <a:lnTo>
                    <a:pt x="1016" y="897"/>
                  </a:lnTo>
                  <a:lnTo>
                    <a:pt x="1017" y="895"/>
                  </a:lnTo>
                  <a:lnTo>
                    <a:pt x="1020" y="894"/>
                  </a:lnTo>
                  <a:lnTo>
                    <a:pt x="1025" y="893"/>
                  </a:lnTo>
                  <a:lnTo>
                    <a:pt x="1031" y="892"/>
                  </a:lnTo>
                  <a:lnTo>
                    <a:pt x="1048" y="893"/>
                  </a:lnTo>
                  <a:lnTo>
                    <a:pt x="1065" y="894"/>
                  </a:lnTo>
                  <a:lnTo>
                    <a:pt x="1083" y="897"/>
                  </a:lnTo>
                  <a:lnTo>
                    <a:pt x="1099" y="901"/>
                  </a:lnTo>
                  <a:lnTo>
                    <a:pt x="1106" y="903"/>
                  </a:lnTo>
                  <a:lnTo>
                    <a:pt x="1110" y="906"/>
                  </a:lnTo>
                  <a:lnTo>
                    <a:pt x="1113" y="909"/>
                  </a:lnTo>
                  <a:lnTo>
                    <a:pt x="1114" y="911"/>
                  </a:lnTo>
                  <a:lnTo>
                    <a:pt x="1133" y="911"/>
                  </a:lnTo>
                  <a:lnTo>
                    <a:pt x="1137" y="914"/>
                  </a:lnTo>
                  <a:lnTo>
                    <a:pt x="1140" y="918"/>
                  </a:lnTo>
                  <a:lnTo>
                    <a:pt x="1144" y="921"/>
                  </a:lnTo>
                  <a:lnTo>
                    <a:pt x="1148" y="923"/>
                  </a:lnTo>
                  <a:lnTo>
                    <a:pt x="1158" y="928"/>
                  </a:lnTo>
                  <a:lnTo>
                    <a:pt x="1169" y="931"/>
                  </a:lnTo>
                  <a:lnTo>
                    <a:pt x="1181" y="934"/>
                  </a:lnTo>
                  <a:lnTo>
                    <a:pt x="1196" y="936"/>
                  </a:lnTo>
                  <a:lnTo>
                    <a:pt x="1211" y="938"/>
                  </a:lnTo>
                  <a:lnTo>
                    <a:pt x="1225" y="939"/>
                  </a:lnTo>
                  <a:lnTo>
                    <a:pt x="1255" y="939"/>
                  </a:lnTo>
                  <a:lnTo>
                    <a:pt x="1284" y="939"/>
                  </a:lnTo>
                  <a:lnTo>
                    <a:pt x="1310" y="938"/>
                  </a:lnTo>
                  <a:lnTo>
                    <a:pt x="1331" y="936"/>
                  </a:lnTo>
                  <a:lnTo>
                    <a:pt x="1331" y="934"/>
                  </a:lnTo>
                  <a:lnTo>
                    <a:pt x="1332" y="933"/>
                  </a:lnTo>
                  <a:lnTo>
                    <a:pt x="1333" y="932"/>
                  </a:lnTo>
                  <a:lnTo>
                    <a:pt x="1334" y="931"/>
                  </a:lnTo>
                  <a:lnTo>
                    <a:pt x="1339" y="931"/>
                  </a:lnTo>
                  <a:lnTo>
                    <a:pt x="1343" y="930"/>
                  </a:lnTo>
                  <a:lnTo>
                    <a:pt x="1344" y="929"/>
                  </a:lnTo>
                  <a:lnTo>
                    <a:pt x="1344" y="926"/>
                  </a:lnTo>
                  <a:lnTo>
                    <a:pt x="1346" y="925"/>
                  </a:lnTo>
                  <a:lnTo>
                    <a:pt x="1348" y="924"/>
                  </a:lnTo>
                  <a:lnTo>
                    <a:pt x="1352" y="924"/>
                  </a:lnTo>
                  <a:lnTo>
                    <a:pt x="1357" y="924"/>
                  </a:lnTo>
                  <a:lnTo>
                    <a:pt x="1363" y="918"/>
                  </a:lnTo>
                  <a:lnTo>
                    <a:pt x="1370" y="911"/>
                  </a:lnTo>
                  <a:lnTo>
                    <a:pt x="1370" y="891"/>
                  </a:lnTo>
                  <a:lnTo>
                    <a:pt x="1370" y="868"/>
                  </a:lnTo>
                  <a:lnTo>
                    <a:pt x="1370" y="845"/>
                  </a:lnTo>
                  <a:lnTo>
                    <a:pt x="1370" y="822"/>
                  </a:lnTo>
                  <a:lnTo>
                    <a:pt x="1370" y="797"/>
                  </a:lnTo>
                  <a:lnTo>
                    <a:pt x="1370" y="774"/>
                  </a:lnTo>
                  <a:lnTo>
                    <a:pt x="1370" y="750"/>
                  </a:lnTo>
                  <a:lnTo>
                    <a:pt x="1370" y="727"/>
                  </a:lnTo>
                  <a:lnTo>
                    <a:pt x="1372" y="726"/>
                  </a:lnTo>
                  <a:lnTo>
                    <a:pt x="1375" y="720"/>
                  </a:lnTo>
                  <a:lnTo>
                    <a:pt x="1377" y="712"/>
                  </a:lnTo>
                  <a:lnTo>
                    <a:pt x="1379" y="701"/>
                  </a:lnTo>
                  <a:lnTo>
                    <a:pt x="1382" y="673"/>
                  </a:lnTo>
                  <a:lnTo>
                    <a:pt x="1385" y="641"/>
                  </a:lnTo>
                  <a:lnTo>
                    <a:pt x="1387" y="607"/>
                  </a:lnTo>
                  <a:lnTo>
                    <a:pt x="1388" y="575"/>
                  </a:lnTo>
                  <a:lnTo>
                    <a:pt x="1389" y="548"/>
                  </a:lnTo>
                  <a:lnTo>
                    <a:pt x="1389" y="530"/>
                  </a:lnTo>
                  <a:lnTo>
                    <a:pt x="1392" y="529"/>
                  </a:lnTo>
                  <a:lnTo>
                    <a:pt x="1395" y="524"/>
                  </a:lnTo>
                  <a:lnTo>
                    <a:pt x="1397" y="516"/>
                  </a:lnTo>
                  <a:lnTo>
                    <a:pt x="1399" y="507"/>
                  </a:lnTo>
                  <a:lnTo>
                    <a:pt x="1401" y="489"/>
                  </a:lnTo>
                  <a:lnTo>
                    <a:pt x="1403" y="478"/>
                  </a:lnTo>
                  <a:lnTo>
                    <a:pt x="1416" y="466"/>
                  </a:lnTo>
                  <a:lnTo>
                    <a:pt x="1416" y="457"/>
                  </a:lnTo>
                  <a:lnTo>
                    <a:pt x="1416" y="445"/>
                  </a:lnTo>
                  <a:lnTo>
                    <a:pt x="1416" y="433"/>
                  </a:lnTo>
                  <a:lnTo>
                    <a:pt x="1416" y="425"/>
                  </a:lnTo>
                  <a:lnTo>
                    <a:pt x="1409" y="419"/>
                  </a:lnTo>
                  <a:lnTo>
                    <a:pt x="1403" y="413"/>
                  </a:lnTo>
                  <a:lnTo>
                    <a:pt x="1378" y="410"/>
                  </a:lnTo>
                  <a:lnTo>
                    <a:pt x="1328" y="401"/>
                  </a:lnTo>
                  <a:lnTo>
                    <a:pt x="1302" y="396"/>
                  </a:lnTo>
                  <a:lnTo>
                    <a:pt x="1280" y="391"/>
                  </a:lnTo>
                  <a:lnTo>
                    <a:pt x="1271" y="387"/>
                  </a:lnTo>
                  <a:lnTo>
                    <a:pt x="1264" y="385"/>
                  </a:lnTo>
                  <a:lnTo>
                    <a:pt x="1260" y="382"/>
                  </a:lnTo>
                  <a:lnTo>
                    <a:pt x="1259" y="380"/>
                  </a:lnTo>
                  <a:lnTo>
                    <a:pt x="1250" y="375"/>
                  </a:lnTo>
                  <a:lnTo>
                    <a:pt x="1242" y="370"/>
                  </a:lnTo>
                  <a:lnTo>
                    <a:pt x="1235" y="363"/>
                  </a:lnTo>
                  <a:lnTo>
                    <a:pt x="1229" y="356"/>
                  </a:lnTo>
                  <a:lnTo>
                    <a:pt x="1225" y="349"/>
                  </a:lnTo>
                  <a:lnTo>
                    <a:pt x="1221" y="343"/>
                  </a:lnTo>
                  <a:lnTo>
                    <a:pt x="1218" y="335"/>
                  </a:lnTo>
                  <a:lnTo>
                    <a:pt x="1216" y="326"/>
                  </a:lnTo>
                  <a:lnTo>
                    <a:pt x="1213" y="309"/>
                  </a:lnTo>
                  <a:lnTo>
                    <a:pt x="1213" y="290"/>
                  </a:lnTo>
                  <a:lnTo>
                    <a:pt x="1213" y="270"/>
                  </a:lnTo>
                  <a:lnTo>
                    <a:pt x="1213" y="249"/>
                  </a:lnTo>
                  <a:lnTo>
                    <a:pt x="1215" y="246"/>
                  </a:lnTo>
                  <a:lnTo>
                    <a:pt x="1216" y="239"/>
                  </a:lnTo>
                  <a:lnTo>
                    <a:pt x="1217" y="229"/>
                  </a:lnTo>
                  <a:lnTo>
                    <a:pt x="1218" y="218"/>
                  </a:lnTo>
                  <a:lnTo>
                    <a:pt x="1219" y="193"/>
                  </a:lnTo>
                  <a:lnTo>
                    <a:pt x="1219" y="176"/>
                  </a:lnTo>
                  <a:lnTo>
                    <a:pt x="1213" y="170"/>
                  </a:lnTo>
                  <a:lnTo>
                    <a:pt x="1205" y="170"/>
                  </a:lnTo>
                  <a:lnTo>
                    <a:pt x="1193" y="170"/>
                  </a:lnTo>
                  <a:lnTo>
                    <a:pt x="1181" y="170"/>
                  </a:lnTo>
                  <a:lnTo>
                    <a:pt x="1174" y="170"/>
                  </a:lnTo>
                  <a:lnTo>
                    <a:pt x="1173" y="166"/>
                  </a:lnTo>
                  <a:lnTo>
                    <a:pt x="1173" y="164"/>
                  </a:lnTo>
                  <a:lnTo>
                    <a:pt x="1171" y="164"/>
                  </a:lnTo>
                  <a:lnTo>
                    <a:pt x="1170" y="163"/>
                  </a:lnTo>
                  <a:lnTo>
                    <a:pt x="1169" y="163"/>
                  </a:lnTo>
                  <a:lnTo>
                    <a:pt x="1168" y="163"/>
                  </a:lnTo>
                  <a:lnTo>
                    <a:pt x="1167" y="161"/>
                  </a:lnTo>
                  <a:lnTo>
                    <a:pt x="1167" y="157"/>
                  </a:lnTo>
                  <a:lnTo>
                    <a:pt x="1150" y="154"/>
                  </a:lnTo>
                  <a:lnTo>
                    <a:pt x="1133" y="151"/>
                  </a:lnTo>
                  <a:lnTo>
                    <a:pt x="1129" y="145"/>
                  </a:lnTo>
                  <a:lnTo>
                    <a:pt x="1125" y="141"/>
                  </a:lnTo>
                  <a:lnTo>
                    <a:pt x="1122" y="135"/>
                  </a:lnTo>
                  <a:lnTo>
                    <a:pt x="1121" y="131"/>
                  </a:lnTo>
                  <a:lnTo>
                    <a:pt x="1099" y="130"/>
                  </a:lnTo>
                  <a:lnTo>
                    <a:pt x="1074" y="127"/>
                  </a:lnTo>
                  <a:lnTo>
                    <a:pt x="1048" y="125"/>
                  </a:lnTo>
                  <a:lnTo>
                    <a:pt x="1023" y="124"/>
                  </a:lnTo>
                  <a:lnTo>
                    <a:pt x="1015" y="116"/>
                  </a:lnTo>
                  <a:lnTo>
                    <a:pt x="1010" y="107"/>
                  </a:lnTo>
                  <a:lnTo>
                    <a:pt x="1004" y="97"/>
                  </a:lnTo>
                  <a:lnTo>
                    <a:pt x="998" y="86"/>
                  </a:lnTo>
                  <a:lnTo>
                    <a:pt x="995" y="75"/>
                  </a:lnTo>
                  <a:lnTo>
                    <a:pt x="992" y="64"/>
                  </a:lnTo>
                  <a:lnTo>
                    <a:pt x="991" y="51"/>
                  </a:lnTo>
                  <a:lnTo>
                    <a:pt x="989" y="39"/>
                  </a:lnTo>
                  <a:lnTo>
                    <a:pt x="987" y="39"/>
                  </a:lnTo>
                  <a:lnTo>
                    <a:pt x="986" y="38"/>
                  </a:lnTo>
                  <a:lnTo>
                    <a:pt x="985" y="37"/>
                  </a:lnTo>
                  <a:lnTo>
                    <a:pt x="984" y="35"/>
                  </a:lnTo>
                  <a:lnTo>
                    <a:pt x="983" y="30"/>
                  </a:lnTo>
                  <a:lnTo>
                    <a:pt x="983" y="26"/>
                  </a:lnTo>
                  <a:lnTo>
                    <a:pt x="981" y="26"/>
                  </a:lnTo>
                  <a:lnTo>
                    <a:pt x="979" y="24"/>
                  </a:lnTo>
                  <a:lnTo>
                    <a:pt x="978" y="21"/>
                  </a:lnTo>
                  <a:lnTo>
                    <a:pt x="977" y="18"/>
                  </a:lnTo>
                  <a:lnTo>
                    <a:pt x="977" y="12"/>
                  </a:lnTo>
                  <a:lnTo>
                    <a:pt x="976" y="6"/>
                  </a:lnTo>
                  <a:lnTo>
                    <a:pt x="970" y="0"/>
                  </a:lnTo>
                  <a:lnTo>
                    <a:pt x="957" y="0"/>
                  </a:lnTo>
                  <a:lnTo>
                    <a:pt x="954" y="9"/>
                  </a:lnTo>
                  <a:lnTo>
                    <a:pt x="950" y="19"/>
                  </a:lnTo>
                  <a:lnTo>
                    <a:pt x="948" y="20"/>
                  </a:lnTo>
                  <a:lnTo>
                    <a:pt x="946" y="22"/>
                  </a:lnTo>
                  <a:lnTo>
                    <a:pt x="944" y="26"/>
                  </a:lnTo>
                  <a:lnTo>
                    <a:pt x="941" y="30"/>
                  </a:lnTo>
                  <a:lnTo>
                    <a:pt x="938" y="39"/>
                  </a:lnTo>
                  <a:lnTo>
                    <a:pt x="937" y="46"/>
                  </a:lnTo>
                  <a:lnTo>
                    <a:pt x="933" y="50"/>
                  </a:lnTo>
                  <a:lnTo>
                    <a:pt x="928" y="56"/>
                  </a:lnTo>
                  <a:lnTo>
                    <a:pt x="927" y="59"/>
                  </a:lnTo>
                  <a:lnTo>
                    <a:pt x="926" y="63"/>
                  </a:lnTo>
                  <a:lnTo>
                    <a:pt x="925" y="67"/>
                  </a:lnTo>
                  <a:lnTo>
                    <a:pt x="925" y="72"/>
                  </a:lnTo>
                  <a:lnTo>
                    <a:pt x="918" y="85"/>
                  </a:lnTo>
                  <a:lnTo>
                    <a:pt x="915" y="86"/>
                  </a:lnTo>
                  <a:lnTo>
                    <a:pt x="912" y="87"/>
                  </a:lnTo>
                  <a:lnTo>
                    <a:pt x="910" y="91"/>
                  </a:lnTo>
                  <a:lnTo>
                    <a:pt x="908" y="94"/>
                  </a:lnTo>
                  <a:lnTo>
                    <a:pt x="904" y="104"/>
                  </a:lnTo>
                  <a:lnTo>
                    <a:pt x="899" y="116"/>
                  </a:lnTo>
                  <a:lnTo>
                    <a:pt x="893" y="141"/>
                  </a:lnTo>
                  <a:lnTo>
                    <a:pt x="891" y="157"/>
                  </a:lnTo>
                  <a:lnTo>
                    <a:pt x="889" y="157"/>
                  </a:lnTo>
                  <a:lnTo>
                    <a:pt x="887" y="159"/>
                  </a:lnTo>
                  <a:lnTo>
                    <a:pt x="886" y="161"/>
                  </a:lnTo>
                  <a:lnTo>
                    <a:pt x="883" y="163"/>
                  </a:lnTo>
                  <a:lnTo>
                    <a:pt x="881" y="170"/>
                  </a:lnTo>
                  <a:lnTo>
                    <a:pt x="880" y="178"/>
                  </a:lnTo>
                  <a:lnTo>
                    <a:pt x="879" y="193"/>
                  </a:lnTo>
                  <a:lnTo>
                    <a:pt x="878" y="203"/>
                  </a:lnTo>
                  <a:lnTo>
                    <a:pt x="874" y="203"/>
                  </a:lnTo>
                  <a:lnTo>
                    <a:pt x="872" y="204"/>
                  </a:lnTo>
                  <a:lnTo>
                    <a:pt x="872" y="205"/>
                  </a:lnTo>
                  <a:lnTo>
                    <a:pt x="872" y="207"/>
                  </a:lnTo>
                  <a:lnTo>
                    <a:pt x="871" y="208"/>
                  </a:lnTo>
                  <a:lnTo>
                    <a:pt x="871" y="209"/>
                  </a:lnTo>
                  <a:lnTo>
                    <a:pt x="869" y="209"/>
                  </a:lnTo>
                  <a:lnTo>
                    <a:pt x="866" y="210"/>
                  </a:lnTo>
                  <a:lnTo>
                    <a:pt x="859" y="222"/>
                  </a:lnTo>
                  <a:lnTo>
                    <a:pt x="851" y="223"/>
                  </a:lnTo>
                  <a:lnTo>
                    <a:pt x="844" y="226"/>
                  </a:lnTo>
                  <a:lnTo>
                    <a:pt x="837" y="229"/>
                  </a:lnTo>
                  <a:lnTo>
                    <a:pt x="829" y="232"/>
                  </a:lnTo>
                  <a:lnTo>
                    <a:pt x="822" y="236"/>
                  </a:lnTo>
                  <a:lnTo>
                    <a:pt x="814" y="239"/>
                  </a:lnTo>
                  <a:lnTo>
                    <a:pt x="808" y="241"/>
                  </a:lnTo>
                  <a:lnTo>
                    <a:pt x="800" y="242"/>
                  </a:lnTo>
                  <a:lnTo>
                    <a:pt x="761" y="281"/>
                  </a:lnTo>
                  <a:lnTo>
                    <a:pt x="757" y="298"/>
                  </a:lnTo>
                  <a:lnTo>
                    <a:pt x="754" y="314"/>
                  </a:lnTo>
                  <a:lnTo>
                    <a:pt x="747" y="327"/>
                  </a:lnTo>
                  <a:lnTo>
                    <a:pt x="734" y="327"/>
                  </a:lnTo>
                  <a:lnTo>
                    <a:pt x="733" y="328"/>
                  </a:lnTo>
                  <a:lnTo>
                    <a:pt x="730" y="328"/>
                  </a:lnTo>
                  <a:lnTo>
                    <a:pt x="726" y="328"/>
                  </a:lnTo>
                  <a:lnTo>
                    <a:pt x="719" y="327"/>
                  </a:lnTo>
                  <a:lnTo>
                    <a:pt x="705" y="324"/>
                  </a:lnTo>
                  <a:lnTo>
                    <a:pt x="687" y="320"/>
                  </a:lnTo>
                  <a:lnTo>
                    <a:pt x="651" y="311"/>
                  </a:lnTo>
                  <a:lnTo>
                    <a:pt x="629" y="308"/>
                  </a:lnTo>
                  <a:lnTo>
                    <a:pt x="619" y="314"/>
                  </a:lnTo>
                  <a:lnTo>
                    <a:pt x="603" y="320"/>
                  </a:lnTo>
                  <a:lnTo>
                    <a:pt x="603" y="334"/>
                  </a:lnTo>
                  <a:lnTo>
                    <a:pt x="590" y="334"/>
                  </a:lnTo>
                  <a:lnTo>
                    <a:pt x="583" y="341"/>
                  </a:lnTo>
                  <a:lnTo>
                    <a:pt x="564" y="34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8" name="Freeform 44"/>
            <p:cNvSpPr>
              <a:spLocks noChangeAspect="1"/>
            </p:cNvSpPr>
            <p:nvPr/>
          </p:nvSpPr>
          <p:spPr bwMode="gray">
            <a:xfrm rot="355651">
              <a:off x="5777393" y="2566988"/>
              <a:ext cx="324793" cy="175659"/>
            </a:xfrm>
            <a:custGeom>
              <a:avLst/>
              <a:gdLst/>
              <a:ahLst/>
              <a:cxnLst>
                <a:cxn ang="0">
                  <a:pos x="223" y="715"/>
                </a:cxn>
                <a:cxn ang="0">
                  <a:pos x="198" y="674"/>
                </a:cxn>
                <a:cxn ang="0">
                  <a:pos x="172" y="627"/>
                </a:cxn>
                <a:cxn ang="0">
                  <a:pos x="129" y="536"/>
                </a:cxn>
                <a:cxn ang="0">
                  <a:pos x="107" y="482"/>
                </a:cxn>
                <a:cxn ang="0">
                  <a:pos x="73" y="431"/>
                </a:cxn>
                <a:cxn ang="0">
                  <a:pos x="12" y="347"/>
                </a:cxn>
                <a:cxn ang="0">
                  <a:pos x="6" y="254"/>
                </a:cxn>
                <a:cxn ang="0">
                  <a:pos x="33" y="226"/>
                </a:cxn>
                <a:cxn ang="0">
                  <a:pos x="76" y="209"/>
                </a:cxn>
                <a:cxn ang="0">
                  <a:pos x="251" y="193"/>
                </a:cxn>
                <a:cxn ang="0">
                  <a:pos x="339" y="173"/>
                </a:cxn>
                <a:cxn ang="0">
                  <a:pos x="408" y="147"/>
                </a:cxn>
                <a:cxn ang="0">
                  <a:pos x="530" y="154"/>
                </a:cxn>
                <a:cxn ang="0">
                  <a:pos x="674" y="160"/>
                </a:cxn>
                <a:cxn ang="0">
                  <a:pos x="869" y="132"/>
                </a:cxn>
                <a:cxn ang="0">
                  <a:pos x="1123" y="94"/>
                </a:cxn>
                <a:cxn ang="0">
                  <a:pos x="1374" y="65"/>
                </a:cxn>
                <a:cxn ang="0">
                  <a:pos x="1530" y="39"/>
                </a:cxn>
                <a:cxn ang="0">
                  <a:pos x="1619" y="11"/>
                </a:cxn>
                <a:cxn ang="0">
                  <a:pos x="1789" y="14"/>
                </a:cxn>
                <a:cxn ang="0">
                  <a:pos x="1794" y="68"/>
                </a:cxn>
                <a:cxn ang="0">
                  <a:pos x="1774" y="120"/>
                </a:cxn>
                <a:cxn ang="0">
                  <a:pos x="1763" y="142"/>
                </a:cxn>
                <a:cxn ang="0">
                  <a:pos x="1705" y="305"/>
                </a:cxn>
                <a:cxn ang="0">
                  <a:pos x="1648" y="347"/>
                </a:cxn>
                <a:cxn ang="0">
                  <a:pos x="1611" y="378"/>
                </a:cxn>
                <a:cxn ang="0">
                  <a:pos x="1582" y="448"/>
                </a:cxn>
                <a:cxn ang="0">
                  <a:pos x="1619" y="532"/>
                </a:cxn>
                <a:cxn ang="0">
                  <a:pos x="1650" y="609"/>
                </a:cxn>
                <a:cxn ang="0">
                  <a:pos x="1646" y="681"/>
                </a:cxn>
                <a:cxn ang="0">
                  <a:pos x="1627" y="708"/>
                </a:cxn>
                <a:cxn ang="0">
                  <a:pos x="1618" y="745"/>
                </a:cxn>
                <a:cxn ang="0">
                  <a:pos x="1598" y="876"/>
                </a:cxn>
                <a:cxn ang="0">
                  <a:pos x="1550" y="891"/>
                </a:cxn>
                <a:cxn ang="0">
                  <a:pos x="1391" y="885"/>
                </a:cxn>
                <a:cxn ang="0">
                  <a:pos x="1312" y="916"/>
                </a:cxn>
                <a:cxn ang="0">
                  <a:pos x="1247" y="969"/>
                </a:cxn>
                <a:cxn ang="0">
                  <a:pos x="1220" y="1010"/>
                </a:cxn>
                <a:cxn ang="0">
                  <a:pos x="1166" y="1053"/>
                </a:cxn>
                <a:cxn ang="0">
                  <a:pos x="1141" y="1071"/>
                </a:cxn>
                <a:cxn ang="0">
                  <a:pos x="1110" y="1084"/>
                </a:cxn>
                <a:cxn ang="0">
                  <a:pos x="1091" y="1034"/>
                </a:cxn>
                <a:cxn ang="0">
                  <a:pos x="1115" y="938"/>
                </a:cxn>
                <a:cxn ang="0">
                  <a:pos x="963" y="890"/>
                </a:cxn>
                <a:cxn ang="0">
                  <a:pos x="917" y="840"/>
                </a:cxn>
                <a:cxn ang="0">
                  <a:pos x="917" y="723"/>
                </a:cxn>
                <a:cxn ang="0">
                  <a:pos x="872" y="669"/>
                </a:cxn>
                <a:cxn ang="0">
                  <a:pos x="828" y="650"/>
                </a:cxn>
                <a:cxn ang="0">
                  <a:pos x="709" y="612"/>
                </a:cxn>
                <a:cxn ang="0">
                  <a:pos x="684" y="542"/>
                </a:cxn>
                <a:cxn ang="0">
                  <a:pos x="675" y="511"/>
                </a:cxn>
                <a:cxn ang="0">
                  <a:pos x="637" y="544"/>
                </a:cxn>
                <a:cxn ang="0">
                  <a:pos x="614" y="591"/>
                </a:cxn>
                <a:cxn ang="0">
                  <a:pos x="586" y="664"/>
                </a:cxn>
                <a:cxn ang="0">
                  <a:pos x="571" y="710"/>
                </a:cxn>
                <a:cxn ang="0">
                  <a:pos x="536" y="734"/>
                </a:cxn>
                <a:cxn ang="0">
                  <a:pos x="446" y="832"/>
                </a:cxn>
                <a:cxn ang="0">
                  <a:pos x="328" y="813"/>
                </a:cxn>
              </a:cxnLst>
              <a:rect l="0" t="0" r="r" b="b"/>
              <a:pathLst>
                <a:path w="1797" h="1094">
                  <a:moveTo>
                    <a:pt x="263" y="846"/>
                  </a:moveTo>
                  <a:lnTo>
                    <a:pt x="263" y="825"/>
                  </a:lnTo>
                  <a:lnTo>
                    <a:pt x="263" y="805"/>
                  </a:lnTo>
                  <a:lnTo>
                    <a:pt x="263" y="786"/>
                  </a:lnTo>
                  <a:lnTo>
                    <a:pt x="263" y="766"/>
                  </a:lnTo>
                  <a:lnTo>
                    <a:pt x="250" y="754"/>
                  </a:lnTo>
                  <a:lnTo>
                    <a:pt x="250" y="741"/>
                  </a:lnTo>
                  <a:lnTo>
                    <a:pt x="236" y="727"/>
                  </a:lnTo>
                  <a:lnTo>
                    <a:pt x="223" y="715"/>
                  </a:lnTo>
                  <a:lnTo>
                    <a:pt x="223" y="707"/>
                  </a:lnTo>
                  <a:lnTo>
                    <a:pt x="221" y="702"/>
                  </a:lnTo>
                  <a:lnTo>
                    <a:pt x="217" y="697"/>
                  </a:lnTo>
                  <a:lnTo>
                    <a:pt x="213" y="693"/>
                  </a:lnTo>
                  <a:lnTo>
                    <a:pt x="210" y="688"/>
                  </a:lnTo>
                  <a:lnTo>
                    <a:pt x="206" y="684"/>
                  </a:lnTo>
                  <a:lnTo>
                    <a:pt x="204" y="679"/>
                  </a:lnTo>
                  <a:lnTo>
                    <a:pt x="204" y="675"/>
                  </a:lnTo>
                  <a:lnTo>
                    <a:pt x="198" y="674"/>
                  </a:lnTo>
                  <a:lnTo>
                    <a:pt x="194" y="671"/>
                  </a:lnTo>
                  <a:lnTo>
                    <a:pt x="188" y="667"/>
                  </a:lnTo>
                  <a:lnTo>
                    <a:pt x="184" y="662"/>
                  </a:lnTo>
                  <a:lnTo>
                    <a:pt x="184" y="649"/>
                  </a:lnTo>
                  <a:lnTo>
                    <a:pt x="179" y="644"/>
                  </a:lnTo>
                  <a:lnTo>
                    <a:pt x="175" y="638"/>
                  </a:lnTo>
                  <a:lnTo>
                    <a:pt x="173" y="635"/>
                  </a:lnTo>
                  <a:lnTo>
                    <a:pt x="172" y="631"/>
                  </a:lnTo>
                  <a:lnTo>
                    <a:pt x="172" y="627"/>
                  </a:lnTo>
                  <a:lnTo>
                    <a:pt x="171" y="622"/>
                  </a:lnTo>
                  <a:lnTo>
                    <a:pt x="164" y="622"/>
                  </a:lnTo>
                  <a:lnTo>
                    <a:pt x="159" y="621"/>
                  </a:lnTo>
                  <a:lnTo>
                    <a:pt x="158" y="617"/>
                  </a:lnTo>
                  <a:lnTo>
                    <a:pt x="158" y="610"/>
                  </a:lnTo>
                  <a:lnTo>
                    <a:pt x="145" y="603"/>
                  </a:lnTo>
                  <a:lnTo>
                    <a:pt x="141" y="583"/>
                  </a:lnTo>
                  <a:lnTo>
                    <a:pt x="134" y="552"/>
                  </a:lnTo>
                  <a:lnTo>
                    <a:pt x="129" y="536"/>
                  </a:lnTo>
                  <a:lnTo>
                    <a:pt x="125" y="524"/>
                  </a:lnTo>
                  <a:lnTo>
                    <a:pt x="121" y="515"/>
                  </a:lnTo>
                  <a:lnTo>
                    <a:pt x="118" y="511"/>
                  </a:lnTo>
                  <a:lnTo>
                    <a:pt x="118" y="506"/>
                  </a:lnTo>
                  <a:lnTo>
                    <a:pt x="116" y="502"/>
                  </a:lnTo>
                  <a:lnTo>
                    <a:pt x="115" y="496"/>
                  </a:lnTo>
                  <a:lnTo>
                    <a:pt x="111" y="492"/>
                  </a:lnTo>
                  <a:lnTo>
                    <a:pt x="109" y="486"/>
                  </a:lnTo>
                  <a:lnTo>
                    <a:pt x="107" y="482"/>
                  </a:lnTo>
                  <a:lnTo>
                    <a:pt x="106" y="477"/>
                  </a:lnTo>
                  <a:lnTo>
                    <a:pt x="106" y="472"/>
                  </a:lnTo>
                  <a:lnTo>
                    <a:pt x="102" y="471"/>
                  </a:lnTo>
                  <a:lnTo>
                    <a:pt x="98" y="466"/>
                  </a:lnTo>
                  <a:lnTo>
                    <a:pt x="92" y="460"/>
                  </a:lnTo>
                  <a:lnTo>
                    <a:pt x="87" y="454"/>
                  </a:lnTo>
                  <a:lnTo>
                    <a:pt x="81" y="446"/>
                  </a:lnTo>
                  <a:lnTo>
                    <a:pt x="77" y="439"/>
                  </a:lnTo>
                  <a:lnTo>
                    <a:pt x="73" y="431"/>
                  </a:lnTo>
                  <a:lnTo>
                    <a:pt x="72" y="426"/>
                  </a:lnTo>
                  <a:lnTo>
                    <a:pt x="59" y="419"/>
                  </a:lnTo>
                  <a:lnTo>
                    <a:pt x="53" y="407"/>
                  </a:lnTo>
                  <a:lnTo>
                    <a:pt x="47" y="394"/>
                  </a:lnTo>
                  <a:lnTo>
                    <a:pt x="33" y="387"/>
                  </a:lnTo>
                  <a:lnTo>
                    <a:pt x="26" y="370"/>
                  </a:lnTo>
                  <a:lnTo>
                    <a:pt x="20" y="354"/>
                  </a:lnTo>
                  <a:lnTo>
                    <a:pt x="15" y="351"/>
                  </a:lnTo>
                  <a:lnTo>
                    <a:pt x="12" y="347"/>
                  </a:lnTo>
                  <a:lnTo>
                    <a:pt x="9" y="342"/>
                  </a:lnTo>
                  <a:lnTo>
                    <a:pt x="6" y="337"/>
                  </a:lnTo>
                  <a:lnTo>
                    <a:pt x="2" y="324"/>
                  </a:lnTo>
                  <a:lnTo>
                    <a:pt x="1" y="310"/>
                  </a:lnTo>
                  <a:lnTo>
                    <a:pt x="0" y="280"/>
                  </a:lnTo>
                  <a:lnTo>
                    <a:pt x="1" y="255"/>
                  </a:lnTo>
                  <a:lnTo>
                    <a:pt x="4" y="255"/>
                  </a:lnTo>
                  <a:lnTo>
                    <a:pt x="6" y="255"/>
                  </a:lnTo>
                  <a:lnTo>
                    <a:pt x="6" y="254"/>
                  </a:lnTo>
                  <a:lnTo>
                    <a:pt x="8" y="253"/>
                  </a:lnTo>
                  <a:lnTo>
                    <a:pt x="8" y="251"/>
                  </a:lnTo>
                  <a:lnTo>
                    <a:pt x="8" y="250"/>
                  </a:lnTo>
                  <a:lnTo>
                    <a:pt x="10" y="250"/>
                  </a:lnTo>
                  <a:lnTo>
                    <a:pt x="13" y="250"/>
                  </a:lnTo>
                  <a:lnTo>
                    <a:pt x="13" y="236"/>
                  </a:lnTo>
                  <a:lnTo>
                    <a:pt x="26" y="236"/>
                  </a:lnTo>
                  <a:lnTo>
                    <a:pt x="33" y="229"/>
                  </a:lnTo>
                  <a:lnTo>
                    <a:pt x="33" y="226"/>
                  </a:lnTo>
                  <a:lnTo>
                    <a:pt x="34" y="224"/>
                  </a:lnTo>
                  <a:lnTo>
                    <a:pt x="35" y="223"/>
                  </a:lnTo>
                  <a:lnTo>
                    <a:pt x="37" y="223"/>
                  </a:lnTo>
                  <a:lnTo>
                    <a:pt x="38" y="223"/>
                  </a:lnTo>
                  <a:lnTo>
                    <a:pt x="39" y="222"/>
                  </a:lnTo>
                  <a:lnTo>
                    <a:pt x="40" y="221"/>
                  </a:lnTo>
                  <a:lnTo>
                    <a:pt x="40" y="216"/>
                  </a:lnTo>
                  <a:lnTo>
                    <a:pt x="53" y="209"/>
                  </a:lnTo>
                  <a:lnTo>
                    <a:pt x="76" y="209"/>
                  </a:lnTo>
                  <a:lnTo>
                    <a:pt x="98" y="208"/>
                  </a:lnTo>
                  <a:lnTo>
                    <a:pt x="121" y="206"/>
                  </a:lnTo>
                  <a:lnTo>
                    <a:pt x="146" y="203"/>
                  </a:lnTo>
                  <a:lnTo>
                    <a:pt x="169" y="200"/>
                  </a:lnTo>
                  <a:lnTo>
                    <a:pt x="194" y="198"/>
                  </a:lnTo>
                  <a:lnTo>
                    <a:pt x="219" y="197"/>
                  </a:lnTo>
                  <a:lnTo>
                    <a:pt x="243" y="197"/>
                  </a:lnTo>
                  <a:lnTo>
                    <a:pt x="246" y="195"/>
                  </a:lnTo>
                  <a:lnTo>
                    <a:pt x="251" y="193"/>
                  </a:lnTo>
                  <a:lnTo>
                    <a:pt x="256" y="191"/>
                  </a:lnTo>
                  <a:lnTo>
                    <a:pt x="263" y="190"/>
                  </a:lnTo>
                  <a:lnTo>
                    <a:pt x="277" y="187"/>
                  </a:lnTo>
                  <a:lnTo>
                    <a:pt x="289" y="184"/>
                  </a:lnTo>
                  <a:lnTo>
                    <a:pt x="321" y="184"/>
                  </a:lnTo>
                  <a:lnTo>
                    <a:pt x="325" y="179"/>
                  </a:lnTo>
                  <a:lnTo>
                    <a:pt x="329" y="176"/>
                  </a:lnTo>
                  <a:lnTo>
                    <a:pt x="333" y="174"/>
                  </a:lnTo>
                  <a:lnTo>
                    <a:pt x="339" y="173"/>
                  </a:lnTo>
                  <a:lnTo>
                    <a:pt x="350" y="170"/>
                  </a:lnTo>
                  <a:lnTo>
                    <a:pt x="361" y="170"/>
                  </a:lnTo>
                  <a:lnTo>
                    <a:pt x="370" y="167"/>
                  </a:lnTo>
                  <a:lnTo>
                    <a:pt x="380" y="164"/>
                  </a:lnTo>
                  <a:lnTo>
                    <a:pt x="387" y="150"/>
                  </a:lnTo>
                  <a:lnTo>
                    <a:pt x="397" y="150"/>
                  </a:lnTo>
                  <a:lnTo>
                    <a:pt x="407" y="150"/>
                  </a:lnTo>
                  <a:lnTo>
                    <a:pt x="407" y="148"/>
                  </a:lnTo>
                  <a:lnTo>
                    <a:pt x="408" y="147"/>
                  </a:lnTo>
                  <a:lnTo>
                    <a:pt x="409" y="145"/>
                  </a:lnTo>
                  <a:lnTo>
                    <a:pt x="413" y="144"/>
                  </a:lnTo>
                  <a:lnTo>
                    <a:pt x="418" y="141"/>
                  </a:lnTo>
                  <a:lnTo>
                    <a:pt x="426" y="140"/>
                  </a:lnTo>
                  <a:lnTo>
                    <a:pt x="446" y="139"/>
                  </a:lnTo>
                  <a:lnTo>
                    <a:pt x="470" y="141"/>
                  </a:lnTo>
                  <a:lnTo>
                    <a:pt x="493" y="146"/>
                  </a:lnTo>
                  <a:lnTo>
                    <a:pt x="514" y="150"/>
                  </a:lnTo>
                  <a:lnTo>
                    <a:pt x="530" y="154"/>
                  </a:lnTo>
                  <a:lnTo>
                    <a:pt x="538" y="157"/>
                  </a:lnTo>
                  <a:lnTo>
                    <a:pt x="556" y="158"/>
                  </a:lnTo>
                  <a:lnTo>
                    <a:pt x="577" y="160"/>
                  </a:lnTo>
                  <a:lnTo>
                    <a:pt x="600" y="161"/>
                  </a:lnTo>
                  <a:lnTo>
                    <a:pt x="626" y="164"/>
                  </a:lnTo>
                  <a:lnTo>
                    <a:pt x="638" y="164"/>
                  </a:lnTo>
                  <a:lnTo>
                    <a:pt x="651" y="162"/>
                  </a:lnTo>
                  <a:lnTo>
                    <a:pt x="662" y="161"/>
                  </a:lnTo>
                  <a:lnTo>
                    <a:pt x="674" y="160"/>
                  </a:lnTo>
                  <a:lnTo>
                    <a:pt x="684" y="158"/>
                  </a:lnTo>
                  <a:lnTo>
                    <a:pt x="693" y="155"/>
                  </a:lnTo>
                  <a:lnTo>
                    <a:pt x="702" y="150"/>
                  </a:lnTo>
                  <a:lnTo>
                    <a:pt x="709" y="145"/>
                  </a:lnTo>
                  <a:lnTo>
                    <a:pt x="741" y="145"/>
                  </a:lnTo>
                  <a:lnTo>
                    <a:pt x="754" y="131"/>
                  </a:lnTo>
                  <a:lnTo>
                    <a:pt x="793" y="131"/>
                  </a:lnTo>
                  <a:lnTo>
                    <a:pt x="831" y="131"/>
                  </a:lnTo>
                  <a:lnTo>
                    <a:pt x="869" y="132"/>
                  </a:lnTo>
                  <a:lnTo>
                    <a:pt x="906" y="131"/>
                  </a:lnTo>
                  <a:lnTo>
                    <a:pt x="943" y="129"/>
                  </a:lnTo>
                  <a:lnTo>
                    <a:pt x="979" y="126"/>
                  </a:lnTo>
                  <a:lnTo>
                    <a:pt x="997" y="123"/>
                  </a:lnTo>
                  <a:lnTo>
                    <a:pt x="1014" y="120"/>
                  </a:lnTo>
                  <a:lnTo>
                    <a:pt x="1032" y="116"/>
                  </a:lnTo>
                  <a:lnTo>
                    <a:pt x="1049" y="111"/>
                  </a:lnTo>
                  <a:lnTo>
                    <a:pt x="1085" y="102"/>
                  </a:lnTo>
                  <a:lnTo>
                    <a:pt x="1123" y="94"/>
                  </a:lnTo>
                  <a:lnTo>
                    <a:pt x="1162" y="88"/>
                  </a:lnTo>
                  <a:lnTo>
                    <a:pt x="1202" y="82"/>
                  </a:lnTo>
                  <a:lnTo>
                    <a:pt x="1242" y="78"/>
                  </a:lnTo>
                  <a:lnTo>
                    <a:pt x="1283" y="74"/>
                  </a:lnTo>
                  <a:lnTo>
                    <a:pt x="1324" y="73"/>
                  </a:lnTo>
                  <a:lnTo>
                    <a:pt x="1364" y="72"/>
                  </a:lnTo>
                  <a:lnTo>
                    <a:pt x="1365" y="70"/>
                  </a:lnTo>
                  <a:lnTo>
                    <a:pt x="1368" y="68"/>
                  </a:lnTo>
                  <a:lnTo>
                    <a:pt x="1374" y="65"/>
                  </a:lnTo>
                  <a:lnTo>
                    <a:pt x="1381" y="63"/>
                  </a:lnTo>
                  <a:lnTo>
                    <a:pt x="1397" y="60"/>
                  </a:lnTo>
                  <a:lnTo>
                    <a:pt x="1419" y="58"/>
                  </a:lnTo>
                  <a:lnTo>
                    <a:pt x="1458" y="54"/>
                  </a:lnTo>
                  <a:lnTo>
                    <a:pt x="1482" y="52"/>
                  </a:lnTo>
                  <a:lnTo>
                    <a:pt x="1488" y="50"/>
                  </a:lnTo>
                  <a:lnTo>
                    <a:pt x="1499" y="46"/>
                  </a:lnTo>
                  <a:lnTo>
                    <a:pt x="1513" y="43"/>
                  </a:lnTo>
                  <a:lnTo>
                    <a:pt x="1530" y="39"/>
                  </a:lnTo>
                  <a:lnTo>
                    <a:pt x="1548" y="34"/>
                  </a:lnTo>
                  <a:lnTo>
                    <a:pt x="1566" y="30"/>
                  </a:lnTo>
                  <a:lnTo>
                    <a:pt x="1582" y="24"/>
                  </a:lnTo>
                  <a:lnTo>
                    <a:pt x="1594" y="20"/>
                  </a:lnTo>
                  <a:lnTo>
                    <a:pt x="1613" y="20"/>
                  </a:lnTo>
                  <a:lnTo>
                    <a:pt x="1614" y="17"/>
                  </a:lnTo>
                  <a:lnTo>
                    <a:pt x="1615" y="15"/>
                  </a:lnTo>
                  <a:lnTo>
                    <a:pt x="1617" y="13"/>
                  </a:lnTo>
                  <a:lnTo>
                    <a:pt x="1619" y="11"/>
                  </a:lnTo>
                  <a:lnTo>
                    <a:pt x="1624" y="7"/>
                  </a:lnTo>
                  <a:lnTo>
                    <a:pt x="1626" y="6"/>
                  </a:lnTo>
                  <a:lnTo>
                    <a:pt x="1662" y="5"/>
                  </a:lnTo>
                  <a:lnTo>
                    <a:pt x="1699" y="3"/>
                  </a:lnTo>
                  <a:lnTo>
                    <a:pt x="1738" y="1"/>
                  </a:lnTo>
                  <a:lnTo>
                    <a:pt x="1777" y="0"/>
                  </a:lnTo>
                  <a:lnTo>
                    <a:pt x="1784" y="13"/>
                  </a:lnTo>
                  <a:lnTo>
                    <a:pt x="1787" y="13"/>
                  </a:lnTo>
                  <a:lnTo>
                    <a:pt x="1789" y="14"/>
                  </a:lnTo>
                  <a:lnTo>
                    <a:pt x="1790" y="15"/>
                  </a:lnTo>
                  <a:lnTo>
                    <a:pt x="1790" y="16"/>
                  </a:lnTo>
                  <a:lnTo>
                    <a:pt x="1790" y="17"/>
                  </a:lnTo>
                  <a:lnTo>
                    <a:pt x="1791" y="19"/>
                  </a:lnTo>
                  <a:lnTo>
                    <a:pt x="1793" y="20"/>
                  </a:lnTo>
                  <a:lnTo>
                    <a:pt x="1797" y="20"/>
                  </a:lnTo>
                  <a:lnTo>
                    <a:pt x="1796" y="35"/>
                  </a:lnTo>
                  <a:lnTo>
                    <a:pt x="1795" y="58"/>
                  </a:lnTo>
                  <a:lnTo>
                    <a:pt x="1794" y="68"/>
                  </a:lnTo>
                  <a:lnTo>
                    <a:pt x="1791" y="77"/>
                  </a:lnTo>
                  <a:lnTo>
                    <a:pt x="1789" y="80"/>
                  </a:lnTo>
                  <a:lnTo>
                    <a:pt x="1788" y="83"/>
                  </a:lnTo>
                  <a:lnTo>
                    <a:pt x="1786" y="84"/>
                  </a:lnTo>
                  <a:lnTo>
                    <a:pt x="1784" y="85"/>
                  </a:lnTo>
                  <a:lnTo>
                    <a:pt x="1780" y="101"/>
                  </a:lnTo>
                  <a:lnTo>
                    <a:pt x="1777" y="118"/>
                  </a:lnTo>
                  <a:lnTo>
                    <a:pt x="1775" y="119"/>
                  </a:lnTo>
                  <a:lnTo>
                    <a:pt x="1774" y="120"/>
                  </a:lnTo>
                  <a:lnTo>
                    <a:pt x="1772" y="122"/>
                  </a:lnTo>
                  <a:lnTo>
                    <a:pt x="1771" y="126"/>
                  </a:lnTo>
                  <a:lnTo>
                    <a:pt x="1770" y="132"/>
                  </a:lnTo>
                  <a:lnTo>
                    <a:pt x="1770" y="138"/>
                  </a:lnTo>
                  <a:lnTo>
                    <a:pt x="1767" y="138"/>
                  </a:lnTo>
                  <a:lnTo>
                    <a:pt x="1765" y="139"/>
                  </a:lnTo>
                  <a:lnTo>
                    <a:pt x="1763" y="140"/>
                  </a:lnTo>
                  <a:lnTo>
                    <a:pt x="1763" y="141"/>
                  </a:lnTo>
                  <a:lnTo>
                    <a:pt x="1763" y="142"/>
                  </a:lnTo>
                  <a:lnTo>
                    <a:pt x="1763" y="144"/>
                  </a:lnTo>
                  <a:lnTo>
                    <a:pt x="1761" y="144"/>
                  </a:lnTo>
                  <a:lnTo>
                    <a:pt x="1757" y="145"/>
                  </a:lnTo>
                  <a:lnTo>
                    <a:pt x="1757" y="269"/>
                  </a:lnTo>
                  <a:lnTo>
                    <a:pt x="1751" y="275"/>
                  </a:lnTo>
                  <a:lnTo>
                    <a:pt x="1746" y="277"/>
                  </a:lnTo>
                  <a:lnTo>
                    <a:pt x="1734" y="284"/>
                  </a:lnTo>
                  <a:lnTo>
                    <a:pt x="1721" y="294"/>
                  </a:lnTo>
                  <a:lnTo>
                    <a:pt x="1705" y="305"/>
                  </a:lnTo>
                  <a:lnTo>
                    <a:pt x="1691" y="318"/>
                  </a:lnTo>
                  <a:lnTo>
                    <a:pt x="1678" y="328"/>
                  </a:lnTo>
                  <a:lnTo>
                    <a:pt x="1669" y="337"/>
                  </a:lnTo>
                  <a:lnTo>
                    <a:pt x="1665" y="341"/>
                  </a:lnTo>
                  <a:lnTo>
                    <a:pt x="1661" y="341"/>
                  </a:lnTo>
                  <a:lnTo>
                    <a:pt x="1656" y="342"/>
                  </a:lnTo>
                  <a:lnTo>
                    <a:pt x="1653" y="343"/>
                  </a:lnTo>
                  <a:lnTo>
                    <a:pt x="1651" y="344"/>
                  </a:lnTo>
                  <a:lnTo>
                    <a:pt x="1648" y="347"/>
                  </a:lnTo>
                  <a:lnTo>
                    <a:pt x="1647" y="349"/>
                  </a:lnTo>
                  <a:lnTo>
                    <a:pt x="1646" y="351"/>
                  </a:lnTo>
                  <a:lnTo>
                    <a:pt x="1646" y="354"/>
                  </a:lnTo>
                  <a:lnTo>
                    <a:pt x="1636" y="357"/>
                  </a:lnTo>
                  <a:lnTo>
                    <a:pt x="1626" y="360"/>
                  </a:lnTo>
                  <a:lnTo>
                    <a:pt x="1619" y="373"/>
                  </a:lnTo>
                  <a:lnTo>
                    <a:pt x="1617" y="375"/>
                  </a:lnTo>
                  <a:lnTo>
                    <a:pt x="1614" y="376"/>
                  </a:lnTo>
                  <a:lnTo>
                    <a:pt x="1611" y="378"/>
                  </a:lnTo>
                  <a:lnTo>
                    <a:pt x="1607" y="381"/>
                  </a:lnTo>
                  <a:lnTo>
                    <a:pt x="1605" y="385"/>
                  </a:lnTo>
                  <a:lnTo>
                    <a:pt x="1602" y="388"/>
                  </a:lnTo>
                  <a:lnTo>
                    <a:pt x="1600" y="390"/>
                  </a:lnTo>
                  <a:lnTo>
                    <a:pt x="1599" y="394"/>
                  </a:lnTo>
                  <a:lnTo>
                    <a:pt x="1587" y="400"/>
                  </a:lnTo>
                  <a:lnTo>
                    <a:pt x="1586" y="412"/>
                  </a:lnTo>
                  <a:lnTo>
                    <a:pt x="1584" y="430"/>
                  </a:lnTo>
                  <a:lnTo>
                    <a:pt x="1582" y="448"/>
                  </a:lnTo>
                  <a:lnTo>
                    <a:pt x="1580" y="465"/>
                  </a:lnTo>
                  <a:lnTo>
                    <a:pt x="1580" y="469"/>
                  </a:lnTo>
                  <a:lnTo>
                    <a:pt x="1583" y="474"/>
                  </a:lnTo>
                  <a:lnTo>
                    <a:pt x="1585" y="478"/>
                  </a:lnTo>
                  <a:lnTo>
                    <a:pt x="1587" y="484"/>
                  </a:lnTo>
                  <a:lnTo>
                    <a:pt x="1595" y="496"/>
                  </a:lnTo>
                  <a:lnTo>
                    <a:pt x="1603" y="508"/>
                  </a:lnTo>
                  <a:lnTo>
                    <a:pt x="1612" y="520"/>
                  </a:lnTo>
                  <a:lnTo>
                    <a:pt x="1619" y="532"/>
                  </a:lnTo>
                  <a:lnTo>
                    <a:pt x="1622" y="537"/>
                  </a:lnTo>
                  <a:lnTo>
                    <a:pt x="1624" y="542"/>
                  </a:lnTo>
                  <a:lnTo>
                    <a:pt x="1626" y="546"/>
                  </a:lnTo>
                  <a:lnTo>
                    <a:pt x="1626" y="551"/>
                  </a:lnTo>
                  <a:lnTo>
                    <a:pt x="1636" y="561"/>
                  </a:lnTo>
                  <a:lnTo>
                    <a:pt x="1646" y="570"/>
                  </a:lnTo>
                  <a:lnTo>
                    <a:pt x="1646" y="583"/>
                  </a:lnTo>
                  <a:lnTo>
                    <a:pt x="1647" y="596"/>
                  </a:lnTo>
                  <a:lnTo>
                    <a:pt x="1650" y="609"/>
                  </a:lnTo>
                  <a:lnTo>
                    <a:pt x="1652" y="622"/>
                  </a:lnTo>
                  <a:lnTo>
                    <a:pt x="1655" y="636"/>
                  </a:lnTo>
                  <a:lnTo>
                    <a:pt x="1656" y="649"/>
                  </a:lnTo>
                  <a:lnTo>
                    <a:pt x="1659" y="662"/>
                  </a:lnTo>
                  <a:lnTo>
                    <a:pt x="1659" y="675"/>
                  </a:lnTo>
                  <a:lnTo>
                    <a:pt x="1654" y="676"/>
                  </a:lnTo>
                  <a:lnTo>
                    <a:pt x="1651" y="677"/>
                  </a:lnTo>
                  <a:lnTo>
                    <a:pt x="1648" y="679"/>
                  </a:lnTo>
                  <a:lnTo>
                    <a:pt x="1646" y="681"/>
                  </a:lnTo>
                  <a:lnTo>
                    <a:pt x="1645" y="684"/>
                  </a:lnTo>
                  <a:lnTo>
                    <a:pt x="1643" y="686"/>
                  </a:lnTo>
                  <a:lnTo>
                    <a:pt x="1642" y="688"/>
                  </a:lnTo>
                  <a:lnTo>
                    <a:pt x="1640" y="688"/>
                  </a:lnTo>
                  <a:lnTo>
                    <a:pt x="1640" y="702"/>
                  </a:lnTo>
                  <a:lnTo>
                    <a:pt x="1635" y="702"/>
                  </a:lnTo>
                  <a:lnTo>
                    <a:pt x="1632" y="704"/>
                  </a:lnTo>
                  <a:lnTo>
                    <a:pt x="1630" y="706"/>
                  </a:lnTo>
                  <a:lnTo>
                    <a:pt x="1627" y="708"/>
                  </a:lnTo>
                  <a:lnTo>
                    <a:pt x="1625" y="710"/>
                  </a:lnTo>
                  <a:lnTo>
                    <a:pt x="1624" y="713"/>
                  </a:lnTo>
                  <a:lnTo>
                    <a:pt x="1622" y="714"/>
                  </a:lnTo>
                  <a:lnTo>
                    <a:pt x="1619" y="715"/>
                  </a:lnTo>
                  <a:lnTo>
                    <a:pt x="1619" y="727"/>
                  </a:lnTo>
                  <a:lnTo>
                    <a:pt x="1618" y="728"/>
                  </a:lnTo>
                  <a:lnTo>
                    <a:pt x="1618" y="733"/>
                  </a:lnTo>
                  <a:lnTo>
                    <a:pt x="1617" y="738"/>
                  </a:lnTo>
                  <a:lnTo>
                    <a:pt x="1618" y="745"/>
                  </a:lnTo>
                  <a:lnTo>
                    <a:pt x="1618" y="764"/>
                  </a:lnTo>
                  <a:lnTo>
                    <a:pt x="1621" y="785"/>
                  </a:lnTo>
                  <a:lnTo>
                    <a:pt x="1624" y="830"/>
                  </a:lnTo>
                  <a:lnTo>
                    <a:pt x="1626" y="859"/>
                  </a:lnTo>
                  <a:lnTo>
                    <a:pt x="1619" y="866"/>
                  </a:lnTo>
                  <a:lnTo>
                    <a:pt x="1613" y="871"/>
                  </a:lnTo>
                  <a:lnTo>
                    <a:pt x="1599" y="871"/>
                  </a:lnTo>
                  <a:lnTo>
                    <a:pt x="1599" y="873"/>
                  </a:lnTo>
                  <a:lnTo>
                    <a:pt x="1598" y="876"/>
                  </a:lnTo>
                  <a:lnTo>
                    <a:pt x="1597" y="877"/>
                  </a:lnTo>
                  <a:lnTo>
                    <a:pt x="1596" y="878"/>
                  </a:lnTo>
                  <a:lnTo>
                    <a:pt x="1592" y="878"/>
                  </a:lnTo>
                  <a:lnTo>
                    <a:pt x="1587" y="878"/>
                  </a:lnTo>
                  <a:lnTo>
                    <a:pt x="1586" y="881"/>
                  </a:lnTo>
                  <a:lnTo>
                    <a:pt x="1582" y="885"/>
                  </a:lnTo>
                  <a:lnTo>
                    <a:pt x="1576" y="887"/>
                  </a:lnTo>
                  <a:lnTo>
                    <a:pt x="1569" y="889"/>
                  </a:lnTo>
                  <a:lnTo>
                    <a:pt x="1550" y="891"/>
                  </a:lnTo>
                  <a:lnTo>
                    <a:pt x="1529" y="892"/>
                  </a:lnTo>
                  <a:lnTo>
                    <a:pt x="1484" y="892"/>
                  </a:lnTo>
                  <a:lnTo>
                    <a:pt x="1455" y="891"/>
                  </a:lnTo>
                  <a:lnTo>
                    <a:pt x="1453" y="889"/>
                  </a:lnTo>
                  <a:lnTo>
                    <a:pt x="1446" y="888"/>
                  </a:lnTo>
                  <a:lnTo>
                    <a:pt x="1436" y="887"/>
                  </a:lnTo>
                  <a:lnTo>
                    <a:pt x="1425" y="886"/>
                  </a:lnTo>
                  <a:lnTo>
                    <a:pt x="1403" y="885"/>
                  </a:lnTo>
                  <a:lnTo>
                    <a:pt x="1391" y="885"/>
                  </a:lnTo>
                  <a:lnTo>
                    <a:pt x="1390" y="887"/>
                  </a:lnTo>
                  <a:lnTo>
                    <a:pt x="1386" y="889"/>
                  </a:lnTo>
                  <a:lnTo>
                    <a:pt x="1382" y="890"/>
                  </a:lnTo>
                  <a:lnTo>
                    <a:pt x="1376" y="890"/>
                  </a:lnTo>
                  <a:lnTo>
                    <a:pt x="1365" y="891"/>
                  </a:lnTo>
                  <a:lnTo>
                    <a:pt x="1357" y="891"/>
                  </a:lnTo>
                  <a:lnTo>
                    <a:pt x="1345" y="899"/>
                  </a:lnTo>
                  <a:lnTo>
                    <a:pt x="1324" y="910"/>
                  </a:lnTo>
                  <a:lnTo>
                    <a:pt x="1312" y="916"/>
                  </a:lnTo>
                  <a:lnTo>
                    <a:pt x="1301" y="920"/>
                  </a:lnTo>
                  <a:lnTo>
                    <a:pt x="1292" y="923"/>
                  </a:lnTo>
                  <a:lnTo>
                    <a:pt x="1286" y="924"/>
                  </a:lnTo>
                  <a:lnTo>
                    <a:pt x="1279" y="937"/>
                  </a:lnTo>
                  <a:lnTo>
                    <a:pt x="1266" y="937"/>
                  </a:lnTo>
                  <a:lnTo>
                    <a:pt x="1259" y="944"/>
                  </a:lnTo>
                  <a:lnTo>
                    <a:pt x="1252" y="950"/>
                  </a:lnTo>
                  <a:lnTo>
                    <a:pt x="1252" y="964"/>
                  </a:lnTo>
                  <a:lnTo>
                    <a:pt x="1247" y="969"/>
                  </a:lnTo>
                  <a:lnTo>
                    <a:pt x="1240" y="976"/>
                  </a:lnTo>
                  <a:lnTo>
                    <a:pt x="1235" y="984"/>
                  </a:lnTo>
                  <a:lnTo>
                    <a:pt x="1233" y="989"/>
                  </a:lnTo>
                  <a:lnTo>
                    <a:pt x="1230" y="991"/>
                  </a:lnTo>
                  <a:lnTo>
                    <a:pt x="1228" y="992"/>
                  </a:lnTo>
                  <a:lnTo>
                    <a:pt x="1225" y="994"/>
                  </a:lnTo>
                  <a:lnTo>
                    <a:pt x="1224" y="997"/>
                  </a:lnTo>
                  <a:lnTo>
                    <a:pt x="1221" y="1004"/>
                  </a:lnTo>
                  <a:lnTo>
                    <a:pt x="1220" y="1010"/>
                  </a:lnTo>
                  <a:lnTo>
                    <a:pt x="1206" y="1016"/>
                  </a:lnTo>
                  <a:lnTo>
                    <a:pt x="1203" y="1025"/>
                  </a:lnTo>
                  <a:lnTo>
                    <a:pt x="1200" y="1035"/>
                  </a:lnTo>
                  <a:lnTo>
                    <a:pt x="1195" y="1036"/>
                  </a:lnTo>
                  <a:lnTo>
                    <a:pt x="1190" y="1040"/>
                  </a:lnTo>
                  <a:lnTo>
                    <a:pt x="1185" y="1044"/>
                  </a:lnTo>
                  <a:lnTo>
                    <a:pt x="1181" y="1049"/>
                  </a:lnTo>
                  <a:lnTo>
                    <a:pt x="1167" y="1049"/>
                  </a:lnTo>
                  <a:lnTo>
                    <a:pt x="1166" y="1053"/>
                  </a:lnTo>
                  <a:lnTo>
                    <a:pt x="1165" y="1056"/>
                  </a:lnTo>
                  <a:lnTo>
                    <a:pt x="1163" y="1059"/>
                  </a:lnTo>
                  <a:lnTo>
                    <a:pt x="1161" y="1061"/>
                  </a:lnTo>
                  <a:lnTo>
                    <a:pt x="1158" y="1063"/>
                  </a:lnTo>
                  <a:lnTo>
                    <a:pt x="1156" y="1064"/>
                  </a:lnTo>
                  <a:lnTo>
                    <a:pt x="1155" y="1066"/>
                  </a:lnTo>
                  <a:lnTo>
                    <a:pt x="1154" y="1069"/>
                  </a:lnTo>
                  <a:lnTo>
                    <a:pt x="1141" y="1069"/>
                  </a:lnTo>
                  <a:lnTo>
                    <a:pt x="1141" y="1071"/>
                  </a:lnTo>
                  <a:lnTo>
                    <a:pt x="1138" y="1072"/>
                  </a:lnTo>
                  <a:lnTo>
                    <a:pt x="1136" y="1073"/>
                  </a:lnTo>
                  <a:lnTo>
                    <a:pt x="1134" y="1074"/>
                  </a:lnTo>
                  <a:lnTo>
                    <a:pt x="1127" y="1074"/>
                  </a:lnTo>
                  <a:lnTo>
                    <a:pt x="1122" y="1075"/>
                  </a:lnTo>
                  <a:lnTo>
                    <a:pt x="1120" y="1078"/>
                  </a:lnTo>
                  <a:lnTo>
                    <a:pt x="1118" y="1080"/>
                  </a:lnTo>
                  <a:lnTo>
                    <a:pt x="1115" y="1082"/>
                  </a:lnTo>
                  <a:lnTo>
                    <a:pt x="1110" y="1084"/>
                  </a:lnTo>
                  <a:lnTo>
                    <a:pt x="1102" y="1087"/>
                  </a:lnTo>
                  <a:lnTo>
                    <a:pt x="1095" y="1088"/>
                  </a:lnTo>
                  <a:lnTo>
                    <a:pt x="1091" y="1091"/>
                  </a:lnTo>
                  <a:lnTo>
                    <a:pt x="1087" y="1094"/>
                  </a:lnTo>
                  <a:lnTo>
                    <a:pt x="1087" y="1075"/>
                  </a:lnTo>
                  <a:lnTo>
                    <a:pt x="1088" y="1059"/>
                  </a:lnTo>
                  <a:lnTo>
                    <a:pt x="1088" y="1045"/>
                  </a:lnTo>
                  <a:lnTo>
                    <a:pt x="1088" y="1035"/>
                  </a:lnTo>
                  <a:lnTo>
                    <a:pt x="1091" y="1034"/>
                  </a:lnTo>
                  <a:lnTo>
                    <a:pt x="1094" y="1029"/>
                  </a:lnTo>
                  <a:lnTo>
                    <a:pt x="1096" y="1021"/>
                  </a:lnTo>
                  <a:lnTo>
                    <a:pt x="1098" y="1012"/>
                  </a:lnTo>
                  <a:lnTo>
                    <a:pt x="1100" y="994"/>
                  </a:lnTo>
                  <a:lnTo>
                    <a:pt x="1102" y="983"/>
                  </a:lnTo>
                  <a:lnTo>
                    <a:pt x="1115" y="971"/>
                  </a:lnTo>
                  <a:lnTo>
                    <a:pt x="1115" y="962"/>
                  </a:lnTo>
                  <a:lnTo>
                    <a:pt x="1115" y="950"/>
                  </a:lnTo>
                  <a:lnTo>
                    <a:pt x="1115" y="938"/>
                  </a:lnTo>
                  <a:lnTo>
                    <a:pt x="1115" y="930"/>
                  </a:lnTo>
                  <a:lnTo>
                    <a:pt x="1108" y="924"/>
                  </a:lnTo>
                  <a:lnTo>
                    <a:pt x="1102" y="918"/>
                  </a:lnTo>
                  <a:lnTo>
                    <a:pt x="1077" y="915"/>
                  </a:lnTo>
                  <a:lnTo>
                    <a:pt x="1027" y="906"/>
                  </a:lnTo>
                  <a:lnTo>
                    <a:pt x="1001" y="901"/>
                  </a:lnTo>
                  <a:lnTo>
                    <a:pt x="979" y="896"/>
                  </a:lnTo>
                  <a:lnTo>
                    <a:pt x="970" y="892"/>
                  </a:lnTo>
                  <a:lnTo>
                    <a:pt x="963" y="890"/>
                  </a:lnTo>
                  <a:lnTo>
                    <a:pt x="959" y="887"/>
                  </a:lnTo>
                  <a:lnTo>
                    <a:pt x="958" y="885"/>
                  </a:lnTo>
                  <a:lnTo>
                    <a:pt x="949" y="880"/>
                  </a:lnTo>
                  <a:lnTo>
                    <a:pt x="941" y="875"/>
                  </a:lnTo>
                  <a:lnTo>
                    <a:pt x="934" y="868"/>
                  </a:lnTo>
                  <a:lnTo>
                    <a:pt x="928" y="861"/>
                  </a:lnTo>
                  <a:lnTo>
                    <a:pt x="924" y="854"/>
                  </a:lnTo>
                  <a:lnTo>
                    <a:pt x="920" y="848"/>
                  </a:lnTo>
                  <a:lnTo>
                    <a:pt x="917" y="840"/>
                  </a:lnTo>
                  <a:lnTo>
                    <a:pt x="915" y="831"/>
                  </a:lnTo>
                  <a:lnTo>
                    <a:pt x="912" y="814"/>
                  </a:lnTo>
                  <a:lnTo>
                    <a:pt x="912" y="795"/>
                  </a:lnTo>
                  <a:lnTo>
                    <a:pt x="912" y="775"/>
                  </a:lnTo>
                  <a:lnTo>
                    <a:pt x="912" y="754"/>
                  </a:lnTo>
                  <a:lnTo>
                    <a:pt x="914" y="751"/>
                  </a:lnTo>
                  <a:lnTo>
                    <a:pt x="915" y="744"/>
                  </a:lnTo>
                  <a:lnTo>
                    <a:pt x="916" y="734"/>
                  </a:lnTo>
                  <a:lnTo>
                    <a:pt x="917" y="723"/>
                  </a:lnTo>
                  <a:lnTo>
                    <a:pt x="918" y="698"/>
                  </a:lnTo>
                  <a:lnTo>
                    <a:pt x="918" y="681"/>
                  </a:lnTo>
                  <a:lnTo>
                    <a:pt x="912" y="675"/>
                  </a:lnTo>
                  <a:lnTo>
                    <a:pt x="904" y="675"/>
                  </a:lnTo>
                  <a:lnTo>
                    <a:pt x="892" y="675"/>
                  </a:lnTo>
                  <a:lnTo>
                    <a:pt x="880" y="675"/>
                  </a:lnTo>
                  <a:lnTo>
                    <a:pt x="873" y="675"/>
                  </a:lnTo>
                  <a:lnTo>
                    <a:pt x="872" y="671"/>
                  </a:lnTo>
                  <a:lnTo>
                    <a:pt x="872" y="669"/>
                  </a:lnTo>
                  <a:lnTo>
                    <a:pt x="870" y="669"/>
                  </a:lnTo>
                  <a:lnTo>
                    <a:pt x="869" y="668"/>
                  </a:lnTo>
                  <a:lnTo>
                    <a:pt x="868" y="668"/>
                  </a:lnTo>
                  <a:lnTo>
                    <a:pt x="867" y="668"/>
                  </a:lnTo>
                  <a:lnTo>
                    <a:pt x="866" y="666"/>
                  </a:lnTo>
                  <a:lnTo>
                    <a:pt x="866" y="662"/>
                  </a:lnTo>
                  <a:lnTo>
                    <a:pt x="849" y="659"/>
                  </a:lnTo>
                  <a:lnTo>
                    <a:pt x="832" y="656"/>
                  </a:lnTo>
                  <a:lnTo>
                    <a:pt x="828" y="650"/>
                  </a:lnTo>
                  <a:lnTo>
                    <a:pt x="824" y="646"/>
                  </a:lnTo>
                  <a:lnTo>
                    <a:pt x="821" y="640"/>
                  </a:lnTo>
                  <a:lnTo>
                    <a:pt x="820" y="636"/>
                  </a:lnTo>
                  <a:lnTo>
                    <a:pt x="798" y="635"/>
                  </a:lnTo>
                  <a:lnTo>
                    <a:pt x="773" y="632"/>
                  </a:lnTo>
                  <a:lnTo>
                    <a:pt x="747" y="630"/>
                  </a:lnTo>
                  <a:lnTo>
                    <a:pt x="722" y="629"/>
                  </a:lnTo>
                  <a:lnTo>
                    <a:pt x="714" y="621"/>
                  </a:lnTo>
                  <a:lnTo>
                    <a:pt x="709" y="612"/>
                  </a:lnTo>
                  <a:lnTo>
                    <a:pt x="703" y="602"/>
                  </a:lnTo>
                  <a:lnTo>
                    <a:pt x="697" y="591"/>
                  </a:lnTo>
                  <a:lnTo>
                    <a:pt x="694" y="580"/>
                  </a:lnTo>
                  <a:lnTo>
                    <a:pt x="691" y="569"/>
                  </a:lnTo>
                  <a:lnTo>
                    <a:pt x="690" y="556"/>
                  </a:lnTo>
                  <a:lnTo>
                    <a:pt x="688" y="544"/>
                  </a:lnTo>
                  <a:lnTo>
                    <a:pt x="686" y="544"/>
                  </a:lnTo>
                  <a:lnTo>
                    <a:pt x="685" y="543"/>
                  </a:lnTo>
                  <a:lnTo>
                    <a:pt x="684" y="542"/>
                  </a:lnTo>
                  <a:lnTo>
                    <a:pt x="683" y="540"/>
                  </a:lnTo>
                  <a:lnTo>
                    <a:pt x="682" y="535"/>
                  </a:lnTo>
                  <a:lnTo>
                    <a:pt x="682" y="531"/>
                  </a:lnTo>
                  <a:lnTo>
                    <a:pt x="680" y="531"/>
                  </a:lnTo>
                  <a:lnTo>
                    <a:pt x="678" y="529"/>
                  </a:lnTo>
                  <a:lnTo>
                    <a:pt x="677" y="526"/>
                  </a:lnTo>
                  <a:lnTo>
                    <a:pt x="676" y="523"/>
                  </a:lnTo>
                  <a:lnTo>
                    <a:pt x="676" y="517"/>
                  </a:lnTo>
                  <a:lnTo>
                    <a:pt x="675" y="511"/>
                  </a:lnTo>
                  <a:lnTo>
                    <a:pt x="669" y="505"/>
                  </a:lnTo>
                  <a:lnTo>
                    <a:pt x="656" y="505"/>
                  </a:lnTo>
                  <a:lnTo>
                    <a:pt x="653" y="514"/>
                  </a:lnTo>
                  <a:lnTo>
                    <a:pt x="649" y="524"/>
                  </a:lnTo>
                  <a:lnTo>
                    <a:pt x="647" y="525"/>
                  </a:lnTo>
                  <a:lnTo>
                    <a:pt x="645" y="527"/>
                  </a:lnTo>
                  <a:lnTo>
                    <a:pt x="643" y="531"/>
                  </a:lnTo>
                  <a:lnTo>
                    <a:pt x="640" y="535"/>
                  </a:lnTo>
                  <a:lnTo>
                    <a:pt x="637" y="544"/>
                  </a:lnTo>
                  <a:lnTo>
                    <a:pt x="636" y="551"/>
                  </a:lnTo>
                  <a:lnTo>
                    <a:pt x="632" y="555"/>
                  </a:lnTo>
                  <a:lnTo>
                    <a:pt x="627" y="561"/>
                  </a:lnTo>
                  <a:lnTo>
                    <a:pt x="626" y="564"/>
                  </a:lnTo>
                  <a:lnTo>
                    <a:pt x="625" y="568"/>
                  </a:lnTo>
                  <a:lnTo>
                    <a:pt x="624" y="572"/>
                  </a:lnTo>
                  <a:lnTo>
                    <a:pt x="624" y="577"/>
                  </a:lnTo>
                  <a:lnTo>
                    <a:pt x="617" y="590"/>
                  </a:lnTo>
                  <a:lnTo>
                    <a:pt x="614" y="591"/>
                  </a:lnTo>
                  <a:lnTo>
                    <a:pt x="611" y="592"/>
                  </a:lnTo>
                  <a:lnTo>
                    <a:pt x="609" y="596"/>
                  </a:lnTo>
                  <a:lnTo>
                    <a:pt x="607" y="599"/>
                  </a:lnTo>
                  <a:lnTo>
                    <a:pt x="603" y="609"/>
                  </a:lnTo>
                  <a:lnTo>
                    <a:pt x="598" y="621"/>
                  </a:lnTo>
                  <a:lnTo>
                    <a:pt x="592" y="646"/>
                  </a:lnTo>
                  <a:lnTo>
                    <a:pt x="590" y="662"/>
                  </a:lnTo>
                  <a:lnTo>
                    <a:pt x="588" y="662"/>
                  </a:lnTo>
                  <a:lnTo>
                    <a:pt x="586" y="664"/>
                  </a:lnTo>
                  <a:lnTo>
                    <a:pt x="585" y="666"/>
                  </a:lnTo>
                  <a:lnTo>
                    <a:pt x="582" y="668"/>
                  </a:lnTo>
                  <a:lnTo>
                    <a:pt x="580" y="675"/>
                  </a:lnTo>
                  <a:lnTo>
                    <a:pt x="579" y="683"/>
                  </a:lnTo>
                  <a:lnTo>
                    <a:pt x="578" y="698"/>
                  </a:lnTo>
                  <a:lnTo>
                    <a:pt x="577" y="708"/>
                  </a:lnTo>
                  <a:lnTo>
                    <a:pt x="573" y="708"/>
                  </a:lnTo>
                  <a:lnTo>
                    <a:pt x="571" y="709"/>
                  </a:lnTo>
                  <a:lnTo>
                    <a:pt x="571" y="710"/>
                  </a:lnTo>
                  <a:lnTo>
                    <a:pt x="571" y="712"/>
                  </a:lnTo>
                  <a:lnTo>
                    <a:pt x="570" y="713"/>
                  </a:lnTo>
                  <a:lnTo>
                    <a:pt x="570" y="714"/>
                  </a:lnTo>
                  <a:lnTo>
                    <a:pt x="568" y="714"/>
                  </a:lnTo>
                  <a:lnTo>
                    <a:pt x="565" y="715"/>
                  </a:lnTo>
                  <a:lnTo>
                    <a:pt x="558" y="727"/>
                  </a:lnTo>
                  <a:lnTo>
                    <a:pt x="550" y="728"/>
                  </a:lnTo>
                  <a:lnTo>
                    <a:pt x="543" y="731"/>
                  </a:lnTo>
                  <a:lnTo>
                    <a:pt x="536" y="734"/>
                  </a:lnTo>
                  <a:lnTo>
                    <a:pt x="528" y="737"/>
                  </a:lnTo>
                  <a:lnTo>
                    <a:pt x="521" y="741"/>
                  </a:lnTo>
                  <a:lnTo>
                    <a:pt x="513" y="744"/>
                  </a:lnTo>
                  <a:lnTo>
                    <a:pt x="507" y="746"/>
                  </a:lnTo>
                  <a:lnTo>
                    <a:pt x="499" y="747"/>
                  </a:lnTo>
                  <a:lnTo>
                    <a:pt x="460" y="786"/>
                  </a:lnTo>
                  <a:lnTo>
                    <a:pt x="456" y="803"/>
                  </a:lnTo>
                  <a:lnTo>
                    <a:pt x="453" y="819"/>
                  </a:lnTo>
                  <a:lnTo>
                    <a:pt x="446" y="832"/>
                  </a:lnTo>
                  <a:lnTo>
                    <a:pt x="433" y="832"/>
                  </a:lnTo>
                  <a:lnTo>
                    <a:pt x="432" y="833"/>
                  </a:lnTo>
                  <a:lnTo>
                    <a:pt x="429" y="833"/>
                  </a:lnTo>
                  <a:lnTo>
                    <a:pt x="425" y="833"/>
                  </a:lnTo>
                  <a:lnTo>
                    <a:pt x="418" y="832"/>
                  </a:lnTo>
                  <a:lnTo>
                    <a:pt x="404" y="829"/>
                  </a:lnTo>
                  <a:lnTo>
                    <a:pt x="386" y="825"/>
                  </a:lnTo>
                  <a:lnTo>
                    <a:pt x="350" y="816"/>
                  </a:lnTo>
                  <a:lnTo>
                    <a:pt x="328" y="813"/>
                  </a:lnTo>
                  <a:lnTo>
                    <a:pt x="318" y="819"/>
                  </a:lnTo>
                  <a:lnTo>
                    <a:pt x="302" y="825"/>
                  </a:lnTo>
                  <a:lnTo>
                    <a:pt x="302" y="839"/>
                  </a:lnTo>
                  <a:lnTo>
                    <a:pt x="289" y="839"/>
                  </a:lnTo>
                  <a:lnTo>
                    <a:pt x="282" y="846"/>
                  </a:lnTo>
                  <a:lnTo>
                    <a:pt x="263" y="84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9" name="Freeform 45"/>
            <p:cNvSpPr>
              <a:spLocks noChangeAspect="1"/>
            </p:cNvSpPr>
            <p:nvPr/>
          </p:nvSpPr>
          <p:spPr bwMode="gray">
            <a:xfrm rot="355651">
              <a:off x="5783740" y="2678113"/>
              <a:ext cx="408372" cy="306606"/>
            </a:xfrm>
            <a:custGeom>
              <a:avLst/>
              <a:gdLst/>
              <a:ahLst/>
              <a:cxnLst>
                <a:cxn ang="0">
                  <a:pos x="1743" y="1"/>
                </a:cxn>
                <a:cxn ang="0">
                  <a:pos x="1699" y="96"/>
                </a:cxn>
                <a:cxn ang="0">
                  <a:pos x="1679" y="303"/>
                </a:cxn>
                <a:cxn ang="0">
                  <a:pos x="1714" y="384"/>
                </a:cxn>
                <a:cxn ang="0">
                  <a:pos x="1745" y="511"/>
                </a:cxn>
                <a:cxn ang="0">
                  <a:pos x="1829" y="600"/>
                </a:cxn>
                <a:cxn ang="0">
                  <a:pos x="1876" y="650"/>
                </a:cxn>
                <a:cxn ang="0">
                  <a:pos x="1966" y="702"/>
                </a:cxn>
                <a:cxn ang="0">
                  <a:pos x="2079" y="755"/>
                </a:cxn>
                <a:cxn ang="0">
                  <a:pos x="2193" y="989"/>
                </a:cxn>
                <a:cxn ang="0">
                  <a:pos x="2246" y="1071"/>
                </a:cxn>
                <a:cxn ang="0">
                  <a:pos x="2129" y="1224"/>
                </a:cxn>
                <a:cxn ang="0">
                  <a:pos x="2087" y="1335"/>
                </a:cxn>
                <a:cxn ang="0">
                  <a:pos x="2036" y="1405"/>
                </a:cxn>
                <a:cxn ang="0">
                  <a:pos x="1994" y="1486"/>
                </a:cxn>
                <a:cxn ang="0">
                  <a:pos x="1953" y="1570"/>
                </a:cxn>
                <a:cxn ang="0">
                  <a:pos x="1892" y="1637"/>
                </a:cxn>
                <a:cxn ang="0">
                  <a:pos x="1824" y="1723"/>
                </a:cxn>
                <a:cxn ang="0">
                  <a:pos x="1778" y="1778"/>
                </a:cxn>
                <a:cxn ang="0">
                  <a:pos x="1714" y="1835"/>
                </a:cxn>
                <a:cxn ang="0">
                  <a:pos x="1647" y="1906"/>
                </a:cxn>
                <a:cxn ang="0">
                  <a:pos x="1502" y="1881"/>
                </a:cxn>
                <a:cxn ang="0">
                  <a:pos x="1486" y="1762"/>
                </a:cxn>
                <a:cxn ang="0">
                  <a:pos x="1517" y="1646"/>
                </a:cxn>
                <a:cxn ang="0">
                  <a:pos x="1464" y="1546"/>
                </a:cxn>
                <a:cxn ang="0">
                  <a:pos x="1401" y="1506"/>
                </a:cxn>
                <a:cxn ang="0">
                  <a:pos x="1316" y="1455"/>
                </a:cxn>
                <a:cxn ang="0">
                  <a:pos x="1266" y="1419"/>
                </a:cxn>
                <a:cxn ang="0">
                  <a:pos x="1230" y="1394"/>
                </a:cxn>
                <a:cxn ang="0">
                  <a:pos x="1201" y="1369"/>
                </a:cxn>
                <a:cxn ang="0">
                  <a:pos x="1153" y="1297"/>
                </a:cxn>
                <a:cxn ang="0">
                  <a:pos x="983" y="1262"/>
                </a:cxn>
                <a:cxn ang="0">
                  <a:pos x="939" y="1230"/>
                </a:cxn>
                <a:cxn ang="0">
                  <a:pos x="907" y="1210"/>
                </a:cxn>
                <a:cxn ang="0">
                  <a:pos x="864" y="1192"/>
                </a:cxn>
                <a:cxn ang="0">
                  <a:pos x="787" y="1171"/>
                </a:cxn>
                <a:cxn ang="0">
                  <a:pos x="570" y="1173"/>
                </a:cxn>
                <a:cxn ang="0">
                  <a:pos x="530" y="1225"/>
                </a:cxn>
                <a:cxn ang="0">
                  <a:pos x="494" y="1291"/>
                </a:cxn>
                <a:cxn ang="0">
                  <a:pos x="391" y="1333"/>
                </a:cxn>
                <a:cxn ang="0">
                  <a:pos x="335" y="1350"/>
                </a:cxn>
                <a:cxn ang="0">
                  <a:pos x="274" y="1375"/>
                </a:cxn>
                <a:cxn ang="0">
                  <a:pos x="129" y="1338"/>
                </a:cxn>
                <a:cxn ang="0">
                  <a:pos x="68" y="1251"/>
                </a:cxn>
                <a:cxn ang="0">
                  <a:pos x="53" y="1176"/>
                </a:cxn>
                <a:cxn ang="0">
                  <a:pos x="9" y="1089"/>
                </a:cxn>
                <a:cxn ang="0">
                  <a:pos x="27" y="951"/>
                </a:cxn>
                <a:cxn ang="0">
                  <a:pos x="199" y="916"/>
                </a:cxn>
                <a:cxn ang="0">
                  <a:pos x="381" y="773"/>
                </a:cxn>
                <a:cxn ang="0">
                  <a:pos x="413" y="755"/>
                </a:cxn>
                <a:cxn ang="0">
                  <a:pos x="525" y="734"/>
                </a:cxn>
                <a:cxn ang="0">
                  <a:pos x="659" y="751"/>
                </a:cxn>
                <a:cxn ang="0">
                  <a:pos x="854" y="770"/>
                </a:cxn>
                <a:cxn ang="0">
                  <a:pos x="892" y="682"/>
                </a:cxn>
                <a:cxn ang="0">
                  <a:pos x="918" y="420"/>
                </a:cxn>
                <a:cxn ang="0">
                  <a:pos x="979" y="396"/>
                </a:cxn>
                <a:cxn ang="0">
                  <a:pos x="1044" y="336"/>
                </a:cxn>
                <a:cxn ang="0">
                  <a:pos x="1115" y="255"/>
                </a:cxn>
                <a:cxn ang="0">
                  <a:pos x="1269" y="220"/>
                </a:cxn>
                <a:cxn ang="0">
                  <a:pos x="1422" y="205"/>
                </a:cxn>
                <a:cxn ang="0">
                  <a:pos x="1447" y="45"/>
                </a:cxn>
              </a:cxnLst>
              <a:rect l="0" t="0" r="r" b="b"/>
              <a:pathLst>
                <a:path w="2248" h="1913">
                  <a:moveTo>
                    <a:pt x="1469" y="15"/>
                  </a:moveTo>
                  <a:lnTo>
                    <a:pt x="1473" y="13"/>
                  </a:lnTo>
                  <a:lnTo>
                    <a:pt x="1475" y="13"/>
                  </a:lnTo>
                  <a:lnTo>
                    <a:pt x="1478" y="11"/>
                  </a:lnTo>
                  <a:lnTo>
                    <a:pt x="1485" y="10"/>
                  </a:lnTo>
                  <a:lnTo>
                    <a:pt x="1494" y="9"/>
                  </a:lnTo>
                  <a:lnTo>
                    <a:pt x="1506" y="8"/>
                  </a:lnTo>
                  <a:lnTo>
                    <a:pt x="1528" y="7"/>
                  </a:lnTo>
                  <a:lnTo>
                    <a:pt x="1541" y="7"/>
                  </a:lnTo>
                  <a:lnTo>
                    <a:pt x="1551" y="5"/>
                  </a:lnTo>
                  <a:lnTo>
                    <a:pt x="1576" y="3"/>
                  </a:lnTo>
                  <a:lnTo>
                    <a:pt x="1613" y="2"/>
                  </a:lnTo>
                  <a:lnTo>
                    <a:pt x="1657" y="1"/>
                  </a:lnTo>
                  <a:lnTo>
                    <a:pt x="1701" y="1"/>
                  </a:lnTo>
                  <a:lnTo>
                    <a:pt x="1743" y="1"/>
                  </a:lnTo>
                  <a:lnTo>
                    <a:pt x="1776" y="0"/>
                  </a:lnTo>
                  <a:lnTo>
                    <a:pt x="1796" y="0"/>
                  </a:lnTo>
                  <a:lnTo>
                    <a:pt x="1796" y="20"/>
                  </a:lnTo>
                  <a:lnTo>
                    <a:pt x="1790" y="27"/>
                  </a:lnTo>
                  <a:lnTo>
                    <a:pt x="1777" y="27"/>
                  </a:lnTo>
                  <a:lnTo>
                    <a:pt x="1767" y="40"/>
                  </a:lnTo>
                  <a:lnTo>
                    <a:pt x="1757" y="53"/>
                  </a:lnTo>
                  <a:lnTo>
                    <a:pt x="1744" y="53"/>
                  </a:lnTo>
                  <a:lnTo>
                    <a:pt x="1744" y="57"/>
                  </a:lnTo>
                  <a:lnTo>
                    <a:pt x="1742" y="60"/>
                  </a:lnTo>
                  <a:lnTo>
                    <a:pt x="1738" y="64"/>
                  </a:lnTo>
                  <a:lnTo>
                    <a:pt x="1734" y="68"/>
                  </a:lnTo>
                  <a:lnTo>
                    <a:pt x="1724" y="76"/>
                  </a:lnTo>
                  <a:lnTo>
                    <a:pt x="1712" y="86"/>
                  </a:lnTo>
                  <a:lnTo>
                    <a:pt x="1699" y="96"/>
                  </a:lnTo>
                  <a:lnTo>
                    <a:pt x="1689" y="108"/>
                  </a:lnTo>
                  <a:lnTo>
                    <a:pt x="1685" y="115"/>
                  </a:lnTo>
                  <a:lnTo>
                    <a:pt x="1681" y="122"/>
                  </a:lnTo>
                  <a:lnTo>
                    <a:pt x="1679" y="130"/>
                  </a:lnTo>
                  <a:lnTo>
                    <a:pt x="1679" y="138"/>
                  </a:lnTo>
                  <a:lnTo>
                    <a:pt x="1678" y="173"/>
                  </a:lnTo>
                  <a:lnTo>
                    <a:pt x="1676" y="210"/>
                  </a:lnTo>
                  <a:lnTo>
                    <a:pt x="1674" y="247"/>
                  </a:lnTo>
                  <a:lnTo>
                    <a:pt x="1672" y="282"/>
                  </a:lnTo>
                  <a:lnTo>
                    <a:pt x="1675" y="282"/>
                  </a:lnTo>
                  <a:lnTo>
                    <a:pt x="1676" y="285"/>
                  </a:lnTo>
                  <a:lnTo>
                    <a:pt x="1677" y="287"/>
                  </a:lnTo>
                  <a:lnTo>
                    <a:pt x="1678" y="290"/>
                  </a:lnTo>
                  <a:lnTo>
                    <a:pt x="1678" y="296"/>
                  </a:lnTo>
                  <a:lnTo>
                    <a:pt x="1679" y="303"/>
                  </a:lnTo>
                  <a:lnTo>
                    <a:pt x="1680" y="303"/>
                  </a:lnTo>
                  <a:lnTo>
                    <a:pt x="1682" y="304"/>
                  </a:lnTo>
                  <a:lnTo>
                    <a:pt x="1684" y="307"/>
                  </a:lnTo>
                  <a:lnTo>
                    <a:pt x="1685" y="309"/>
                  </a:lnTo>
                  <a:lnTo>
                    <a:pt x="1685" y="316"/>
                  </a:lnTo>
                  <a:lnTo>
                    <a:pt x="1685" y="321"/>
                  </a:lnTo>
                  <a:lnTo>
                    <a:pt x="1688" y="324"/>
                  </a:lnTo>
                  <a:lnTo>
                    <a:pt x="1693" y="329"/>
                  </a:lnTo>
                  <a:lnTo>
                    <a:pt x="1696" y="337"/>
                  </a:lnTo>
                  <a:lnTo>
                    <a:pt x="1700" y="346"/>
                  </a:lnTo>
                  <a:lnTo>
                    <a:pt x="1705" y="356"/>
                  </a:lnTo>
                  <a:lnTo>
                    <a:pt x="1708" y="366"/>
                  </a:lnTo>
                  <a:lnTo>
                    <a:pt x="1710" y="374"/>
                  </a:lnTo>
                  <a:lnTo>
                    <a:pt x="1712" y="381"/>
                  </a:lnTo>
                  <a:lnTo>
                    <a:pt x="1714" y="384"/>
                  </a:lnTo>
                  <a:lnTo>
                    <a:pt x="1715" y="392"/>
                  </a:lnTo>
                  <a:lnTo>
                    <a:pt x="1716" y="404"/>
                  </a:lnTo>
                  <a:lnTo>
                    <a:pt x="1717" y="419"/>
                  </a:lnTo>
                  <a:lnTo>
                    <a:pt x="1718" y="446"/>
                  </a:lnTo>
                  <a:lnTo>
                    <a:pt x="1718" y="465"/>
                  </a:lnTo>
                  <a:lnTo>
                    <a:pt x="1720" y="467"/>
                  </a:lnTo>
                  <a:lnTo>
                    <a:pt x="1723" y="469"/>
                  </a:lnTo>
                  <a:lnTo>
                    <a:pt x="1725" y="472"/>
                  </a:lnTo>
                  <a:lnTo>
                    <a:pt x="1727" y="477"/>
                  </a:lnTo>
                  <a:lnTo>
                    <a:pt x="1729" y="486"/>
                  </a:lnTo>
                  <a:lnTo>
                    <a:pt x="1730" y="492"/>
                  </a:lnTo>
                  <a:lnTo>
                    <a:pt x="1734" y="493"/>
                  </a:lnTo>
                  <a:lnTo>
                    <a:pt x="1737" y="498"/>
                  </a:lnTo>
                  <a:lnTo>
                    <a:pt x="1741" y="505"/>
                  </a:lnTo>
                  <a:lnTo>
                    <a:pt x="1745" y="511"/>
                  </a:lnTo>
                  <a:lnTo>
                    <a:pt x="1749" y="519"/>
                  </a:lnTo>
                  <a:lnTo>
                    <a:pt x="1754" y="526"/>
                  </a:lnTo>
                  <a:lnTo>
                    <a:pt x="1756" y="528"/>
                  </a:lnTo>
                  <a:lnTo>
                    <a:pt x="1758" y="530"/>
                  </a:lnTo>
                  <a:lnTo>
                    <a:pt x="1762" y="531"/>
                  </a:lnTo>
                  <a:lnTo>
                    <a:pt x="1764" y="531"/>
                  </a:lnTo>
                  <a:lnTo>
                    <a:pt x="1764" y="545"/>
                  </a:lnTo>
                  <a:lnTo>
                    <a:pt x="1767" y="546"/>
                  </a:lnTo>
                  <a:lnTo>
                    <a:pt x="1773" y="550"/>
                  </a:lnTo>
                  <a:lnTo>
                    <a:pt x="1780" y="557"/>
                  </a:lnTo>
                  <a:lnTo>
                    <a:pt x="1786" y="564"/>
                  </a:lnTo>
                  <a:lnTo>
                    <a:pt x="1797" y="578"/>
                  </a:lnTo>
                  <a:lnTo>
                    <a:pt x="1803" y="584"/>
                  </a:lnTo>
                  <a:lnTo>
                    <a:pt x="1813" y="590"/>
                  </a:lnTo>
                  <a:lnTo>
                    <a:pt x="1829" y="600"/>
                  </a:lnTo>
                  <a:lnTo>
                    <a:pt x="1837" y="605"/>
                  </a:lnTo>
                  <a:lnTo>
                    <a:pt x="1843" y="609"/>
                  </a:lnTo>
                  <a:lnTo>
                    <a:pt x="1848" y="614"/>
                  </a:lnTo>
                  <a:lnTo>
                    <a:pt x="1849" y="616"/>
                  </a:lnTo>
                  <a:lnTo>
                    <a:pt x="1862" y="616"/>
                  </a:lnTo>
                  <a:lnTo>
                    <a:pt x="1862" y="630"/>
                  </a:lnTo>
                  <a:lnTo>
                    <a:pt x="1866" y="630"/>
                  </a:lnTo>
                  <a:lnTo>
                    <a:pt x="1868" y="631"/>
                  </a:lnTo>
                  <a:lnTo>
                    <a:pt x="1869" y="632"/>
                  </a:lnTo>
                  <a:lnTo>
                    <a:pt x="1869" y="633"/>
                  </a:lnTo>
                  <a:lnTo>
                    <a:pt x="1869" y="634"/>
                  </a:lnTo>
                  <a:lnTo>
                    <a:pt x="1870" y="635"/>
                  </a:lnTo>
                  <a:lnTo>
                    <a:pt x="1871" y="636"/>
                  </a:lnTo>
                  <a:lnTo>
                    <a:pt x="1876" y="636"/>
                  </a:lnTo>
                  <a:lnTo>
                    <a:pt x="1876" y="650"/>
                  </a:lnTo>
                  <a:lnTo>
                    <a:pt x="1880" y="650"/>
                  </a:lnTo>
                  <a:lnTo>
                    <a:pt x="1885" y="652"/>
                  </a:lnTo>
                  <a:lnTo>
                    <a:pt x="1888" y="654"/>
                  </a:lnTo>
                  <a:lnTo>
                    <a:pt x="1891" y="657"/>
                  </a:lnTo>
                  <a:lnTo>
                    <a:pt x="1898" y="666"/>
                  </a:lnTo>
                  <a:lnTo>
                    <a:pt x="1905" y="675"/>
                  </a:lnTo>
                  <a:lnTo>
                    <a:pt x="1909" y="681"/>
                  </a:lnTo>
                  <a:lnTo>
                    <a:pt x="1912" y="685"/>
                  </a:lnTo>
                  <a:lnTo>
                    <a:pt x="1918" y="690"/>
                  </a:lnTo>
                  <a:lnTo>
                    <a:pt x="1924" y="693"/>
                  </a:lnTo>
                  <a:lnTo>
                    <a:pt x="1929" y="696"/>
                  </a:lnTo>
                  <a:lnTo>
                    <a:pt x="1937" y="700"/>
                  </a:lnTo>
                  <a:lnTo>
                    <a:pt x="1945" y="701"/>
                  </a:lnTo>
                  <a:lnTo>
                    <a:pt x="1954" y="702"/>
                  </a:lnTo>
                  <a:lnTo>
                    <a:pt x="1966" y="702"/>
                  </a:lnTo>
                  <a:lnTo>
                    <a:pt x="1979" y="704"/>
                  </a:lnTo>
                  <a:lnTo>
                    <a:pt x="1993" y="707"/>
                  </a:lnTo>
                  <a:lnTo>
                    <a:pt x="2006" y="709"/>
                  </a:lnTo>
                  <a:lnTo>
                    <a:pt x="2020" y="711"/>
                  </a:lnTo>
                  <a:lnTo>
                    <a:pt x="2033" y="713"/>
                  </a:lnTo>
                  <a:lnTo>
                    <a:pt x="2046" y="714"/>
                  </a:lnTo>
                  <a:lnTo>
                    <a:pt x="2059" y="715"/>
                  </a:lnTo>
                  <a:lnTo>
                    <a:pt x="2072" y="728"/>
                  </a:lnTo>
                  <a:lnTo>
                    <a:pt x="2072" y="741"/>
                  </a:lnTo>
                  <a:lnTo>
                    <a:pt x="2074" y="741"/>
                  </a:lnTo>
                  <a:lnTo>
                    <a:pt x="2075" y="742"/>
                  </a:lnTo>
                  <a:lnTo>
                    <a:pt x="2077" y="743"/>
                  </a:lnTo>
                  <a:lnTo>
                    <a:pt x="2078" y="746"/>
                  </a:lnTo>
                  <a:lnTo>
                    <a:pt x="2079" y="749"/>
                  </a:lnTo>
                  <a:lnTo>
                    <a:pt x="2079" y="755"/>
                  </a:lnTo>
                  <a:lnTo>
                    <a:pt x="2082" y="760"/>
                  </a:lnTo>
                  <a:lnTo>
                    <a:pt x="2089" y="777"/>
                  </a:lnTo>
                  <a:lnTo>
                    <a:pt x="2096" y="800"/>
                  </a:lnTo>
                  <a:lnTo>
                    <a:pt x="2103" y="826"/>
                  </a:lnTo>
                  <a:lnTo>
                    <a:pt x="2118" y="876"/>
                  </a:lnTo>
                  <a:lnTo>
                    <a:pt x="2125" y="898"/>
                  </a:lnTo>
                  <a:lnTo>
                    <a:pt x="2129" y="902"/>
                  </a:lnTo>
                  <a:lnTo>
                    <a:pt x="2136" y="913"/>
                  </a:lnTo>
                  <a:lnTo>
                    <a:pt x="2145" y="928"/>
                  </a:lnTo>
                  <a:lnTo>
                    <a:pt x="2156" y="944"/>
                  </a:lnTo>
                  <a:lnTo>
                    <a:pt x="2167" y="961"/>
                  </a:lnTo>
                  <a:lnTo>
                    <a:pt x="2178" y="975"/>
                  </a:lnTo>
                  <a:lnTo>
                    <a:pt x="2183" y="982"/>
                  </a:lnTo>
                  <a:lnTo>
                    <a:pt x="2188" y="987"/>
                  </a:lnTo>
                  <a:lnTo>
                    <a:pt x="2193" y="989"/>
                  </a:lnTo>
                  <a:lnTo>
                    <a:pt x="2196" y="990"/>
                  </a:lnTo>
                  <a:lnTo>
                    <a:pt x="2196" y="1003"/>
                  </a:lnTo>
                  <a:lnTo>
                    <a:pt x="2199" y="1003"/>
                  </a:lnTo>
                  <a:lnTo>
                    <a:pt x="2202" y="1006"/>
                  </a:lnTo>
                  <a:lnTo>
                    <a:pt x="2205" y="1008"/>
                  </a:lnTo>
                  <a:lnTo>
                    <a:pt x="2208" y="1011"/>
                  </a:lnTo>
                  <a:lnTo>
                    <a:pt x="2215" y="1020"/>
                  </a:lnTo>
                  <a:lnTo>
                    <a:pt x="2222" y="1029"/>
                  </a:lnTo>
                  <a:lnTo>
                    <a:pt x="2228" y="1039"/>
                  </a:lnTo>
                  <a:lnTo>
                    <a:pt x="2234" y="1048"/>
                  </a:lnTo>
                  <a:lnTo>
                    <a:pt x="2240" y="1054"/>
                  </a:lnTo>
                  <a:lnTo>
                    <a:pt x="2243" y="1056"/>
                  </a:lnTo>
                  <a:lnTo>
                    <a:pt x="2243" y="1069"/>
                  </a:lnTo>
                  <a:lnTo>
                    <a:pt x="2244" y="1069"/>
                  </a:lnTo>
                  <a:lnTo>
                    <a:pt x="2246" y="1071"/>
                  </a:lnTo>
                  <a:lnTo>
                    <a:pt x="2247" y="1076"/>
                  </a:lnTo>
                  <a:lnTo>
                    <a:pt x="2248" y="1079"/>
                  </a:lnTo>
                  <a:lnTo>
                    <a:pt x="2248" y="1088"/>
                  </a:lnTo>
                  <a:lnTo>
                    <a:pt x="2248" y="1095"/>
                  </a:lnTo>
                  <a:lnTo>
                    <a:pt x="2243" y="1096"/>
                  </a:lnTo>
                  <a:lnTo>
                    <a:pt x="2237" y="1100"/>
                  </a:lnTo>
                  <a:lnTo>
                    <a:pt x="2229" y="1107"/>
                  </a:lnTo>
                  <a:lnTo>
                    <a:pt x="2222" y="1115"/>
                  </a:lnTo>
                  <a:lnTo>
                    <a:pt x="2203" y="1136"/>
                  </a:lnTo>
                  <a:lnTo>
                    <a:pt x="2184" y="1161"/>
                  </a:lnTo>
                  <a:lnTo>
                    <a:pt x="2166" y="1184"/>
                  </a:lnTo>
                  <a:lnTo>
                    <a:pt x="2148" y="1205"/>
                  </a:lnTo>
                  <a:lnTo>
                    <a:pt x="2141" y="1214"/>
                  </a:lnTo>
                  <a:lnTo>
                    <a:pt x="2135" y="1221"/>
                  </a:lnTo>
                  <a:lnTo>
                    <a:pt x="2129" y="1224"/>
                  </a:lnTo>
                  <a:lnTo>
                    <a:pt x="2125" y="1227"/>
                  </a:lnTo>
                  <a:lnTo>
                    <a:pt x="2125" y="1239"/>
                  </a:lnTo>
                  <a:lnTo>
                    <a:pt x="2114" y="1246"/>
                  </a:lnTo>
                  <a:lnTo>
                    <a:pt x="2104" y="1252"/>
                  </a:lnTo>
                  <a:lnTo>
                    <a:pt x="2104" y="1266"/>
                  </a:lnTo>
                  <a:lnTo>
                    <a:pt x="2102" y="1266"/>
                  </a:lnTo>
                  <a:lnTo>
                    <a:pt x="2101" y="1268"/>
                  </a:lnTo>
                  <a:lnTo>
                    <a:pt x="2099" y="1270"/>
                  </a:lnTo>
                  <a:lnTo>
                    <a:pt x="2098" y="1272"/>
                  </a:lnTo>
                  <a:lnTo>
                    <a:pt x="2096" y="1275"/>
                  </a:lnTo>
                  <a:lnTo>
                    <a:pt x="2092" y="1277"/>
                  </a:lnTo>
                  <a:lnTo>
                    <a:pt x="2089" y="1278"/>
                  </a:lnTo>
                  <a:lnTo>
                    <a:pt x="2085" y="1279"/>
                  </a:lnTo>
                  <a:lnTo>
                    <a:pt x="2085" y="1307"/>
                  </a:lnTo>
                  <a:lnTo>
                    <a:pt x="2087" y="1335"/>
                  </a:lnTo>
                  <a:lnTo>
                    <a:pt x="2089" y="1362"/>
                  </a:lnTo>
                  <a:lnTo>
                    <a:pt x="2092" y="1390"/>
                  </a:lnTo>
                  <a:lnTo>
                    <a:pt x="2087" y="1390"/>
                  </a:lnTo>
                  <a:lnTo>
                    <a:pt x="2081" y="1390"/>
                  </a:lnTo>
                  <a:lnTo>
                    <a:pt x="2081" y="1391"/>
                  </a:lnTo>
                  <a:lnTo>
                    <a:pt x="2079" y="1392"/>
                  </a:lnTo>
                  <a:lnTo>
                    <a:pt x="2077" y="1393"/>
                  </a:lnTo>
                  <a:lnTo>
                    <a:pt x="2073" y="1394"/>
                  </a:lnTo>
                  <a:lnTo>
                    <a:pt x="2065" y="1396"/>
                  </a:lnTo>
                  <a:lnTo>
                    <a:pt x="2058" y="1398"/>
                  </a:lnTo>
                  <a:lnTo>
                    <a:pt x="2052" y="1398"/>
                  </a:lnTo>
                  <a:lnTo>
                    <a:pt x="2048" y="1400"/>
                  </a:lnTo>
                  <a:lnTo>
                    <a:pt x="2043" y="1401"/>
                  </a:lnTo>
                  <a:lnTo>
                    <a:pt x="2040" y="1403"/>
                  </a:lnTo>
                  <a:lnTo>
                    <a:pt x="2036" y="1405"/>
                  </a:lnTo>
                  <a:lnTo>
                    <a:pt x="2034" y="1409"/>
                  </a:lnTo>
                  <a:lnTo>
                    <a:pt x="2033" y="1413"/>
                  </a:lnTo>
                  <a:lnTo>
                    <a:pt x="2033" y="1419"/>
                  </a:lnTo>
                  <a:lnTo>
                    <a:pt x="2029" y="1423"/>
                  </a:lnTo>
                  <a:lnTo>
                    <a:pt x="2023" y="1425"/>
                  </a:lnTo>
                  <a:lnTo>
                    <a:pt x="2018" y="1428"/>
                  </a:lnTo>
                  <a:lnTo>
                    <a:pt x="2017" y="1432"/>
                  </a:lnTo>
                  <a:lnTo>
                    <a:pt x="2015" y="1435"/>
                  </a:lnTo>
                  <a:lnTo>
                    <a:pt x="2012" y="1439"/>
                  </a:lnTo>
                  <a:lnTo>
                    <a:pt x="2008" y="1442"/>
                  </a:lnTo>
                  <a:lnTo>
                    <a:pt x="2008" y="1457"/>
                  </a:lnTo>
                  <a:lnTo>
                    <a:pt x="2004" y="1459"/>
                  </a:lnTo>
                  <a:lnTo>
                    <a:pt x="2000" y="1462"/>
                  </a:lnTo>
                  <a:lnTo>
                    <a:pt x="1996" y="1473"/>
                  </a:lnTo>
                  <a:lnTo>
                    <a:pt x="1994" y="1486"/>
                  </a:lnTo>
                  <a:lnTo>
                    <a:pt x="1975" y="1510"/>
                  </a:lnTo>
                  <a:lnTo>
                    <a:pt x="1975" y="1525"/>
                  </a:lnTo>
                  <a:lnTo>
                    <a:pt x="1970" y="1527"/>
                  </a:lnTo>
                  <a:lnTo>
                    <a:pt x="1965" y="1529"/>
                  </a:lnTo>
                  <a:lnTo>
                    <a:pt x="1965" y="1544"/>
                  </a:lnTo>
                  <a:lnTo>
                    <a:pt x="1964" y="1545"/>
                  </a:lnTo>
                  <a:lnTo>
                    <a:pt x="1963" y="1546"/>
                  </a:lnTo>
                  <a:lnTo>
                    <a:pt x="1962" y="1547"/>
                  </a:lnTo>
                  <a:lnTo>
                    <a:pt x="1960" y="1549"/>
                  </a:lnTo>
                  <a:lnTo>
                    <a:pt x="1960" y="1554"/>
                  </a:lnTo>
                  <a:lnTo>
                    <a:pt x="1960" y="1558"/>
                  </a:lnTo>
                  <a:lnTo>
                    <a:pt x="1957" y="1559"/>
                  </a:lnTo>
                  <a:lnTo>
                    <a:pt x="1955" y="1563"/>
                  </a:lnTo>
                  <a:lnTo>
                    <a:pt x="1954" y="1566"/>
                  </a:lnTo>
                  <a:lnTo>
                    <a:pt x="1953" y="1570"/>
                  </a:lnTo>
                  <a:lnTo>
                    <a:pt x="1950" y="1575"/>
                  </a:lnTo>
                  <a:lnTo>
                    <a:pt x="1948" y="1579"/>
                  </a:lnTo>
                  <a:lnTo>
                    <a:pt x="1946" y="1582"/>
                  </a:lnTo>
                  <a:lnTo>
                    <a:pt x="1941" y="1583"/>
                  </a:lnTo>
                  <a:lnTo>
                    <a:pt x="1936" y="1587"/>
                  </a:lnTo>
                  <a:lnTo>
                    <a:pt x="1935" y="1593"/>
                  </a:lnTo>
                  <a:lnTo>
                    <a:pt x="1930" y="1599"/>
                  </a:lnTo>
                  <a:lnTo>
                    <a:pt x="1926" y="1605"/>
                  </a:lnTo>
                  <a:lnTo>
                    <a:pt x="1921" y="1607"/>
                  </a:lnTo>
                  <a:lnTo>
                    <a:pt x="1921" y="1616"/>
                  </a:lnTo>
                  <a:lnTo>
                    <a:pt x="1917" y="1622"/>
                  </a:lnTo>
                  <a:lnTo>
                    <a:pt x="1911" y="1626"/>
                  </a:lnTo>
                  <a:lnTo>
                    <a:pt x="1902" y="1626"/>
                  </a:lnTo>
                  <a:lnTo>
                    <a:pt x="1899" y="1632"/>
                  </a:lnTo>
                  <a:lnTo>
                    <a:pt x="1892" y="1637"/>
                  </a:lnTo>
                  <a:lnTo>
                    <a:pt x="1883" y="1643"/>
                  </a:lnTo>
                  <a:lnTo>
                    <a:pt x="1878" y="1645"/>
                  </a:lnTo>
                  <a:lnTo>
                    <a:pt x="1877" y="1650"/>
                  </a:lnTo>
                  <a:lnTo>
                    <a:pt x="1872" y="1655"/>
                  </a:lnTo>
                  <a:lnTo>
                    <a:pt x="1868" y="1661"/>
                  </a:lnTo>
                  <a:lnTo>
                    <a:pt x="1863" y="1665"/>
                  </a:lnTo>
                  <a:lnTo>
                    <a:pt x="1863" y="1674"/>
                  </a:lnTo>
                  <a:lnTo>
                    <a:pt x="1858" y="1680"/>
                  </a:lnTo>
                  <a:lnTo>
                    <a:pt x="1849" y="1684"/>
                  </a:lnTo>
                  <a:lnTo>
                    <a:pt x="1849" y="1694"/>
                  </a:lnTo>
                  <a:lnTo>
                    <a:pt x="1844" y="1698"/>
                  </a:lnTo>
                  <a:lnTo>
                    <a:pt x="1838" y="1704"/>
                  </a:lnTo>
                  <a:lnTo>
                    <a:pt x="1832" y="1712"/>
                  </a:lnTo>
                  <a:lnTo>
                    <a:pt x="1830" y="1718"/>
                  </a:lnTo>
                  <a:lnTo>
                    <a:pt x="1824" y="1723"/>
                  </a:lnTo>
                  <a:lnTo>
                    <a:pt x="1815" y="1728"/>
                  </a:lnTo>
                  <a:lnTo>
                    <a:pt x="1813" y="1733"/>
                  </a:lnTo>
                  <a:lnTo>
                    <a:pt x="1808" y="1742"/>
                  </a:lnTo>
                  <a:lnTo>
                    <a:pt x="1801" y="1749"/>
                  </a:lnTo>
                  <a:lnTo>
                    <a:pt x="1795" y="1752"/>
                  </a:lnTo>
                  <a:lnTo>
                    <a:pt x="1795" y="1757"/>
                  </a:lnTo>
                  <a:lnTo>
                    <a:pt x="1792" y="1761"/>
                  </a:lnTo>
                  <a:lnTo>
                    <a:pt x="1790" y="1763"/>
                  </a:lnTo>
                  <a:lnTo>
                    <a:pt x="1787" y="1765"/>
                  </a:lnTo>
                  <a:lnTo>
                    <a:pt x="1784" y="1766"/>
                  </a:lnTo>
                  <a:lnTo>
                    <a:pt x="1781" y="1767"/>
                  </a:lnTo>
                  <a:lnTo>
                    <a:pt x="1781" y="1772"/>
                  </a:lnTo>
                  <a:lnTo>
                    <a:pt x="1781" y="1776"/>
                  </a:lnTo>
                  <a:lnTo>
                    <a:pt x="1780" y="1777"/>
                  </a:lnTo>
                  <a:lnTo>
                    <a:pt x="1778" y="1778"/>
                  </a:lnTo>
                  <a:lnTo>
                    <a:pt x="1777" y="1777"/>
                  </a:lnTo>
                  <a:lnTo>
                    <a:pt x="1777" y="1778"/>
                  </a:lnTo>
                  <a:lnTo>
                    <a:pt x="1776" y="1779"/>
                  </a:lnTo>
                  <a:lnTo>
                    <a:pt x="1776" y="1781"/>
                  </a:lnTo>
                  <a:lnTo>
                    <a:pt x="1772" y="1784"/>
                  </a:lnTo>
                  <a:lnTo>
                    <a:pt x="1767" y="1789"/>
                  </a:lnTo>
                  <a:lnTo>
                    <a:pt x="1763" y="1796"/>
                  </a:lnTo>
                  <a:lnTo>
                    <a:pt x="1762" y="1800"/>
                  </a:lnTo>
                  <a:lnTo>
                    <a:pt x="1757" y="1802"/>
                  </a:lnTo>
                  <a:lnTo>
                    <a:pt x="1752" y="1806"/>
                  </a:lnTo>
                  <a:lnTo>
                    <a:pt x="1743" y="1815"/>
                  </a:lnTo>
                  <a:lnTo>
                    <a:pt x="1733" y="1825"/>
                  </a:lnTo>
                  <a:lnTo>
                    <a:pt x="1723" y="1825"/>
                  </a:lnTo>
                  <a:lnTo>
                    <a:pt x="1723" y="1835"/>
                  </a:lnTo>
                  <a:lnTo>
                    <a:pt x="1714" y="1835"/>
                  </a:lnTo>
                  <a:lnTo>
                    <a:pt x="1712" y="1838"/>
                  </a:lnTo>
                  <a:lnTo>
                    <a:pt x="1708" y="1842"/>
                  </a:lnTo>
                  <a:lnTo>
                    <a:pt x="1704" y="1843"/>
                  </a:lnTo>
                  <a:lnTo>
                    <a:pt x="1699" y="1844"/>
                  </a:lnTo>
                  <a:lnTo>
                    <a:pt x="1698" y="1847"/>
                  </a:lnTo>
                  <a:lnTo>
                    <a:pt x="1696" y="1850"/>
                  </a:lnTo>
                  <a:lnTo>
                    <a:pt x="1693" y="1853"/>
                  </a:lnTo>
                  <a:lnTo>
                    <a:pt x="1689" y="1854"/>
                  </a:lnTo>
                  <a:lnTo>
                    <a:pt x="1675" y="1868"/>
                  </a:lnTo>
                  <a:lnTo>
                    <a:pt x="1675" y="1878"/>
                  </a:lnTo>
                  <a:lnTo>
                    <a:pt x="1675" y="1890"/>
                  </a:lnTo>
                  <a:lnTo>
                    <a:pt x="1674" y="1901"/>
                  </a:lnTo>
                  <a:lnTo>
                    <a:pt x="1674" y="1913"/>
                  </a:lnTo>
                  <a:lnTo>
                    <a:pt x="1659" y="1909"/>
                  </a:lnTo>
                  <a:lnTo>
                    <a:pt x="1647" y="1906"/>
                  </a:lnTo>
                  <a:lnTo>
                    <a:pt x="1623" y="1904"/>
                  </a:lnTo>
                  <a:lnTo>
                    <a:pt x="1584" y="1901"/>
                  </a:lnTo>
                  <a:lnTo>
                    <a:pt x="1564" y="1898"/>
                  </a:lnTo>
                  <a:lnTo>
                    <a:pt x="1547" y="1895"/>
                  </a:lnTo>
                  <a:lnTo>
                    <a:pt x="1541" y="1894"/>
                  </a:lnTo>
                  <a:lnTo>
                    <a:pt x="1535" y="1892"/>
                  </a:lnTo>
                  <a:lnTo>
                    <a:pt x="1532" y="1890"/>
                  </a:lnTo>
                  <a:lnTo>
                    <a:pt x="1531" y="1887"/>
                  </a:lnTo>
                  <a:lnTo>
                    <a:pt x="1506" y="1887"/>
                  </a:lnTo>
                  <a:lnTo>
                    <a:pt x="1506" y="1884"/>
                  </a:lnTo>
                  <a:lnTo>
                    <a:pt x="1505" y="1882"/>
                  </a:lnTo>
                  <a:lnTo>
                    <a:pt x="1505" y="1882"/>
                  </a:lnTo>
                  <a:lnTo>
                    <a:pt x="1504" y="1882"/>
                  </a:lnTo>
                  <a:lnTo>
                    <a:pt x="1503" y="1882"/>
                  </a:lnTo>
                  <a:lnTo>
                    <a:pt x="1502" y="1881"/>
                  </a:lnTo>
                  <a:lnTo>
                    <a:pt x="1501" y="1878"/>
                  </a:lnTo>
                  <a:lnTo>
                    <a:pt x="1501" y="1875"/>
                  </a:lnTo>
                  <a:lnTo>
                    <a:pt x="1488" y="1875"/>
                  </a:lnTo>
                  <a:lnTo>
                    <a:pt x="1488" y="1863"/>
                  </a:lnTo>
                  <a:lnTo>
                    <a:pt x="1485" y="1863"/>
                  </a:lnTo>
                  <a:lnTo>
                    <a:pt x="1483" y="1862"/>
                  </a:lnTo>
                  <a:lnTo>
                    <a:pt x="1483" y="1862"/>
                  </a:lnTo>
                  <a:lnTo>
                    <a:pt x="1482" y="1861"/>
                  </a:lnTo>
                  <a:lnTo>
                    <a:pt x="1482" y="1859"/>
                  </a:lnTo>
                  <a:lnTo>
                    <a:pt x="1482" y="1858"/>
                  </a:lnTo>
                  <a:lnTo>
                    <a:pt x="1479" y="1857"/>
                  </a:lnTo>
                  <a:lnTo>
                    <a:pt x="1476" y="1857"/>
                  </a:lnTo>
                  <a:lnTo>
                    <a:pt x="1478" y="1827"/>
                  </a:lnTo>
                  <a:lnTo>
                    <a:pt x="1482" y="1794"/>
                  </a:lnTo>
                  <a:lnTo>
                    <a:pt x="1486" y="1762"/>
                  </a:lnTo>
                  <a:lnTo>
                    <a:pt x="1488" y="1736"/>
                  </a:lnTo>
                  <a:lnTo>
                    <a:pt x="1492" y="1734"/>
                  </a:lnTo>
                  <a:lnTo>
                    <a:pt x="1495" y="1733"/>
                  </a:lnTo>
                  <a:lnTo>
                    <a:pt x="1497" y="1731"/>
                  </a:lnTo>
                  <a:lnTo>
                    <a:pt x="1499" y="1729"/>
                  </a:lnTo>
                  <a:lnTo>
                    <a:pt x="1503" y="1724"/>
                  </a:lnTo>
                  <a:lnTo>
                    <a:pt x="1506" y="1723"/>
                  </a:lnTo>
                  <a:lnTo>
                    <a:pt x="1506" y="1711"/>
                  </a:lnTo>
                  <a:lnTo>
                    <a:pt x="1511" y="1710"/>
                  </a:lnTo>
                  <a:lnTo>
                    <a:pt x="1515" y="1707"/>
                  </a:lnTo>
                  <a:lnTo>
                    <a:pt x="1521" y="1703"/>
                  </a:lnTo>
                  <a:lnTo>
                    <a:pt x="1525" y="1699"/>
                  </a:lnTo>
                  <a:lnTo>
                    <a:pt x="1525" y="1650"/>
                  </a:lnTo>
                  <a:lnTo>
                    <a:pt x="1521" y="1648"/>
                  </a:lnTo>
                  <a:lnTo>
                    <a:pt x="1517" y="1646"/>
                  </a:lnTo>
                  <a:lnTo>
                    <a:pt x="1515" y="1642"/>
                  </a:lnTo>
                  <a:lnTo>
                    <a:pt x="1513" y="1637"/>
                  </a:lnTo>
                  <a:lnTo>
                    <a:pt x="1512" y="1633"/>
                  </a:lnTo>
                  <a:lnTo>
                    <a:pt x="1511" y="1630"/>
                  </a:lnTo>
                  <a:lnTo>
                    <a:pt x="1508" y="1626"/>
                  </a:lnTo>
                  <a:lnTo>
                    <a:pt x="1506" y="1625"/>
                  </a:lnTo>
                  <a:lnTo>
                    <a:pt x="1506" y="1607"/>
                  </a:lnTo>
                  <a:lnTo>
                    <a:pt x="1497" y="1598"/>
                  </a:lnTo>
                  <a:lnTo>
                    <a:pt x="1488" y="1589"/>
                  </a:lnTo>
                  <a:lnTo>
                    <a:pt x="1482" y="1574"/>
                  </a:lnTo>
                  <a:lnTo>
                    <a:pt x="1476" y="1558"/>
                  </a:lnTo>
                  <a:lnTo>
                    <a:pt x="1471" y="1557"/>
                  </a:lnTo>
                  <a:lnTo>
                    <a:pt x="1467" y="1555"/>
                  </a:lnTo>
                  <a:lnTo>
                    <a:pt x="1465" y="1550"/>
                  </a:lnTo>
                  <a:lnTo>
                    <a:pt x="1464" y="1546"/>
                  </a:lnTo>
                  <a:lnTo>
                    <a:pt x="1458" y="1540"/>
                  </a:lnTo>
                  <a:lnTo>
                    <a:pt x="1448" y="1537"/>
                  </a:lnTo>
                  <a:lnTo>
                    <a:pt x="1439" y="1534"/>
                  </a:lnTo>
                  <a:lnTo>
                    <a:pt x="1434" y="1522"/>
                  </a:lnTo>
                  <a:lnTo>
                    <a:pt x="1421" y="1522"/>
                  </a:lnTo>
                  <a:lnTo>
                    <a:pt x="1421" y="1518"/>
                  </a:lnTo>
                  <a:lnTo>
                    <a:pt x="1420" y="1517"/>
                  </a:lnTo>
                  <a:lnTo>
                    <a:pt x="1419" y="1516"/>
                  </a:lnTo>
                  <a:lnTo>
                    <a:pt x="1418" y="1516"/>
                  </a:lnTo>
                  <a:lnTo>
                    <a:pt x="1417" y="1516"/>
                  </a:lnTo>
                  <a:lnTo>
                    <a:pt x="1416" y="1515"/>
                  </a:lnTo>
                  <a:lnTo>
                    <a:pt x="1416" y="1513"/>
                  </a:lnTo>
                  <a:lnTo>
                    <a:pt x="1415" y="1510"/>
                  </a:lnTo>
                  <a:lnTo>
                    <a:pt x="1402" y="1510"/>
                  </a:lnTo>
                  <a:lnTo>
                    <a:pt x="1401" y="1506"/>
                  </a:lnTo>
                  <a:lnTo>
                    <a:pt x="1398" y="1501"/>
                  </a:lnTo>
                  <a:lnTo>
                    <a:pt x="1392" y="1497"/>
                  </a:lnTo>
                  <a:lnTo>
                    <a:pt x="1386" y="1493"/>
                  </a:lnTo>
                  <a:lnTo>
                    <a:pt x="1379" y="1490"/>
                  </a:lnTo>
                  <a:lnTo>
                    <a:pt x="1372" y="1488"/>
                  </a:lnTo>
                  <a:lnTo>
                    <a:pt x="1365" y="1486"/>
                  </a:lnTo>
                  <a:lnTo>
                    <a:pt x="1360" y="1486"/>
                  </a:lnTo>
                  <a:lnTo>
                    <a:pt x="1359" y="1482"/>
                  </a:lnTo>
                  <a:lnTo>
                    <a:pt x="1354" y="1479"/>
                  </a:lnTo>
                  <a:lnTo>
                    <a:pt x="1349" y="1474"/>
                  </a:lnTo>
                  <a:lnTo>
                    <a:pt x="1341" y="1471"/>
                  </a:lnTo>
                  <a:lnTo>
                    <a:pt x="1326" y="1464"/>
                  </a:lnTo>
                  <a:lnTo>
                    <a:pt x="1317" y="1461"/>
                  </a:lnTo>
                  <a:lnTo>
                    <a:pt x="1317" y="1458"/>
                  </a:lnTo>
                  <a:lnTo>
                    <a:pt x="1316" y="1455"/>
                  </a:lnTo>
                  <a:lnTo>
                    <a:pt x="1315" y="1455"/>
                  </a:lnTo>
                  <a:lnTo>
                    <a:pt x="1314" y="1454"/>
                  </a:lnTo>
                  <a:lnTo>
                    <a:pt x="1313" y="1454"/>
                  </a:lnTo>
                  <a:lnTo>
                    <a:pt x="1312" y="1454"/>
                  </a:lnTo>
                  <a:lnTo>
                    <a:pt x="1312" y="1452"/>
                  </a:lnTo>
                  <a:lnTo>
                    <a:pt x="1312" y="1449"/>
                  </a:lnTo>
                  <a:lnTo>
                    <a:pt x="1305" y="1443"/>
                  </a:lnTo>
                  <a:lnTo>
                    <a:pt x="1293" y="1443"/>
                  </a:lnTo>
                  <a:lnTo>
                    <a:pt x="1287" y="1433"/>
                  </a:lnTo>
                  <a:lnTo>
                    <a:pt x="1281" y="1424"/>
                  </a:lnTo>
                  <a:lnTo>
                    <a:pt x="1268" y="1424"/>
                  </a:lnTo>
                  <a:lnTo>
                    <a:pt x="1268" y="1421"/>
                  </a:lnTo>
                  <a:lnTo>
                    <a:pt x="1267" y="1419"/>
                  </a:lnTo>
                  <a:lnTo>
                    <a:pt x="1267" y="1419"/>
                  </a:lnTo>
                  <a:lnTo>
                    <a:pt x="1266" y="1419"/>
                  </a:lnTo>
                  <a:lnTo>
                    <a:pt x="1265" y="1419"/>
                  </a:lnTo>
                  <a:lnTo>
                    <a:pt x="1264" y="1417"/>
                  </a:lnTo>
                  <a:lnTo>
                    <a:pt x="1263" y="1415"/>
                  </a:lnTo>
                  <a:lnTo>
                    <a:pt x="1263" y="1412"/>
                  </a:lnTo>
                  <a:lnTo>
                    <a:pt x="1256" y="1406"/>
                  </a:lnTo>
                  <a:lnTo>
                    <a:pt x="1252" y="1406"/>
                  </a:lnTo>
                  <a:lnTo>
                    <a:pt x="1248" y="1405"/>
                  </a:lnTo>
                  <a:lnTo>
                    <a:pt x="1246" y="1404"/>
                  </a:lnTo>
                  <a:lnTo>
                    <a:pt x="1245" y="1403"/>
                  </a:lnTo>
                  <a:lnTo>
                    <a:pt x="1245" y="1402"/>
                  </a:lnTo>
                  <a:lnTo>
                    <a:pt x="1244" y="1400"/>
                  </a:lnTo>
                  <a:lnTo>
                    <a:pt x="1233" y="1400"/>
                  </a:lnTo>
                  <a:lnTo>
                    <a:pt x="1231" y="1396"/>
                  </a:lnTo>
                  <a:lnTo>
                    <a:pt x="1231" y="1395"/>
                  </a:lnTo>
                  <a:lnTo>
                    <a:pt x="1230" y="1394"/>
                  </a:lnTo>
                  <a:lnTo>
                    <a:pt x="1229" y="1394"/>
                  </a:lnTo>
                  <a:lnTo>
                    <a:pt x="1228" y="1394"/>
                  </a:lnTo>
                  <a:lnTo>
                    <a:pt x="1227" y="1393"/>
                  </a:lnTo>
                  <a:lnTo>
                    <a:pt x="1226" y="1392"/>
                  </a:lnTo>
                  <a:lnTo>
                    <a:pt x="1226" y="1387"/>
                  </a:lnTo>
                  <a:lnTo>
                    <a:pt x="1214" y="1387"/>
                  </a:lnTo>
                  <a:lnTo>
                    <a:pt x="1214" y="1384"/>
                  </a:lnTo>
                  <a:lnTo>
                    <a:pt x="1213" y="1383"/>
                  </a:lnTo>
                  <a:lnTo>
                    <a:pt x="1211" y="1382"/>
                  </a:lnTo>
                  <a:lnTo>
                    <a:pt x="1210" y="1382"/>
                  </a:lnTo>
                  <a:lnTo>
                    <a:pt x="1209" y="1382"/>
                  </a:lnTo>
                  <a:lnTo>
                    <a:pt x="1209" y="1381"/>
                  </a:lnTo>
                  <a:lnTo>
                    <a:pt x="1208" y="1380"/>
                  </a:lnTo>
                  <a:lnTo>
                    <a:pt x="1208" y="1375"/>
                  </a:lnTo>
                  <a:lnTo>
                    <a:pt x="1201" y="1369"/>
                  </a:lnTo>
                  <a:lnTo>
                    <a:pt x="1189" y="1364"/>
                  </a:lnTo>
                  <a:lnTo>
                    <a:pt x="1188" y="1358"/>
                  </a:lnTo>
                  <a:lnTo>
                    <a:pt x="1186" y="1352"/>
                  </a:lnTo>
                  <a:lnTo>
                    <a:pt x="1183" y="1349"/>
                  </a:lnTo>
                  <a:lnTo>
                    <a:pt x="1181" y="1347"/>
                  </a:lnTo>
                  <a:lnTo>
                    <a:pt x="1179" y="1346"/>
                  </a:lnTo>
                  <a:lnTo>
                    <a:pt x="1177" y="1345"/>
                  </a:lnTo>
                  <a:lnTo>
                    <a:pt x="1176" y="1336"/>
                  </a:lnTo>
                  <a:lnTo>
                    <a:pt x="1171" y="1327"/>
                  </a:lnTo>
                  <a:lnTo>
                    <a:pt x="1167" y="1318"/>
                  </a:lnTo>
                  <a:lnTo>
                    <a:pt x="1165" y="1308"/>
                  </a:lnTo>
                  <a:lnTo>
                    <a:pt x="1163" y="1307"/>
                  </a:lnTo>
                  <a:lnTo>
                    <a:pt x="1159" y="1305"/>
                  </a:lnTo>
                  <a:lnTo>
                    <a:pt x="1154" y="1301"/>
                  </a:lnTo>
                  <a:lnTo>
                    <a:pt x="1153" y="1297"/>
                  </a:lnTo>
                  <a:lnTo>
                    <a:pt x="1124" y="1296"/>
                  </a:lnTo>
                  <a:lnTo>
                    <a:pt x="1095" y="1295"/>
                  </a:lnTo>
                  <a:lnTo>
                    <a:pt x="1082" y="1294"/>
                  </a:lnTo>
                  <a:lnTo>
                    <a:pt x="1069" y="1291"/>
                  </a:lnTo>
                  <a:lnTo>
                    <a:pt x="1055" y="1288"/>
                  </a:lnTo>
                  <a:lnTo>
                    <a:pt x="1043" y="1285"/>
                  </a:lnTo>
                  <a:lnTo>
                    <a:pt x="1018" y="1285"/>
                  </a:lnTo>
                  <a:lnTo>
                    <a:pt x="1009" y="1281"/>
                  </a:lnTo>
                  <a:lnTo>
                    <a:pt x="1000" y="1278"/>
                  </a:lnTo>
                  <a:lnTo>
                    <a:pt x="995" y="1266"/>
                  </a:lnTo>
                  <a:lnTo>
                    <a:pt x="990" y="1266"/>
                  </a:lnTo>
                  <a:lnTo>
                    <a:pt x="986" y="1266"/>
                  </a:lnTo>
                  <a:lnTo>
                    <a:pt x="985" y="1265"/>
                  </a:lnTo>
                  <a:lnTo>
                    <a:pt x="984" y="1263"/>
                  </a:lnTo>
                  <a:lnTo>
                    <a:pt x="983" y="1262"/>
                  </a:lnTo>
                  <a:lnTo>
                    <a:pt x="983" y="1260"/>
                  </a:lnTo>
                  <a:lnTo>
                    <a:pt x="970" y="1260"/>
                  </a:lnTo>
                  <a:lnTo>
                    <a:pt x="970" y="1257"/>
                  </a:lnTo>
                  <a:lnTo>
                    <a:pt x="969" y="1255"/>
                  </a:lnTo>
                  <a:lnTo>
                    <a:pt x="968" y="1253"/>
                  </a:lnTo>
                  <a:lnTo>
                    <a:pt x="967" y="1253"/>
                  </a:lnTo>
                  <a:lnTo>
                    <a:pt x="966" y="1253"/>
                  </a:lnTo>
                  <a:lnTo>
                    <a:pt x="965" y="1253"/>
                  </a:lnTo>
                  <a:lnTo>
                    <a:pt x="965" y="1251"/>
                  </a:lnTo>
                  <a:lnTo>
                    <a:pt x="964" y="1248"/>
                  </a:lnTo>
                  <a:lnTo>
                    <a:pt x="958" y="1241"/>
                  </a:lnTo>
                  <a:lnTo>
                    <a:pt x="949" y="1239"/>
                  </a:lnTo>
                  <a:lnTo>
                    <a:pt x="939" y="1236"/>
                  </a:lnTo>
                  <a:lnTo>
                    <a:pt x="939" y="1232"/>
                  </a:lnTo>
                  <a:lnTo>
                    <a:pt x="939" y="1230"/>
                  </a:lnTo>
                  <a:lnTo>
                    <a:pt x="938" y="1230"/>
                  </a:lnTo>
                  <a:lnTo>
                    <a:pt x="937" y="1229"/>
                  </a:lnTo>
                  <a:lnTo>
                    <a:pt x="936" y="1229"/>
                  </a:lnTo>
                  <a:lnTo>
                    <a:pt x="935" y="1229"/>
                  </a:lnTo>
                  <a:lnTo>
                    <a:pt x="933" y="1227"/>
                  </a:lnTo>
                  <a:lnTo>
                    <a:pt x="933" y="1223"/>
                  </a:lnTo>
                  <a:lnTo>
                    <a:pt x="928" y="1218"/>
                  </a:lnTo>
                  <a:lnTo>
                    <a:pt x="923" y="1217"/>
                  </a:lnTo>
                  <a:lnTo>
                    <a:pt x="919" y="1217"/>
                  </a:lnTo>
                  <a:lnTo>
                    <a:pt x="918" y="1215"/>
                  </a:lnTo>
                  <a:lnTo>
                    <a:pt x="917" y="1214"/>
                  </a:lnTo>
                  <a:lnTo>
                    <a:pt x="916" y="1213"/>
                  </a:lnTo>
                  <a:lnTo>
                    <a:pt x="916" y="1211"/>
                  </a:lnTo>
                  <a:lnTo>
                    <a:pt x="911" y="1211"/>
                  </a:lnTo>
                  <a:lnTo>
                    <a:pt x="907" y="1210"/>
                  </a:lnTo>
                  <a:lnTo>
                    <a:pt x="906" y="1210"/>
                  </a:lnTo>
                  <a:lnTo>
                    <a:pt x="904" y="1209"/>
                  </a:lnTo>
                  <a:lnTo>
                    <a:pt x="903" y="1207"/>
                  </a:lnTo>
                  <a:lnTo>
                    <a:pt x="903" y="1205"/>
                  </a:lnTo>
                  <a:lnTo>
                    <a:pt x="884" y="1205"/>
                  </a:lnTo>
                  <a:lnTo>
                    <a:pt x="884" y="1201"/>
                  </a:lnTo>
                  <a:lnTo>
                    <a:pt x="883" y="1200"/>
                  </a:lnTo>
                  <a:lnTo>
                    <a:pt x="881" y="1199"/>
                  </a:lnTo>
                  <a:lnTo>
                    <a:pt x="879" y="1199"/>
                  </a:lnTo>
                  <a:lnTo>
                    <a:pt x="877" y="1199"/>
                  </a:lnTo>
                  <a:lnTo>
                    <a:pt x="874" y="1198"/>
                  </a:lnTo>
                  <a:lnTo>
                    <a:pt x="873" y="1196"/>
                  </a:lnTo>
                  <a:lnTo>
                    <a:pt x="872" y="1193"/>
                  </a:lnTo>
                  <a:lnTo>
                    <a:pt x="868" y="1193"/>
                  </a:lnTo>
                  <a:lnTo>
                    <a:pt x="864" y="1192"/>
                  </a:lnTo>
                  <a:lnTo>
                    <a:pt x="862" y="1191"/>
                  </a:lnTo>
                  <a:lnTo>
                    <a:pt x="861" y="1190"/>
                  </a:lnTo>
                  <a:lnTo>
                    <a:pt x="861" y="1189"/>
                  </a:lnTo>
                  <a:lnTo>
                    <a:pt x="860" y="1186"/>
                  </a:lnTo>
                  <a:lnTo>
                    <a:pt x="845" y="1185"/>
                  </a:lnTo>
                  <a:lnTo>
                    <a:pt x="825" y="1183"/>
                  </a:lnTo>
                  <a:lnTo>
                    <a:pt x="815" y="1181"/>
                  </a:lnTo>
                  <a:lnTo>
                    <a:pt x="807" y="1179"/>
                  </a:lnTo>
                  <a:lnTo>
                    <a:pt x="802" y="1176"/>
                  </a:lnTo>
                  <a:lnTo>
                    <a:pt x="799" y="1174"/>
                  </a:lnTo>
                  <a:lnTo>
                    <a:pt x="795" y="1174"/>
                  </a:lnTo>
                  <a:lnTo>
                    <a:pt x="791" y="1174"/>
                  </a:lnTo>
                  <a:lnTo>
                    <a:pt x="789" y="1173"/>
                  </a:lnTo>
                  <a:lnTo>
                    <a:pt x="788" y="1172"/>
                  </a:lnTo>
                  <a:lnTo>
                    <a:pt x="787" y="1171"/>
                  </a:lnTo>
                  <a:lnTo>
                    <a:pt x="787" y="1169"/>
                  </a:lnTo>
                  <a:lnTo>
                    <a:pt x="778" y="1167"/>
                  </a:lnTo>
                  <a:lnTo>
                    <a:pt x="758" y="1166"/>
                  </a:lnTo>
                  <a:lnTo>
                    <a:pt x="730" y="1165"/>
                  </a:lnTo>
                  <a:lnTo>
                    <a:pt x="699" y="1164"/>
                  </a:lnTo>
                  <a:lnTo>
                    <a:pt x="669" y="1163"/>
                  </a:lnTo>
                  <a:lnTo>
                    <a:pt x="642" y="1163"/>
                  </a:lnTo>
                  <a:lnTo>
                    <a:pt x="632" y="1164"/>
                  </a:lnTo>
                  <a:lnTo>
                    <a:pt x="623" y="1165"/>
                  </a:lnTo>
                  <a:lnTo>
                    <a:pt x="619" y="1166"/>
                  </a:lnTo>
                  <a:lnTo>
                    <a:pt x="616" y="1169"/>
                  </a:lnTo>
                  <a:lnTo>
                    <a:pt x="574" y="1169"/>
                  </a:lnTo>
                  <a:lnTo>
                    <a:pt x="573" y="1171"/>
                  </a:lnTo>
                  <a:lnTo>
                    <a:pt x="572" y="1172"/>
                  </a:lnTo>
                  <a:lnTo>
                    <a:pt x="570" y="1173"/>
                  </a:lnTo>
                  <a:lnTo>
                    <a:pt x="567" y="1174"/>
                  </a:lnTo>
                  <a:lnTo>
                    <a:pt x="561" y="1174"/>
                  </a:lnTo>
                  <a:lnTo>
                    <a:pt x="555" y="1174"/>
                  </a:lnTo>
                  <a:lnTo>
                    <a:pt x="555" y="1178"/>
                  </a:lnTo>
                  <a:lnTo>
                    <a:pt x="555" y="1180"/>
                  </a:lnTo>
                  <a:lnTo>
                    <a:pt x="554" y="1181"/>
                  </a:lnTo>
                  <a:lnTo>
                    <a:pt x="553" y="1181"/>
                  </a:lnTo>
                  <a:lnTo>
                    <a:pt x="552" y="1181"/>
                  </a:lnTo>
                  <a:lnTo>
                    <a:pt x="551" y="1181"/>
                  </a:lnTo>
                  <a:lnTo>
                    <a:pt x="549" y="1183"/>
                  </a:lnTo>
                  <a:lnTo>
                    <a:pt x="549" y="1186"/>
                  </a:lnTo>
                  <a:lnTo>
                    <a:pt x="544" y="1193"/>
                  </a:lnTo>
                  <a:lnTo>
                    <a:pt x="532" y="1193"/>
                  </a:lnTo>
                  <a:lnTo>
                    <a:pt x="532" y="1205"/>
                  </a:lnTo>
                  <a:lnTo>
                    <a:pt x="530" y="1225"/>
                  </a:lnTo>
                  <a:lnTo>
                    <a:pt x="529" y="1236"/>
                  </a:lnTo>
                  <a:lnTo>
                    <a:pt x="528" y="1246"/>
                  </a:lnTo>
                  <a:lnTo>
                    <a:pt x="527" y="1251"/>
                  </a:lnTo>
                  <a:lnTo>
                    <a:pt x="525" y="1253"/>
                  </a:lnTo>
                  <a:lnTo>
                    <a:pt x="525" y="1262"/>
                  </a:lnTo>
                  <a:lnTo>
                    <a:pt x="525" y="1272"/>
                  </a:lnTo>
                  <a:lnTo>
                    <a:pt x="519" y="1278"/>
                  </a:lnTo>
                  <a:lnTo>
                    <a:pt x="513" y="1285"/>
                  </a:lnTo>
                  <a:lnTo>
                    <a:pt x="508" y="1285"/>
                  </a:lnTo>
                  <a:lnTo>
                    <a:pt x="505" y="1285"/>
                  </a:lnTo>
                  <a:lnTo>
                    <a:pt x="503" y="1286"/>
                  </a:lnTo>
                  <a:lnTo>
                    <a:pt x="501" y="1287"/>
                  </a:lnTo>
                  <a:lnTo>
                    <a:pt x="501" y="1288"/>
                  </a:lnTo>
                  <a:lnTo>
                    <a:pt x="500" y="1290"/>
                  </a:lnTo>
                  <a:lnTo>
                    <a:pt x="494" y="1291"/>
                  </a:lnTo>
                  <a:lnTo>
                    <a:pt x="484" y="1294"/>
                  </a:lnTo>
                  <a:lnTo>
                    <a:pt x="478" y="1296"/>
                  </a:lnTo>
                  <a:lnTo>
                    <a:pt x="475" y="1298"/>
                  </a:lnTo>
                  <a:lnTo>
                    <a:pt x="471" y="1300"/>
                  </a:lnTo>
                  <a:lnTo>
                    <a:pt x="470" y="1303"/>
                  </a:lnTo>
                  <a:lnTo>
                    <a:pt x="459" y="1306"/>
                  </a:lnTo>
                  <a:lnTo>
                    <a:pt x="440" y="1315"/>
                  </a:lnTo>
                  <a:lnTo>
                    <a:pt x="423" y="1323"/>
                  </a:lnTo>
                  <a:lnTo>
                    <a:pt x="415" y="1327"/>
                  </a:lnTo>
                  <a:lnTo>
                    <a:pt x="409" y="1327"/>
                  </a:lnTo>
                  <a:lnTo>
                    <a:pt x="401" y="1327"/>
                  </a:lnTo>
                  <a:lnTo>
                    <a:pt x="398" y="1328"/>
                  </a:lnTo>
                  <a:lnTo>
                    <a:pt x="394" y="1329"/>
                  </a:lnTo>
                  <a:lnTo>
                    <a:pt x="392" y="1330"/>
                  </a:lnTo>
                  <a:lnTo>
                    <a:pt x="391" y="1333"/>
                  </a:lnTo>
                  <a:lnTo>
                    <a:pt x="383" y="1333"/>
                  </a:lnTo>
                  <a:lnTo>
                    <a:pt x="373" y="1334"/>
                  </a:lnTo>
                  <a:lnTo>
                    <a:pt x="369" y="1335"/>
                  </a:lnTo>
                  <a:lnTo>
                    <a:pt x="364" y="1336"/>
                  </a:lnTo>
                  <a:lnTo>
                    <a:pt x="362" y="1337"/>
                  </a:lnTo>
                  <a:lnTo>
                    <a:pt x="361" y="1339"/>
                  </a:lnTo>
                  <a:lnTo>
                    <a:pt x="356" y="1339"/>
                  </a:lnTo>
                  <a:lnTo>
                    <a:pt x="352" y="1339"/>
                  </a:lnTo>
                  <a:lnTo>
                    <a:pt x="351" y="1340"/>
                  </a:lnTo>
                  <a:lnTo>
                    <a:pt x="350" y="1342"/>
                  </a:lnTo>
                  <a:lnTo>
                    <a:pt x="348" y="1343"/>
                  </a:lnTo>
                  <a:lnTo>
                    <a:pt x="348" y="1345"/>
                  </a:lnTo>
                  <a:lnTo>
                    <a:pt x="336" y="1345"/>
                  </a:lnTo>
                  <a:lnTo>
                    <a:pt x="336" y="1348"/>
                  </a:lnTo>
                  <a:lnTo>
                    <a:pt x="335" y="1350"/>
                  </a:lnTo>
                  <a:lnTo>
                    <a:pt x="334" y="1352"/>
                  </a:lnTo>
                  <a:lnTo>
                    <a:pt x="333" y="1352"/>
                  </a:lnTo>
                  <a:lnTo>
                    <a:pt x="332" y="1352"/>
                  </a:lnTo>
                  <a:lnTo>
                    <a:pt x="331" y="1352"/>
                  </a:lnTo>
                  <a:lnTo>
                    <a:pt x="331" y="1354"/>
                  </a:lnTo>
                  <a:lnTo>
                    <a:pt x="330" y="1357"/>
                  </a:lnTo>
                  <a:lnTo>
                    <a:pt x="324" y="1364"/>
                  </a:lnTo>
                  <a:lnTo>
                    <a:pt x="318" y="1369"/>
                  </a:lnTo>
                  <a:lnTo>
                    <a:pt x="312" y="1369"/>
                  </a:lnTo>
                  <a:lnTo>
                    <a:pt x="304" y="1371"/>
                  </a:lnTo>
                  <a:lnTo>
                    <a:pt x="299" y="1371"/>
                  </a:lnTo>
                  <a:lnTo>
                    <a:pt x="296" y="1372"/>
                  </a:lnTo>
                  <a:lnTo>
                    <a:pt x="294" y="1374"/>
                  </a:lnTo>
                  <a:lnTo>
                    <a:pt x="294" y="1375"/>
                  </a:lnTo>
                  <a:lnTo>
                    <a:pt x="274" y="1375"/>
                  </a:lnTo>
                  <a:lnTo>
                    <a:pt x="242" y="1374"/>
                  </a:lnTo>
                  <a:lnTo>
                    <a:pt x="202" y="1373"/>
                  </a:lnTo>
                  <a:lnTo>
                    <a:pt x="159" y="1371"/>
                  </a:lnTo>
                  <a:lnTo>
                    <a:pt x="159" y="1371"/>
                  </a:lnTo>
                  <a:lnTo>
                    <a:pt x="158" y="1371"/>
                  </a:lnTo>
                  <a:lnTo>
                    <a:pt x="151" y="1364"/>
                  </a:lnTo>
                  <a:lnTo>
                    <a:pt x="139" y="1357"/>
                  </a:lnTo>
                  <a:lnTo>
                    <a:pt x="139" y="1344"/>
                  </a:lnTo>
                  <a:lnTo>
                    <a:pt x="134" y="1344"/>
                  </a:lnTo>
                  <a:lnTo>
                    <a:pt x="132" y="1343"/>
                  </a:lnTo>
                  <a:lnTo>
                    <a:pt x="132" y="1342"/>
                  </a:lnTo>
                  <a:lnTo>
                    <a:pt x="132" y="1340"/>
                  </a:lnTo>
                  <a:lnTo>
                    <a:pt x="132" y="1339"/>
                  </a:lnTo>
                  <a:lnTo>
                    <a:pt x="131" y="1338"/>
                  </a:lnTo>
                  <a:lnTo>
                    <a:pt x="129" y="1338"/>
                  </a:lnTo>
                  <a:lnTo>
                    <a:pt x="125" y="1337"/>
                  </a:lnTo>
                  <a:lnTo>
                    <a:pt x="125" y="1325"/>
                  </a:lnTo>
                  <a:lnTo>
                    <a:pt x="121" y="1324"/>
                  </a:lnTo>
                  <a:lnTo>
                    <a:pt x="117" y="1321"/>
                  </a:lnTo>
                  <a:lnTo>
                    <a:pt x="113" y="1319"/>
                  </a:lnTo>
                  <a:lnTo>
                    <a:pt x="110" y="1315"/>
                  </a:lnTo>
                  <a:lnTo>
                    <a:pt x="102" y="1306"/>
                  </a:lnTo>
                  <a:lnTo>
                    <a:pt x="94" y="1295"/>
                  </a:lnTo>
                  <a:lnTo>
                    <a:pt x="87" y="1285"/>
                  </a:lnTo>
                  <a:lnTo>
                    <a:pt x="81" y="1275"/>
                  </a:lnTo>
                  <a:lnTo>
                    <a:pt x="76" y="1268"/>
                  </a:lnTo>
                  <a:lnTo>
                    <a:pt x="73" y="1266"/>
                  </a:lnTo>
                  <a:lnTo>
                    <a:pt x="73" y="1252"/>
                  </a:lnTo>
                  <a:lnTo>
                    <a:pt x="71" y="1252"/>
                  </a:lnTo>
                  <a:lnTo>
                    <a:pt x="68" y="1251"/>
                  </a:lnTo>
                  <a:lnTo>
                    <a:pt x="67" y="1250"/>
                  </a:lnTo>
                  <a:lnTo>
                    <a:pt x="67" y="1248"/>
                  </a:lnTo>
                  <a:lnTo>
                    <a:pt x="66" y="1244"/>
                  </a:lnTo>
                  <a:lnTo>
                    <a:pt x="66" y="1239"/>
                  </a:lnTo>
                  <a:lnTo>
                    <a:pt x="64" y="1239"/>
                  </a:lnTo>
                  <a:lnTo>
                    <a:pt x="62" y="1238"/>
                  </a:lnTo>
                  <a:lnTo>
                    <a:pt x="60" y="1236"/>
                  </a:lnTo>
                  <a:lnTo>
                    <a:pt x="59" y="1233"/>
                  </a:lnTo>
                  <a:lnTo>
                    <a:pt x="58" y="1227"/>
                  </a:lnTo>
                  <a:lnTo>
                    <a:pt x="58" y="1219"/>
                  </a:lnTo>
                  <a:lnTo>
                    <a:pt x="58" y="1203"/>
                  </a:lnTo>
                  <a:lnTo>
                    <a:pt x="59" y="1193"/>
                  </a:lnTo>
                  <a:lnTo>
                    <a:pt x="58" y="1189"/>
                  </a:lnTo>
                  <a:lnTo>
                    <a:pt x="56" y="1182"/>
                  </a:lnTo>
                  <a:lnTo>
                    <a:pt x="53" y="1176"/>
                  </a:lnTo>
                  <a:lnTo>
                    <a:pt x="49" y="1170"/>
                  </a:lnTo>
                  <a:lnTo>
                    <a:pt x="46" y="1163"/>
                  </a:lnTo>
                  <a:lnTo>
                    <a:pt x="43" y="1155"/>
                  </a:lnTo>
                  <a:lnTo>
                    <a:pt x="40" y="1148"/>
                  </a:lnTo>
                  <a:lnTo>
                    <a:pt x="39" y="1141"/>
                  </a:lnTo>
                  <a:lnTo>
                    <a:pt x="37" y="1140"/>
                  </a:lnTo>
                  <a:lnTo>
                    <a:pt x="34" y="1136"/>
                  </a:lnTo>
                  <a:lnTo>
                    <a:pt x="30" y="1131"/>
                  </a:lnTo>
                  <a:lnTo>
                    <a:pt x="27" y="1124"/>
                  </a:lnTo>
                  <a:lnTo>
                    <a:pt x="23" y="1111"/>
                  </a:lnTo>
                  <a:lnTo>
                    <a:pt x="20" y="1102"/>
                  </a:lnTo>
                  <a:lnTo>
                    <a:pt x="17" y="1100"/>
                  </a:lnTo>
                  <a:lnTo>
                    <a:pt x="14" y="1098"/>
                  </a:lnTo>
                  <a:lnTo>
                    <a:pt x="11" y="1094"/>
                  </a:lnTo>
                  <a:lnTo>
                    <a:pt x="9" y="1089"/>
                  </a:lnTo>
                  <a:lnTo>
                    <a:pt x="5" y="1076"/>
                  </a:lnTo>
                  <a:lnTo>
                    <a:pt x="2" y="1060"/>
                  </a:lnTo>
                  <a:lnTo>
                    <a:pt x="0" y="1027"/>
                  </a:lnTo>
                  <a:lnTo>
                    <a:pt x="0" y="1003"/>
                  </a:lnTo>
                  <a:lnTo>
                    <a:pt x="5" y="1002"/>
                  </a:lnTo>
                  <a:lnTo>
                    <a:pt x="6" y="1000"/>
                  </a:lnTo>
                  <a:lnTo>
                    <a:pt x="7" y="997"/>
                  </a:lnTo>
                  <a:lnTo>
                    <a:pt x="7" y="993"/>
                  </a:lnTo>
                  <a:lnTo>
                    <a:pt x="7" y="990"/>
                  </a:lnTo>
                  <a:lnTo>
                    <a:pt x="8" y="987"/>
                  </a:lnTo>
                  <a:lnTo>
                    <a:pt x="10" y="984"/>
                  </a:lnTo>
                  <a:lnTo>
                    <a:pt x="14" y="983"/>
                  </a:lnTo>
                  <a:lnTo>
                    <a:pt x="14" y="964"/>
                  </a:lnTo>
                  <a:lnTo>
                    <a:pt x="20" y="958"/>
                  </a:lnTo>
                  <a:lnTo>
                    <a:pt x="27" y="951"/>
                  </a:lnTo>
                  <a:lnTo>
                    <a:pt x="47" y="951"/>
                  </a:lnTo>
                  <a:lnTo>
                    <a:pt x="69" y="951"/>
                  </a:lnTo>
                  <a:lnTo>
                    <a:pt x="91" y="951"/>
                  </a:lnTo>
                  <a:lnTo>
                    <a:pt x="112" y="951"/>
                  </a:lnTo>
                  <a:lnTo>
                    <a:pt x="113" y="948"/>
                  </a:lnTo>
                  <a:lnTo>
                    <a:pt x="115" y="945"/>
                  </a:lnTo>
                  <a:lnTo>
                    <a:pt x="119" y="944"/>
                  </a:lnTo>
                  <a:lnTo>
                    <a:pt x="122" y="944"/>
                  </a:lnTo>
                  <a:lnTo>
                    <a:pt x="125" y="944"/>
                  </a:lnTo>
                  <a:lnTo>
                    <a:pt x="129" y="943"/>
                  </a:lnTo>
                  <a:lnTo>
                    <a:pt x="131" y="942"/>
                  </a:lnTo>
                  <a:lnTo>
                    <a:pt x="132" y="938"/>
                  </a:lnTo>
                  <a:lnTo>
                    <a:pt x="164" y="938"/>
                  </a:lnTo>
                  <a:lnTo>
                    <a:pt x="178" y="931"/>
                  </a:lnTo>
                  <a:lnTo>
                    <a:pt x="199" y="916"/>
                  </a:lnTo>
                  <a:lnTo>
                    <a:pt x="247" y="882"/>
                  </a:lnTo>
                  <a:lnTo>
                    <a:pt x="296" y="848"/>
                  </a:lnTo>
                  <a:lnTo>
                    <a:pt x="322" y="833"/>
                  </a:lnTo>
                  <a:lnTo>
                    <a:pt x="335" y="817"/>
                  </a:lnTo>
                  <a:lnTo>
                    <a:pt x="347" y="800"/>
                  </a:lnTo>
                  <a:lnTo>
                    <a:pt x="361" y="794"/>
                  </a:lnTo>
                  <a:lnTo>
                    <a:pt x="374" y="787"/>
                  </a:lnTo>
                  <a:lnTo>
                    <a:pt x="374" y="784"/>
                  </a:lnTo>
                  <a:lnTo>
                    <a:pt x="375" y="781"/>
                  </a:lnTo>
                  <a:lnTo>
                    <a:pt x="376" y="780"/>
                  </a:lnTo>
                  <a:lnTo>
                    <a:pt x="378" y="780"/>
                  </a:lnTo>
                  <a:lnTo>
                    <a:pt x="379" y="780"/>
                  </a:lnTo>
                  <a:lnTo>
                    <a:pt x="380" y="780"/>
                  </a:lnTo>
                  <a:lnTo>
                    <a:pt x="381" y="778"/>
                  </a:lnTo>
                  <a:lnTo>
                    <a:pt x="381" y="773"/>
                  </a:lnTo>
                  <a:lnTo>
                    <a:pt x="394" y="773"/>
                  </a:lnTo>
                  <a:lnTo>
                    <a:pt x="394" y="771"/>
                  </a:lnTo>
                  <a:lnTo>
                    <a:pt x="395" y="770"/>
                  </a:lnTo>
                  <a:lnTo>
                    <a:pt x="396" y="769"/>
                  </a:lnTo>
                  <a:lnTo>
                    <a:pt x="398" y="768"/>
                  </a:lnTo>
                  <a:lnTo>
                    <a:pt x="402" y="768"/>
                  </a:lnTo>
                  <a:lnTo>
                    <a:pt x="407" y="767"/>
                  </a:lnTo>
                  <a:lnTo>
                    <a:pt x="408" y="763"/>
                  </a:lnTo>
                  <a:lnTo>
                    <a:pt x="408" y="761"/>
                  </a:lnTo>
                  <a:lnTo>
                    <a:pt x="409" y="761"/>
                  </a:lnTo>
                  <a:lnTo>
                    <a:pt x="410" y="761"/>
                  </a:lnTo>
                  <a:lnTo>
                    <a:pt x="411" y="761"/>
                  </a:lnTo>
                  <a:lnTo>
                    <a:pt x="412" y="760"/>
                  </a:lnTo>
                  <a:lnTo>
                    <a:pt x="413" y="758"/>
                  </a:lnTo>
                  <a:lnTo>
                    <a:pt x="413" y="755"/>
                  </a:lnTo>
                  <a:lnTo>
                    <a:pt x="429" y="756"/>
                  </a:lnTo>
                  <a:lnTo>
                    <a:pt x="451" y="759"/>
                  </a:lnTo>
                  <a:lnTo>
                    <a:pt x="461" y="762"/>
                  </a:lnTo>
                  <a:lnTo>
                    <a:pt x="470" y="766"/>
                  </a:lnTo>
                  <a:lnTo>
                    <a:pt x="474" y="767"/>
                  </a:lnTo>
                  <a:lnTo>
                    <a:pt x="477" y="769"/>
                  </a:lnTo>
                  <a:lnTo>
                    <a:pt x="478" y="771"/>
                  </a:lnTo>
                  <a:lnTo>
                    <a:pt x="479" y="773"/>
                  </a:lnTo>
                  <a:lnTo>
                    <a:pt x="492" y="773"/>
                  </a:lnTo>
                  <a:lnTo>
                    <a:pt x="501" y="761"/>
                  </a:lnTo>
                  <a:lnTo>
                    <a:pt x="511" y="748"/>
                  </a:lnTo>
                  <a:lnTo>
                    <a:pt x="517" y="747"/>
                  </a:lnTo>
                  <a:lnTo>
                    <a:pt x="520" y="743"/>
                  </a:lnTo>
                  <a:lnTo>
                    <a:pt x="524" y="739"/>
                  </a:lnTo>
                  <a:lnTo>
                    <a:pt x="525" y="734"/>
                  </a:lnTo>
                  <a:lnTo>
                    <a:pt x="538" y="734"/>
                  </a:lnTo>
                  <a:lnTo>
                    <a:pt x="539" y="732"/>
                  </a:lnTo>
                  <a:lnTo>
                    <a:pt x="542" y="731"/>
                  </a:lnTo>
                  <a:lnTo>
                    <a:pt x="547" y="730"/>
                  </a:lnTo>
                  <a:lnTo>
                    <a:pt x="553" y="729"/>
                  </a:lnTo>
                  <a:lnTo>
                    <a:pt x="570" y="730"/>
                  </a:lnTo>
                  <a:lnTo>
                    <a:pt x="587" y="731"/>
                  </a:lnTo>
                  <a:lnTo>
                    <a:pt x="605" y="734"/>
                  </a:lnTo>
                  <a:lnTo>
                    <a:pt x="621" y="738"/>
                  </a:lnTo>
                  <a:lnTo>
                    <a:pt x="628" y="740"/>
                  </a:lnTo>
                  <a:lnTo>
                    <a:pt x="632" y="743"/>
                  </a:lnTo>
                  <a:lnTo>
                    <a:pt x="635" y="746"/>
                  </a:lnTo>
                  <a:lnTo>
                    <a:pt x="636" y="748"/>
                  </a:lnTo>
                  <a:lnTo>
                    <a:pt x="655" y="748"/>
                  </a:lnTo>
                  <a:lnTo>
                    <a:pt x="659" y="751"/>
                  </a:lnTo>
                  <a:lnTo>
                    <a:pt x="662" y="755"/>
                  </a:lnTo>
                  <a:lnTo>
                    <a:pt x="666" y="758"/>
                  </a:lnTo>
                  <a:lnTo>
                    <a:pt x="670" y="760"/>
                  </a:lnTo>
                  <a:lnTo>
                    <a:pt x="680" y="765"/>
                  </a:lnTo>
                  <a:lnTo>
                    <a:pt x="691" y="768"/>
                  </a:lnTo>
                  <a:lnTo>
                    <a:pt x="703" y="771"/>
                  </a:lnTo>
                  <a:lnTo>
                    <a:pt x="718" y="773"/>
                  </a:lnTo>
                  <a:lnTo>
                    <a:pt x="733" y="775"/>
                  </a:lnTo>
                  <a:lnTo>
                    <a:pt x="747" y="776"/>
                  </a:lnTo>
                  <a:lnTo>
                    <a:pt x="777" y="776"/>
                  </a:lnTo>
                  <a:lnTo>
                    <a:pt x="806" y="776"/>
                  </a:lnTo>
                  <a:lnTo>
                    <a:pt x="832" y="775"/>
                  </a:lnTo>
                  <a:lnTo>
                    <a:pt x="853" y="773"/>
                  </a:lnTo>
                  <a:lnTo>
                    <a:pt x="853" y="771"/>
                  </a:lnTo>
                  <a:lnTo>
                    <a:pt x="854" y="770"/>
                  </a:lnTo>
                  <a:lnTo>
                    <a:pt x="855" y="769"/>
                  </a:lnTo>
                  <a:lnTo>
                    <a:pt x="856" y="768"/>
                  </a:lnTo>
                  <a:lnTo>
                    <a:pt x="861" y="768"/>
                  </a:lnTo>
                  <a:lnTo>
                    <a:pt x="865" y="767"/>
                  </a:lnTo>
                  <a:lnTo>
                    <a:pt x="866" y="766"/>
                  </a:lnTo>
                  <a:lnTo>
                    <a:pt x="866" y="763"/>
                  </a:lnTo>
                  <a:lnTo>
                    <a:pt x="868" y="762"/>
                  </a:lnTo>
                  <a:lnTo>
                    <a:pt x="870" y="761"/>
                  </a:lnTo>
                  <a:lnTo>
                    <a:pt x="874" y="761"/>
                  </a:lnTo>
                  <a:lnTo>
                    <a:pt x="879" y="761"/>
                  </a:lnTo>
                  <a:lnTo>
                    <a:pt x="885" y="755"/>
                  </a:lnTo>
                  <a:lnTo>
                    <a:pt x="892" y="748"/>
                  </a:lnTo>
                  <a:lnTo>
                    <a:pt x="892" y="728"/>
                  </a:lnTo>
                  <a:lnTo>
                    <a:pt x="892" y="705"/>
                  </a:lnTo>
                  <a:lnTo>
                    <a:pt x="892" y="682"/>
                  </a:lnTo>
                  <a:lnTo>
                    <a:pt x="892" y="659"/>
                  </a:lnTo>
                  <a:lnTo>
                    <a:pt x="892" y="634"/>
                  </a:lnTo>
                  <a:lnTo>
                    <a:pt x="892" y="611"/>
                  </a:lnTo>
                  <a:lnTo>
                    <a:pt x="892" y="587"/>
                  </a:lnTo>
                  <a:lnTo>
                    <a:pt x="892" y="564"/>
                  </a:lnTo>
                  <a:lnTo>
                    <a:pt x="893" y="564"/>
                  </a:lnTo>
                  <a:lnTo>
                    <a:pt x="895" y="560"/>
                  </a:lnTo>
                  <a:lnTo>
                    <a:pt x="897" y="557"/>
                  </a:lnTo>
                  <a:lnTo>
                    <a:pt x="898" y="551"/>
                  </a:lnTo>
                  <a:lnTo>
                    <a:pt x="901" y="536"/>
                  </a:lnTo>
                  <a:lnTo>
                    <a:pt x="903" y="518"/>
                  </a:lnTo>
                  <a:lnTo>
                    <a:pt x="907" y="473"/>
                  </a:lnTo>
                  <a:lnTo>
                    <a:pt x="910" y="426"/>
                  </a:lnTo>
                  <a:lnTo>
                    <a:pt x="914" y="423"/>
                  </a:lnTo>
                  <a:lnTo>
                    <a:pt x="918" y="420"/>
                  </a:lnTo>
                  <a:lnTo>
                    <a:pt x="925" y="419"/>
                  </a:lnTo>
                  <a:lnTo>
                    <a:pt x="933" y="416"/>
                  </a:lnTo>
                  <a:lnTo>
                    <a:pt x="938" y="414"/>
                  </a:lnTo>
                  <a:lnTo>
                    <a:pt x="941" y="412"/>
                  </a:lnTo>
                  <a:lnTo>
                    <a:pt x="943" y="410"/>
                  </a:lnTo>
                  <a:lnTo>
                    <a:pt x="945" y="407"/>
                  </a:lnTo>
                  <a:lnTo>
                    <a:pt x="950" y="406"/>
                  </a:lnTo>
                  <a:lnTo>
                    <a:pt x="957" y="406"/>
                  </a:lnTo>
                  <a:lnTo>
                    <a:pt x="959" y="405"/>
                  </a:lnTo>
                  <a:lnTo>
                    <a:pt x="961" y="404"/>
                  </a:lnTo>
                  <a:lnTo>
                    <a:pt x="964" y="403"/>
                  </a:lnTo>
                  <a:lnTo>
                    <a:pt x="964" y="401"/>
                  </a:lnTo>
                  <a:lnTo>
                    <a:pt x="977" y="401"/>
                  </a:lnTo>
                  <a:lnTo>
                    <a:pt x="978" y="398"/>
                  </a:lnTo>
                  <a:lnTo>
                    <a:pt x="979" y="396"/>
                  </a:lnTo>
                  <a:lnTo>
                    <a:pt x="981" y="395"/>
                  </a:lnTo>
                  <a:lnTo>
                    <a:pt x="984" y="393"/>
                  </a:lnTo>
                  <a:lnTo>
                    <a:pt x="986" y="391"/>
                  </a:lnTo>
                  <a:lnTo>
                    <a:pt x="988" y="388"/>
                  </a:lnTo>
                  <a:lnTo>
                    <a:pt x="989" y="385"/>
                  </a:lnTo>
                  <a:lnTo>
                    <a:pt x="990" y="381"/>
                  </a:lnTo>
                  <a:lnTo>
                    <a:pt x="1004" y="381"/>
                  </a:lnTo>
                  <a:lnTo>
                    <a:pt x="1008" y="376"/>
                  </a:lnTo>
                  <a:lnTo>
                    <a:pt x="1013" y="372"/>
                  </a:lnTo>
                  <a:lnTo>
                    <a:pt x="1018" y="368"/>
                  </a:lnTo>
                  <a:lnTo>
                    <a:pt x="1023" y="367"/>
                  </a:lnTo>
                  <a:lnTo>
                    <a:pt x="1026" y="357"/>
                  </a:lnTo>
                  <a:lnTo>
                    <a:pt x="1029" y="348"/>
                  </a:lnTo>
                  <a:lnTo>
                    <a:pt x="1043" y="342"/>
                  </a:lnTo>
                  <a:lnTo>
                    <a:pt x="1044" y="336"/>
                  </a:lnTo>
                  <a:lnTo>
                    <a:pt x="1047" y="329"/>
                  </a:lnTo>
                  <a:lnTo>
                    <a:pt x="1048" y="326"/>
                  </a:lnTo>
                  <a:lnTo>
                    <a:pt x="1051" y="324"/>
                  </a:lnTo>
                  <a:lnTo>
                    <a:pt x="1053" y="323"/>
                  </a:lnTo>
                  <a:lnTo>
                    <a:pt x="1056" y="321"/>
                  </a:lnTo>
                  <a:lnTo>
                    <a:pt x="1058" y="316"/>
                  </a:lnTo>
                  <a:lnTo>
                    <a:pt x="1063" y="308"/>
                  </a:lnTo>
                  <a:lnTo>
                    <a:pt x="1070" y="301"/>
                  </a:lnTo>
                  <a:lnTo>
                    <a:pt x="1075" y="296"/>
                  </a:lnTo>
                  <a:lnTo>
                    <a:pt x="1075" y="282"/>
                  </a:lnTo>
                  <a:lnTo>
                    <a:pt x="1082" y="276"/>
                  </a:lnTo>
                  <a:lnTo>
                    <a:pt x="1089" y="269"/>
                  </a:lnTo>
                  <a:lnTo>
                    <a:pt x="1102" y="269"/>
                  </a:lnTo>
                  <a:lnTo>
                    <a:pt x="1109" y="256"/>
                  </a:lnTo>
                  <a:lnTo>
                    <a:pt x="1115" y="255"/>
                  </a:lnTo>
                  <a:lnTo>
                    <a:pt x="1124" y="252"/>
                  </a:lnTo>
                  <a:lnTo>
                    <a:pt x="1135" y="248"/>
                  </a:lnTo>
                  <a:lnTo>
                    <a:pt x="1147" y="242"/>
                  </a:lnTo>
                  <a:lnTo>
                    <a:pt x="1168" y="231"/>
                  </a:lnTo>
                  <a:lnTo>
                    <a:pt x="1180" y="223"/>
                  </a:lnTo>
                  <a:lnTo>
                    <a:pt x="1188" y="223"/>
                  </a:lnTo>
                  <a:lnTo>
                    <a:pt x="1199" y="222"/>
                  </a:lnTo>
                  <a:lnTo>
                    <a:pt x="1205" y="222"/>
                  </a:lnTo>
                  <a:lnTo>
                    <a:pt x="1209" y="221"/>
                  </a:lnTo>
                  <a:lnTo>
                    <a:pt x="1213" y="219"/>
                  </a:lnTo>
                  <a:lnTo>
                    <a:pt x="1214" y="217"/>
                  </a:lnTo>
                  <a:lnTo>
                    <a:pt x="1226" y="217"/>
                  </a:lnTo>
                  <a:lnTo>
                    <a:pt x="1248" y="218"/>
                  </a:lnTo>
                  <a:lnTo>
                    <a:pt x="1259" y="219"/>
                  </a:lnTo>
                  <a:lnTo>
                    <a:pt x="1269" y="220"/>
                  </a:lnTo>
                  <a:lnTo>
                    <a:pt x="1276" y="221"/>
                  </a:lnTo>
                  <a:lnTo>
                    <a:pt x="1278" y="223"/>
                  </a:lnTo>
                  <a:lnTo>
                    <a:pt x="1307" y="224"/>
                  </a:lnTo>
                  <a:lnTo>
                    <a:pt x="1352" y="224"/>
                  </a:lnTo>
                  <a:lnTo>
                    <a:pt x="1373" y="223"/>
                  </a:lnTo>
                  <a:lnTo>
                    <a:pt x="1392" y="221"/>
                  </a:lnTo>
                  <a:lnTo>
                    <a:pt x="1399" y="219"/>
                  </a:lnTo>
                  <a:lnTo>
                    <a:pt x="1405" y="217"/>
                  </a:lnTo>
                  <a:lnTo>
                    <a:pt x="1409" y="213"/>
                  </a:lnTo>
                  <a:lnTo>
                    <a:pt x="1410" y="210"/>
                  </a:lnTo>
                  <a:lnTo>
                    <a:pt x="1415" y="210"/>
                  </a:lnTo>
                  <a:lnTo>
                    <a:pt x="1419" y="210"/>
                  </a:lnTo>
                  <a:lnTo>
                    <a:pt x="1420" y="209"/>
                  </a:lnTo>
                  <a:lnTo>
                    <a:pt x="1421" y="208"/>
                  </a:lnTo>
                  <a:lnTo>
                    <a:pt x="1422" y="205"/>
                  </a:lnTo>
                  <a:lnTo>
                    <a:pt x="1422" y="203"/>
                  </a:lnTo>
                  <a:lnTo>
                    <a:pt x="1436" y="203"/>
                  </a:lnTo>
                  <a:lnTo>
                    <a:pt x="1442" y="198"/>
                  </a:lnTo>
                  <a:lnTo>
                    <a:pt x="1449" y="191"/>
                  </a:lnTo>
                  <a:lnTo>
                    <a:pt x="1447" y="162"/>
                  </a:lnTo>
                  <a:lnTo>
                    <a:pt x="1444" y="117"/>
                  </a:lnTo>
                  <a:lnTo>
                    <a:pt x="1441" y="96"/>
                  </a:lnTo>
                  <a:lnTo>
                    <a:pt x="1441" y="77"/>
                  </a:lnTo>
                  <a:lnTo>
                    <a:pt x="1440" y="70"/>
                  </a:lnTo>
                  <a:lnTo>
                    <a:pt x="1441" y="65"/>
                  </a:lnTo>
                  <a:lnTo>
                    <a:pt x="1441" y="60"/>
                  </a:lnTo>
                  <a:lnTo>
                    <a:pt x="1442" y="59"/>
                  </a:lnTo>
                  <a:lnTo>
                    <a:pt x="1442" y="47"/>
                  </a:lnTo>
                  <a:lnTo>
                    <a:pt x="1445" y="46"/>
                  </a:lnTo>
                  <a:lnTo>
                    <a:pt x="1447" y="45"/>
                  </a:lnTo>
                  <a:lnTo>
                    <a:pt x="1448" y="42"/>
                  </a:lnTo>
                  <a:lnTo>
                    <a:pt x="1450" y="40"/>
                  </a:lnTo>
                  <a:lnTo>
                    <a:pt x="1453" y="38"/>
                  </a:lnTo>
                  <a:lnTo>
                    <a:pt x="1455" y="36"/>
                  </a:lnTo>
                  <a:lnTo>
                    <a:pt x="1458" y="34"/>
                  </a:lnTo>
                  <a:lnTo>
                    <a:pt x="1463" y="34"/>
                  </a:lnTo>
                  <a:lnTo>
                    <a:pt x="1463" y="20"/>
                  </a:lnTo>
                  <a:lnTo>
                    <a:pt x="1466" y="19"/>
                  </a:lnTo>
                  <a:lnTo>
                    <a:pt x="1469" y="1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0" name="Freeform 46"/>
            <p:cNvSpPr>
              <a:spLocks noChangeAspect="1" noEditPoints="1"/>
            </p:cNvSpPr>
            <p:nvPr/>
          </p:nvSpPr>
          <p:spPr bwMode="gray">
            <a:xfrm rot="355651">
              <a:off x="6157200" y="2771775"/>
              <a:ext cx="197836" cy="242730"/>
            </a:xfrm>
            <a:custGeom>
              <a:avLst/>
              <a:gdLst/>
              <a:ahLst/>
              <a:cxnLst>
                <a:cxn ang="0">
                  <a:pos x="829" y="52"/>
                </a:cxn>
                <a:cxn ang="0">
                  <a:pos x="813" y="35"/>
                </a:cxn>
                <a:cxn ang="0">
                  <a:pos x="782" y="0"/>
                </a:cxn>
                <a:cxn ang="0">
                  <a:pos x="687" y="46"/>
                </a:cxn>
                <a:cxn ang="0">
                  <a:pos x="665" y="77"/>
                </a:cxn>
                <a:cxn ang="0">
                  <a:pos x="640" y="103"/>
                </a:cxn>
                <a:cxn ang="0">
                  <a:pos x="604" y="134"/>
                </a:cxn>
                <a:cxn ang="0">
                  <a:pos x="592" y="222"/>
                </a:cxn>
                <a:cxn ang="0">
                  <a:pos x="578" y="242"/>
                </a:cxn>
                <a:cxn ang="0">
                  <a:pos x="505" y="300"/>
                </a:cxn>
                <a:cxn ang="0">
                  <a:pos x="489" y="340"/>
                </a:cxn>
                <a:cxn ang="0">
                  <a:pos x="417" y="395"/>
                </a:cxn>
                <a:cxn ang="0">
                  <a:pos x="395" y="420"/>
                </a:cxn>
                <a:cxn ang="0">
                  <a:pos x="340" y="455"/>
                </a:cxn>
                <a:cxn ang="0">
                  <a:pos x="310" y="521"/>
                </a:cxn>
                <a:cxn ang="0">
                  <a:pos x="261" y="569"/>
                </a:cxn>
                <a:cxn ang="0">
                  <a:pos x="213" y="614"/>
                </a:cxn>
                <a:cxn ang="0">
                  <a:pos x="187" y="629"/>
                </a:cxn>
                <a:cxn ang="0">
                  <a:pos x="158" y="662"/>
                </a:cxn>
                <a:cxn ang="0">
                  <a:pos x="144" y="713"/>
                </a:cxn>
                <a:cxn ang="0">
                  <a:pos x="40" y="845"/>
                </a:cxn>
                <a:cxn ang="0">
                  <a:pos x="4" y="884"/>
                </a:cxn>
                <a:cxn ang="0">
                  <a:pos x="65" y="1007"/>
                </a:cxn>
                <a:cxn ang="0">
                  <a:pos x="189" y="1011"/>
                </a:cxn>
                <a:cxn ang="0">
                  <a:pos x="216" y="1037"/>
                </a:cxn>
                <a:cxn ang="0">
                  <a:pos x="257" y="1077"/>
                </a:cxn>
                <a:cxn ang="0">
                  <a:pos x="418" y="1052"/>
                </a:cxn>
                <a:cxn ang="0">
                  <a:pos x="456" y="1054"/>
                </a:cxn>
                <a:cxn ang="0">
                  <a:pos x="473" y="1102"/>
                </a:cxn>
                <a:cxn ang="0">
                  <a:pos x="493" y="1179"/>
                </a:cxn>
                <a:cxn ang="0">
                  <a:pos x="503" y="1203"/>
                </a:cxn>
                <a:cxn ang="0">
                  <a:pos x="534" y="1251"/>
                </a:cxn>
                <a:cxn ang="0">
                  <a:pos x="543" y="1280"/>
                </a:cxn>
                <a:cxn ang="0">
                  <a:pos x="593" y="1323"/>
                </a:cxn>
                <a:cxn ang="0">
                  <a:pos x="633" y="1365"/>
                </a:cxn>
                <a:cxn ang="0">
                  <a:pos x="708" y="1412"/>
                </a:cxn>
                <a:cxn ang="0">
                  <a:pos x="748" y="1425"/>
                </a:cxn>
                <a:cxn ang="0">
                  <a:pos x="790" y="1455"/>
                </a:cxn>
                <a:cxn ang="0">
                  <a:pos x="858" y="1487"/>
                </a:cxn>
                <a:cxn ang="0">
                  <a:pos x="986" y="1509"/>
                </a:cxn>
                <a:cxn ang="0">
                  <a:pos x="1079" y="1480"/>
                </a:cxn>
                <a:cxn ang="0">
                  <a:pos x="1035" y="1373"/>
                </a:cxn>
                <a:cxn ang="0">
                  <a:pos x="1021" y="1342"/>
                </a:cxn>
                <a:cxn ang="0">
                  <a:pos x="1007" y="1320"/>
                </a:cxn>
                <a:cxn ang="0">
                  <a:pos x="940" y="1246"/>
                </a:cxn>
                <a:cxn ang="0">
                  <a:pos x="929" y="1154"/>
                </a:cxn>
                <a:cxn ang="0">
                  <a:pos x="902" y="1114"/>
                </a:cxn>
                <a:cxn ang="0">
                  <a:pos x="838" y="1084"/>
                </a:cxn>
                <a:cxn ang="0">
                  <a:pos x="822" y="1012"/>
                </a:cxn>
                <a:cxn ang="0">
                  <a:pos x="880" y="952"/>
                </a:cxn>
                <a:cxn ang="0">
                  <a:pos x="877" y="877"/>
                </a:cxn>
                <a:cxn ang="0">
                  <a:pos x="861" y="815"/>
                </a:cxn>
                <a:cxn ang="0">
                  <a:pos x="857" y="721"/>
                </a:cxn>
                <a:cxn ang="0">
                  <a:pos x="919" y="642"/>
                </a:cxn>
                <a:cxn ang="0">
                  <a:pos x="966" y="606"/>
                </a:cxn>
                <a:cxn ang="0">
                  <a:pos x="1007" y="570"/>
                </a:cxn>
                <a:cxn ang="0">
                  <a:pos x="1025" y="451"/>
                </a:cxn>
                <a:cxn ang="0">
                  <a:pos x="1011" y="291"/>
                </a:cxn>
                <a:cxn ang="0">
                  <a:pos x="1025" y="240"/>
                </a:cxn>
                <a:cxn ang="0">
                  <a:pos x="1038" y="165"/>
                </a:cxn>
                <a:cxn ang="0">
                  <a:pos x="1042" y="79"/>
                </a:cxn>
              </a:cxnLst>
              <a:rect l="0" t="0" r="r" b="b"/>
              <a:pathLst>
                <a:path w="1115" h="1510">
                  <a:moveTo>
                    <a:pt x="1043" y="79"/>
                  </a:moveTo>
                  <a:lnTo>
                    <a:pt x="1016" y="78"/>
                  </a:lnTo>
                  <a:lnTo>
                    <a:pt x="988" y="76"/>
                  </a:lnTo>
                  <a:lnTo>
                    <a:pt x="962" y="73"/>
                  </a:lnTo>
                  <a:lnTo>
                    <a:pt x="940" y="71"/>
                  </a:lnTo>
                  <a:lnTo>
                    <a:pt x="838" y="71"/>
                  </a:lnTo>
                  <a:lnTo>
                    <a:pt x="838" y="56"/>
                  </a:lnTo>
                  <a:lnTo>
                    <a:pt x="834" y="56"/>
                  </a:lnTo>
                  <a:lnTo>
                    <a:pt x="831" y="55"/>
                  </a:lnTo>
                  <a:lnTo>
                    <a:pt x="829" y="52"/>
                  </a:lnTo>
                  <a:lnTo>
                    <a:pt x="827" y="51"/>
                  </a:lnTo>
                  <a:lnTo>
                    <a:pt x="824" y="48"/>
                  </a:lnTo>
                  <a:lnTo>
                    <a:pt x="823" y="46"/>
                  </a:lnTo>
                  <a:lnTo>
                    <a:pt x="822" y="42"/>
                  </a:lnTo>
                  <a:lnTo>
                    <a:pt x="822" y="40"/>
                  </a:lnTo>
                  <a:lnTo>
                    <a:pt x="816" y="40"/>
                  </a:lnTo>
                  <a:lnTo>
                    <a:pt x="814" y="39"/>
                  </a:lnTo>
                  <a:lnTo>
                    <a:pt x="814" y="38"/>
                  </a:lnTo>
                  <a:lnTo>
                    <a:pt x="813" y="36"/>
                  </a:lnTo>
                  <a:lnTo>
                    <a:pt x="813" y="35"/>
                  </a:lnTo>
                  <a:lnTo>
                    <a:pt x="813" y="34"/>
                  </a:lnTo>
                  <a:lnTo>
                    <a:pt x="810" y="32"/>
                  </a:lnTo>
                  <a:lnTo>
                    <a:pt x="805" y="32"/>
                  </a:lnTo>
                  <a:lnTo>
                    <a:pt x="805" y="17"/>
                  </a:lnTo>
                  <a:lnTo>
                    <a:pt x="799" y="15"/>
                  </a:lnTo>
                  <a:lnTo>
                    <a:pt x="791" y="11"/>
                  </a:lnTo>
                  <a:lnTo>
                    <a:pt x="787" y="9"/>
                  </a:lnTo>
                  <a:lnTo>
                    <a:pt x="784" y="7"/>
                  </a:lnTo>
                  <a:lnTo>
                    <a:pt x="783" y="3"/>
                  </a:lnTo>
                  <a:lnTo>
                    <a:pt x="782" y="0"/>
                  </a:lnTo>
                  <a:lnTo>
                    <a:pt x="718" y="0"/>
                  </a:lnTo>
                  <a:lnTo>
                    <a:pt x="710" y="8"/>
                  </a:lnTo>
                  <a:lnTo>
                    <a:pt x="703" y="17"/>
                  </a:lnTo>
                  <a:lnTo>
                    <a:pt x="695" y="25"/>
                  </a:lnTo>
                  <a:lnTo>
                    <a:pt x="695" y="40"/>
                  </a:lnTo>
                  <a:lnTo>
                    <a:pt x="690" y="40"/>
                  </a:lnTo>
                  <a:lnTo>
                    <a:pt x="688" y="41"/>
                  </a:lnTo>
                  <a:lnTo>
                    <a:pt x="687" y="42"/>
                  </a:lnTo>
                  <a:lnTo>
                    <a:pt x="687" y="44"/>
                  </a:lnTo>
                  <a:lnTo>
                    <a:pt x="687" y="46"/>
                  </a:lnTo>
                  <a:lnTo>
                    <a:pt x="686" y="47"/>
                  </a:lnTo>
                  <a:lnTo>
                    <a:pt x="684" y="48"/>
                  </a:lnTo>
                  <a:lnTo>
                    <a:pt x="679" y="48"/>
                  </a:lnTo>
                  <a:lnTo>
                    <a:pt x="679" y="64"/>
                  </a:lnTo>
                  <a:lnTo>
                    <a:pt x="677" y="65"/>
                  </a:lnTo>
                  <a:lnTo>
                    <a:pt x="675" y="66"/>
                  </a:lnTo>
                  <a:lnTo>
                    <a:pt x="672" y="69"/>
                  </a:lnTo>
                  <a:lnTo>
                    <a:pt x="670" y="71"/>
                  </a:lnTo>
                  <a:lnTo>
                    <a:pt x="668" y="75"/>
                  </a:lnTo>
                  <a:lnTo>
                    <a:pt x="665" y="77"/>
                  </a:lnTo>
                  <a:lnTo>
                    <a:pt x="661" y="79"/>
                  </a:lnTo>
                  <a:lnTo>
                    <a:pt x="656" y="79"/>
                  </a:lnTo>
                  <a:lnTo>
                    <a:pt x="655" y="85"/>
                  </a:lnTo>
                  <a:lnTo>
                    <a:pt x="654" y="89"/>
                  </a:lnTo>
                  <a:lnTo>
                    <a:pt x="650" y="92"/>
                  </a:lnTo>
                  <a:lnTo>
                    <a:pt x="648" y="94"/>
                  </a:lnTo>
                  <a:lnTo>
                    <a:pt x="645" y="96"/>
                  </a:lnTo>
                  <a:lnTo>
                    <a:pt x="642" y="98"/>
                  </a:lnTo>
                  <a:lnTo>
                    <a:pt x="640" y="100"/>
                  </a:lnTo>
                  <a:lnTo>
                    <a:pt x="640" y="103"/>
                  </a:lnTo>
                  <a:lnTo>
                    <a:pt x="624" y="103"/>
                  </a:lnTo>
                  <a:lnTo>
                    <a:pt x="616" y="112"/>
                  </a:lnTo>
                  <a:lnTo>
                    <a:pt x="616" y="127"/>
                  </a:lnTo>
                  <a:lnTo>
                    <a:pt x="611" y="127"/>
                  </a:lnTo>
                  <a:lnTo>
                    <a:pt x="609" y="128"/>
                  </a:lnTo>
                  <a:lnTo>
                    <a:pt x="608" y="129"/>
                  </a:lnTo>
                  <a:lnTo>
                    <a:pt x="608" y="131"/>
                  </a:lnTo>
                  <a:lnTo>
                    <a:pt x="608" y="133"/>
                  </a:lnTo>
                  <a:lnTo>
                    <a:pt x="607" y="134"/>
                  </a:lnTo>
                  <a:lnTo>
                    <a:pt x="604" y="134"/>
                  </a:lnTo>
                  <a:lnTo>
                    <a:pt x="600" y="135"/>
                  </a:lnTo>
                  <a:lnTo>
                    <a:pt x="600" y="166"/>
                  </a:lnTo>
                  <a:lnTo>
                    <a:pt x="599" y="167"/>
                  </a:lnTo>
                  <a:lnTo>
                    <a:pt x="598" y="169"/>
                  </a:lnTo>
                  <a:lnTo>
                    <a:pt x="597" y="171"/>
                  </a:lnTo>
                  <a:lnTo>
                    <a:pt x="595" y="174"/>
                  </a:lnTo>
                  <a:lnTo>
                    <a:pt x="594" y="182"/>
                  </a:lnTo>
                  <a:lnTo>
                    <a:pt x="593" y="191"/>
                  </a:lnTo>
                  <a:lnTo>
                    <a:pt x="592" y="210"/>
                  </a:lnTo>
                  <a:lnTo>
                    <a:pt x="592" y="222"/>
                  </a:lnTo>
                  <a:lnTo>
                    <a:pt x="590" y="222"/>
                  </a:lnTo>
                  <a:lnTo>
                    <a:pt x="588" y="223"/>
                  </a:lnTo>
                  <a:lnTo>
                    <a:pt x="587" y="224"/>
                  </a:lnTo>
                  <a:lnTo>
                    <a:pt x="585" y="227"/>
                  </a:lnTo>
                  <a:lnTo>
                    <a:pt x="584" y="232"/>
                  </a:lnTo>
                  <a:lnTo>
                    <a:pt x="584" y="238"/>
                  </a:lnTo>
                  <a:lnTo>
                    <a:pt x="582" y="238"/>
                  </a:lnTo>
                  <a:lnTo>
                    <a:pt x="580" y="239"/>
                  </a:lnTo>
                  <a:lnTo>
                    <a:pt x="579" y="240"/>
                  </a:lnTo>
                  <a:lnTo>
                    <a:pt x="578" y="242"/>
                  </a:lnTo>
                  <a:lnTo>
                    <a:pt x="576" y="248"/>
                  </a:lnTo>
                  <a:lnTo>
                    <a:pt x="576" y="253"/>
                  </a:lnTo>
                  <a:lnTo>
                    <a:pt x="561" y="253"/>
                  </a:lnTo>
                  <a:lnTo>
                    <a:pt x="553" y="261"/>
                  </a:lnTo>
                  <a:lnTo>
                    <a:pt x="545" y="269"/>
                  </a:lnTo>
                  <a:lnTo>
                    <a:pt x="545" y="285"/>
                  </a:lnTo>
                  <a:lnTo>
                    <a:pt x="533" y="285"/>
                  </a:lnTo>
                  <a:lnTo>
                    <a:pt x="521" y="285"/>
                  </a:lnTo>
                  <a:lnTo>
                    <a:pt x="513" y="292"/>
                  </a:lnTo>
                  <a:lnTo>
                    <a:pt x="505" y="300"/>
                  </a:lnTo>
                  <a:lnTo>
                    <a:pt x="505" y="313"/>
                  </a:lnTo>
                  <a:lnTo>
                    <a:pt x="505" y="325"/>
                  </a:lnTo>
                  <a:lnTo>
                    <a:pt x="503" y="325"/>
                  </a:lnTo>
                  <a:lnTo>
                    <a:pt x="499" y="326"/>
                  </a:lnTo>
                  <a:lnTo>
                    <a:pt x="497" y="327"/>
                  </a:lnTo>
                  <a:lnTo>
                    <a:pt x="495" y="329"/>
                  </a:lnTo>
                  <a:lnTo>
                    <a:pt x="493" y="331"/>
                  </a:lnTo>
                  <a:lnTo>
                    <a:pt x="491" y="335"/>
                  </a:lnTo>
                  <a:lnTo>
                    <a:pt x="489" y="337"/>
                  </a:lnTo>
                  <a:lnTo>
                    <a:pt x="489" y="340"/>
                  </a:lnTo>
                  <a:lnTo>
                    <a:pt x="482" y="348"/>
                  </a:lnTo>
                  <a:lnTo>
                    <a:pt x="469" y="353"/>
                  </a:lnTo>
                  <a:lnTo>
                    <a:pt x="458" y="356"/>
                  </a:lnTo>
                  <a:lnTo>
                    <a:pt x="450" y="364"/>
                  </a:lnTo>
                  <a:lnTo>
                    <a:pt x="448" y="367"/>
                  </a:lnTo>
                  <a:lnTo>
                    <a:pt x="444" y="373"/>
                  </a:lnTo>
                  <a:lnTo>
                    <a:pt x="437" y="378"/>
                  </a:lnTo>
                  <a:lnTo>
                    <a:pt x="430" y="384"/>
                  </a:lnTo>
                  <a:lnTo>
                    <a:pt x="422" y="390"/>
                  </a:lnTo>
                  <a:lnTo>
                    <a:pt x="417" y="395"/>
                  </a:lnTo>
                  <a:lnTo>
                    <a:pt x="412" y="400"/>
                  </a:lnTo>
                  <a:lnTo>
                    <a:pt x="410" y="404"/>
                  </a:lnTo>
                  <a:lnTo>
                    <a:pt x="408" y="404"/>
                  </a:lnTo>
                  <a:lnTo>
                    <a:pt x="405" y="405"/>
                  </a:lnTo>
                  <a:lnTo>
                    <a:pt x="402" y="406"/>
                  </a:lnTo>
                  <a:lnTo>
                    <a:pt x="400" y="409"/>
                  </a:lnTo>
                  <a:lnTo>
                    <a:pt x="398" y="411"/>
                  </a:lnTo>
                  <a:lnTo>
                    <a:pt x="396" y="414"/>
                  </a:lnTo>
                  <a:lnTo>
                    <a:pt x="395" y="416"/>
                  </a:lnTo>
                  <a:lnTo>
                    <a:pt x="395" y="420"/>
                  </a:lnTo>
                  <a:lnTo>
                    <a:pt x="379" y="420"/>
                  </a:lnTo>
                  <a:lnTo>
                    <a:pt x="371" y="435"/>
                  </a:lnTo>
                  <a:lnTo>
                    <a:pt x="355" y="443"/>
                  </a:lnTo>
                  <a:lnTo>
                    <a:pt x="352" y="443"/>
                  </a:lnTo>
                  <a:lnTo>
                    <a:pt x="350" y="444"/>
                  </a:lnTo>
                  <a:lnTo>
                    <a:pt x="347" y="446"/>
                  </a:lnTo>
                  <a:lnTo>
                    <a:pt x="344" y="448"/>
                  </a:lnTo>
                  <a:lnTo>
                    <a:pt x="342" y="451"/>
                  </a:lnTo>
                  <a:lnTo>
                    <a:pt x="341" y="453"/>
                  </a:lnTo>
                  <a:lnTo>
                    <a:pt x="340" y="455"/>
                  </a:lnTo>
                  <a:lnTo>
                    <a:pt x="340" y="459"/>
                  </a:lnTo>
                  <a:lnTo>
                    <a:pt x="336" y="460"/>
                  </a:lnTo>
                  <a:lnTo>
                    <a:pt x="333" y="464"/>
                  </a:lnTo>
                  <a:lnTo>
                    <a:pt x="331" y="469"/>
                  </a:lnTo>
                  <a:lnTo>
                    <a:pt x="329" y="475"/>
                  </a:lnTo>
                  <a:lnTo>
                    <a:pt x="325" y="489"/>
                  </a:lnTo>
                  <a:lnTo>
                    <a:pt x="323" y="499"/>
                  </a:lnTo>
                  <a:lnTo>
                    <a:pt x="321" y="502"/>
                  </a:lnTo>
                  <a:lnTo>
                    <a:pt x="315" y="511"/>
                  </a:lnTo>
                  <a:lnTo>
                    <a:pt x="310" y="521"/>
                  </a:lnTo>
                  <a:lnTo>
                    <a:pt x="307" y="530"/>
                  </a:lnTo>
                  <a:lnTo>
                    <a:pt x="304" y="531"/>
                  </a:lnTo>
                  <a:lnTo>
                    <a:pt x="300" y="535"/>
                  </a:lnTo>
                  <a:lnTo>
                    <a:pt x="294" y="540"/>
                  </a:lnTo>
                  <a:lnTo>
                    <a:pt x="288" y="546"/>
                  </a:lnTo>
                  <a:lnTo>
                    <a:pt x="282" y="551"/>
                  </a:lnTo>
                  <a:lnTo>
                    <a:pt x="276" y="557"/>
                  </a:lnTo>
                  <a:lnTo>
                    <a:pt x="272" y="560"/>
                  </a:lnTo>
                  <a:lnTo>
                    <a:pt x="268" y="561"/>
                  </a:lnTo>
                  <a:lnTo>
                    <a:pt x="261" y="569"/>
                  </a:lnTo>
                  <a:lnTo>
                    <a:pt x="253" y="577"/>
                  </a:lnTo>
                  <a:lnTo>
                    <a:pt x="251" y="581"/>
                  </a:lnTo>
                  <a:lnTo>
                    <a:pt x="247" y="586"/>
                  </a:lnTo>
                  <a:lnTo>
                    <a:pt x="242" y="590"/>
                  </a:lnTo>
                  <a:lnTo>
                    <a:pt x="236" y="596"/>
                  </a:lnTo>
                  <a:lnTo>
                    <a:pt x="229" y="602"/>
                  </a:lnTo>
                  <a:lnTo>
                    <a:pt x="223" y="605"/>
                  </a:lnTo>
                  <a:lnTo>
                    <a:pt x="217" y="608"/>
                  </a:lnTo>
                  <a:lnTo>
                    <a:pt x="213" y="609"/>
                  </a:lnTo>
                  <a:lnTo>
                    <a:pt x="213" y="614"/>
                  </a:lnTo>
                  <a:lnTo>
                    <a:pt x="211" y="616"/>
                  </a:lnTo>
                  <a:lnTo>
                    <a:pt x="210" y="617"/>
                  </a:lnTo>
                  <a:lnTo>
                    <a:pt x="209" y="617"/>
                  </a:lnTo>
                  <a:lnTo>
                    <a:pt x="207" y="617"/>
                  </a:lnTo>
                  <a:lnTo>
                    <a:pt x="206" y="618"/>
                  </a:lnTo>
                  <a:lnTo>
                    <a:pt x="205" y="621"/>
                  </a:lnTo>
                  <a:lnTo>
                    <a:pt x="205" y="625"/>
                  </a:lnTo>
                  <a:lnTo>
                    <a:pt x="189" y="625"/>
                  </a:lnTo>
                  <a:lnTo>
                    <a:pt x="188" y="627"/>
                  </a:lnTo>
                  <a:lnTo>
                    <a:pt x="187" y="629"/>
                  </a:lnTo>
                  <a:lnTo>
                    <a:pt x="185" y="632"/>
                  </a:lnTo>
                  <a:lnTo>
                    <a:pt x="181" y="634"/>
                  </a:lnTo>
                  <a:lnTo>
                    <a:pt x="178" y="636"/>
                  </a:lnTo>
                  <a:lnTo>
                    <a:pt x="176" y="640"/>
                  </a:lnTo>
                  <a:lnTo>
                    <a:pt x="173" y="643"/>
                  </a:lnTo>
                  <a:lnTo>
                    <a:pt x="173" y="648"/>
                  </a:lnTo>
                  <a:lnTo>
                    <a:pt x="162" y="651"/>
                  </a:lnTo>
                  <a:lnTo>
                    <a:pt x="150" y="655"/>
                  </a:lnTo>
                  <a:lnTo>
                    <a:pt x="155" y="660"/>
                  </a:lnTo>
                  <a:lnTo>
                    <a:pt x="158" y="662"/>
                  </a:lnTo>
                  <a:lnTo>
                    <a:pt x="158" y="675"/>
                  </a:lnTo>
                  <a:lnTo>
                    <a:pt x="159" y="675"/>
                  </a:lnTo>
                  <a:lnTo>
                    <a:pt x="161" y="677"/>
                  </a:lnTo>
                  <a:lnTo>
                    <a:pt x="162" y="682"/>
                  </a:lnTo>
                  <a:lnTo>
                    <a:pt x="163" y="685"/>
                  </a:lnTo>
                  <a:lnTo>
                    <a:pt x="163" y="694"/>
                  </a:lnTo>
                  <a:lnTo>
                    <a:pt x="163" y="701"/>
                  </a:lnTo>
                  <a:lnTo>
                    <a:pt x="158" y="702"/>
                  </a:lnTo>
                  <a:lnTo>
                    <a:pt x="152" y="706"/>
                  </a:lnTo>
                  <a:lnTo>
                    <a:pt x="144" y="713"/>
                  </a:lnTo>
                  <a:lnTo>
                    <a:pt x="137" y="721"/>
                  </a:lnTo>
                  <a:lnTo>
                    <a:pt x="118" y="742"/>
                  </a:lnTo>
                  <a:lnTo>
                    <a:pt x="99" y="767"/>
                  </a:lnTo>
                  <a:lnTo>
                    <a:pt x="81" y="790"/>
                  </a:lnTo>
                  <a:lnTo>
                    <a:pt x="63" y="811"/>
                  </a:lnTo>
                  <a:lnTo>
                    <a:pt x="56" y="820"/>
                  </a:lnTo>
                  <a:lnTo>
                    <a:pt x="50" y="827"/>
                  </a:lnTo>
                  <a:lnTo>
                    <a:pt x="44" y="830"/>
                  </a:lnTo>
                  <a:lnTo>
                    <a:pt x="40" y="833"/>
                  </a:lnTo>
                  <a:lnTo>
                    <a:pt x="40" y="845"/>
                  </a:lnTo>
                  <a:lnTo>
                    <a:pt x="29" y="852"/>
                  </a:lnTo>
                  <a:lnTo>
                    <a:pt x="19" y="858"/>
                  </a:lnTo>
                  <a:lnTo>
                    <a:pt x="19" y="872"/>
                  </a:lnTo>
                  <a:lnTo>
                    <a:pt x="17" y="872"/>
                  </a:lnTo>
                  <a:lnTo>
                    <a:pt x="16" y="874"/>
                  </a:lnTo>
                  <a:lnTo>
                    <a:pt x="14" y="876"/>
                  </a:lnTo>
                  <a:lnTo>
                    <a:pt x="13" y="878"/>
                  </a:lnTo>
                  <a:lnTo>
                    <a:pt x="11" y="881"/>
                  </a:lnTo>
                  <a:lnTo>
                    <a:pt x="7" y="883"/>
                  </a:lnTo>
                  <a:lnTo>
                    <a:pt x="4" y="884"/>
                  </a:lnTo>
                  <a:lnTo>
                    <a:pt x="0" y="885"/>
                  </a:lnTo>
                  <a:lnTo>
                    <a:pt x="0" y="913"/>
                  </a:lnTo>
                  <a:lnTo>
                    <a:pt x="2" y="941"/>
                  </a:lnTo>
                  <a:lnTo>
                    <a:pt x="4" y="968"/>
                  </a:lnTo>
                  <a:lnTo>
                    <a:pt x="7" y="996"/>
                  </a:lnTo>
                  <a:lnTo>
                    <a:pt x="25" y="997"/>
                  </a:lnTo>
                  <a:lnTo>
                    <a:pt x="43" y="1000"/>
                  </a:lnTo>
                  <a:lnTo>
                    <a:pt x="52" y="1002"/>
                  </a:lnTo>
                  <a:lnTo>
                    <a:pt x="59" y="1004"/>
                  </a:lnTo>
                  <a:lnTo>
                    <a:pt x="65" y="1007"/>
                  </a:lnTo>
                  <a:lnTo>
                    <a:pt x="69" y="1010"/>
                  </a:lnTo>
                  <a:lnTo>
                    <a:pt x="83" y="1010"/>
                  </a:lnTo>
                  <a:lnTo>
                    <a:pt x="101" y="1012"/>
                  </a:lnTo>
                  <a:lnTo>
                    <a:pt x="120" y="1013"/>
                  </a:lnTo>
                  <a:lnTo>
                    <a:pt x="137" y="1015"/>
                  </a:lnTo>
                  <a:lnTo>
                    <a:pt x="146" y="1013"/>
                  </a:lnTo>
                  <a:lnTo>
                    <a:pt x="166" y="1011"/>
                  </a:lnTo>
                  <a:lnTo>
                    <a:pt x="177" y="1010"/>
                  </a:lnTo>
                  <a:lnTo>
                    <a:pt x="186" y="1010"/>
                  </a:lnTo>
                  <a:lnTo>
                    <a:pt x="189" y="1011"/>
                  </a:lnTo>
                  <a:lnTo>
                    <a:pt x="192" y="1011"/>
                  </a:lnTo>
                  <a:lnTo>
                    <a:pt x="194" y="1012"/>
                  </a:lnTo>
                  <a:lnTo>
                    <a:pt x="195" y="1015"/>
                  </a:lnTo>
                  <a:lnTo>
                    <a:pt x="205" y="1015"/>
                  </a:lnTo>
                  <a:lnTo>
                    <a:pt x="209" y="1019"/>
                  </a:lnTo>
                  <a:lnTo>
                    <a:pt x="214" y="1025"/>
                  </a:lnTo>
                  <a:lnTo>
                    <a:pt x="214" y="1028"/>
                  </a:lnTo>
                  <a:lnTo>
                    <a:pt x="215" y="1034"/>
                  </a:lnTo>
                  <a:lnTo>
                    <a:pt x="215" y="1036"/>
                  </a:lnTo>
                  <a:lnTo>
                    <a:pt x="216" y="1037"/>
                  </a:lnTo>
                  <a:lnTo>
                    <a:pt x="217" y="1038"/>
                  </a:lnTo>
                  <a:lnTo>
                    <a:pt x="219" y="1039"/>
                  </a:lnTo>
                  <a:lnTo>
                    <a:pt x="219" y="1046"/>
                  </a:lnTo>
                  <a:lnTo>
                    <a:pt x="219" y="1054"/>
                  </a:lnTo>
                  <a:lnTo>
                    <a:pt x="228" y="1054"/>
                  </a:lnTo>
                  <a:lnTo>
                    <a:pt x="248" y="1073"/>
                  </a:lnTo>
                  <a:lnTo>
                    <a:pt x="252" y="1073"/>
                  </a:lnTo>
                  <a:lnTo>
                    <a:pt x="255" y="1073"/>
                  </a:lnTo>
                  <a:lnTo>
                    <a:pt x="257" y="1075"/>
                  </a:lnTo>
                  <a:lnTo>
                    <a:pt x="257" y="1077"/>
                  </a:lnTo>
                  <a:lnTo>
                    <a:pt x="374" y="1073"/>
                  </a:lnTo>
                  <a:lnTo>
                    <a:pt x="374" y="1070"/>
                  </a:lnTo>
                  <a:lnTo>
                    <a:pt x="376" y="1068"/>
                  </a:lnTo>
                  <a:lnTo>
                    <a:pt x="379" y="1066"/>
                  </a:lnTo>
                  <a:lnTo>
                    <a:pt x="381" y="1065"/>
                  </a:lnTo>
                  <a:lnTo>
                    <a:pt x="389" y="1063"/>
                  </a:lnTo>
                  <a:lnTo>
                    <a:pt x="398" y="1060"/>
                  </a:lnTo>
                  <a:lnTo>
                    <a:pt x="407" y="1057"/>
                  </a:lnTo>
                  <a:lnTo>
                    <a:pt x="415" y="1054"/>
                  </a:lnTo>
                  <a:lnTo>
                    <a:pt x="418" y="1052"/>
                  </a:lnTo>
                  <a:lnTo>
                    <a:pt x="420" y="1049"/>
                  </a:lnTo>
                  <a:lnTo>
                    <a:pt x="421" y="1047"/>
                  </a:lnTo>
                  <a:lnTo>
                    <a:pt x="422" y="1044"/>
                  </a:lnTo>
                  <a:lnTo>
                    <a:pt x="427" y="1042"/>
                  </a:lnTo>
                  <a:lnTo>
                    <a:pt x="431" y="1040"/>
                  </a:lnTo>
                  <a:lnTo>
                    <a:pt x="435" y="1037"/>
                  </a:lnTo>
                  <a:lnTo>
                    <a:pt x="437" y="1034"/>
                  </a:lnTo>
                  <a:lnTo>
                    <a:pt x="447" y="1034"/>
                  </a:lnTo>
                  <a:lnTo>
                    <a:pt x="447" y="1044"/>
                  </a:lnTo>
                  <a:lnTo>
                    <a:pt x="456" y="1054"/>
                  </a:lnTo>
                  <a:lnTo>
                    <a:pt x="456" y="1068"/>
                  </a:lnTo>
                  <a:lnTo>
                    <a:pt x="458" y="1068"/>
                  </a:lnTo>
                  <a:lnTo>
                    <a:pt x="459" y="1070"/>
                  </a:lnTo>
                  <a:lnTo>
                    <a:pt x="462" y="1074"/>
                  </a:lnTo>
                  <a:lnTo>
                    <a:pt x="463" y="1078"/>
                  </a:lnTo>
                  <a:lnTo>
                    <a:pt x="465" y="1086"/>
                  </a:lnTo>
                  <a:lnTo>
                    <a:pt x="466" y="1092"/>
                  </a:lnTo>
                  <a:lnTo>
                    <a:pt x="469" y="1093"/>
                  </a:lnTo>
                  <a:lnTo>
                    <a:pt x="472" y="1096"/>
                  </a:lnTo>
                  <a:lnTo>
                    <a:pt x="473" y="1102"/>
                  </a:lnTo>
                  <a:lnTo>
                    <a:pt x="475" y="1107"/>
                  </a:lnTo>
                  <a:lnTo>
                    <a:pt x="475" y="1121"/>
                  </a:lnTo>
                  <a:lnTo>
                    <a:pt x="476" y="1131"/>
                  </a:lnTo>
                  <a:lnTo>
                    <a:pt x="480" y="1143"/>
                  </a:lnTo>
                  <a:lnTo>
                    <a:pt x="485" y="1155"/>
                  </a:lnTo>
                  <a:lnTo>
                    <a:pt x="486" y="1161"/>
                  </a:lnTo>
                  <a:lnTo>
                    <a:pt x="488" y="1169"/>
                  </a:lnTo>
                  <a:lnTo>
                    <a:pt x="489" y="1173"/>
                  </a:lnTo>
                  <a:lnTo>
                    <a:pt x="492" y="1176"/>
                  </a:lnTo>
                  <a:lnTo>
                    <a:pt x="493" y="1179"/>
                  </a:lnTo>
                  <a:lnTo>
                    <a:pt x="495" y="1179"/>
                  </a:lnTo>
                  <a:lnTo>
                    <a:pt x="495" y="1183"/>
                  </a:lnTo>
                  <a:lnTo>
                    <a:pt x="496" y="1185"/>
                  </a:lnTo>
                  <a:lnTo>
                    <a:pt x="497" y="1188"/>
                  </a:lnTo>
                  <a:lnTo>
                    <a:pt x="499" y="1189"/>
                  </a:lnTo>
                  <a:lnTo>
                    <a:pt x="499" y="1193"/>
                  </a:lnTo>
                  <a:lnTo>
                    <a:pt x="501" y="1198"/>
                  </a:lnTo>
                  <a:lnTo>
                    <a:pt x="501" y="1200"/>
                  </a:lnTo>
                  <a:lnTo>
                    <a:pt x="502" y="1202"/>
                  </a:lnTo>
                  <a:lnTo>
                    <a:pt x="503" y="1203"/>
                  </a:lnTo>
                  <a:lnTo>
                    <a:pt x="505" y="1203"/>
                  </a:lnTo>
                  <a:lnTo>
                    <a:pt x="505" y="1211"/>
                  </a:lnTo>
                  <a:lnTo>
                    <a:pt x="505" y="1218"/>
                  </a:lnTo>
                  <a:lnTo>
                    <a:pt x="514" y="1222"/>
                  </a:lnTo>
                  <a:lnTo>
                    <a:pt x="514" y="1232"/>
                  </a:lnTo>
                  <a:lnTo>
                    <a:pt x="520" y="1234"/>
                  </a:lnTo>
                  <a:lnTo>
                    <a:pt x="524" y="1237"/>
                  </a:lnTo>
                  <a:lnTo>
                    <a:pt x="524" y="1247"/>
                  </a:lnTo>
                  <a:lnTo>
                    <a:pt x="534" y="1247"/>
                  </a:lnTo>
                  <a:lnTo>
                    <a:pt x="534" y="1251"/>
                  </a:lnTo>
                  <a:lnTo>
                    <a:pt x="534" y="1256"/>
                  </a:lnTo>
                  <a:lnTo>
                    <a:pt x="535" y="1258"/>
                  </a:lnTo>
                  <a:lnTo>
                    <a:pt x="535" y="1260"/>
                  </a:lnTo>
                  <a:lnTo>
                    <a:pt x="537" y="1261"/>
                  </a:lnTo>
                  <a:lnTo>
                    <a:pt x="539" y="1261"/>
                  </a:lnTo>
                  <a:lnTo>
                    <a:pt x="539" y="1265"/>
                  </a:lnTo>
                  <a:lnTo>
                    <a:pt x="540" y="1268"/>
                  </a:lnTo>
                  <a:lnTo>
                    <a:pt x="541" y="1270"/>
                  </a:lnTo>
                  <a:lnTo>
                    <a:pt x="543" y="1271"/>
                  </a:lnTo>
                  <a:lnTo>
                    <a:pt x="543" y="1280"/>
                  </a:lnTo>
                  <a:lnTo>
                    <a:pt x="552" y="1286"/>
                  </a:lnTo>
                  <a:lnTo>
                    <a:pt x="558" y="1290"/>
                  </a:lnTo>
                  <a:lnTo>
                    <a:pt x="565" y="1301"/>
                  </a:lnTo>
                  <a:lnTo>
                    <a:pt x="572" y="1309"/>
                  </a:lnTo>
                  <a:lnTo>
                    <a:pt x="576" y="1310"/>
                  </a:lnTo>
                  <a:lnTo>
                    <a:pt x="579" y="1313"/>
                  </a:lnTo>
                  <a:lnTo>
                    <a:pt x="581" y="1316"/>
                  </a:lnTo>
                  <a:lnTo>
                    <a:pt x="582" y="1319"/>
                  </a:lnTo>
                  <a:lnTo>
                    <a:pt x="592" y="1319"/>
                  </a:lnTo>
                  <a:lnTo>
                    <a:pt x="593" y="1323"/>
                  </a:lnTo>
                  <a:lnTo>
                    <a:pt x="598" y="1326"/>
                  </a:lnTo>
                  <a:lnTo>
                    <a:pt x="602" y="1328"/>
                  </a:lnTo>
                  <a:lnTo>
                    <a:pt x="607" y="1329"/>
                  </a:lnTo>
                  <a:lnTo>
                    <a:pt x="611" y="1334"/>
                  </a:lnTo>
                  <a:lnTo>
                    <a:pt x="613" y="1342"/>
                  </a:lnTo>
                  <a:lnTo>
                    <a:pt x="616" y="1348"/>
                  </a:lnTo>
                  <a:lnTo>
                    <a:pt x="621" y="1350"/>
                  </a:lnTo>
                  <a:lnTo>
                    <a:pt x="626" y="1353"/>
                  </a:lnTo>
                  <a:lnTo>
                    <a:pt x="628" y="1358"/>
                  </a:lnTo>
                  <a:lnTo>
                    <a:pt x="633" y="1365"/>
                  </a:lnTo>
                  <a:lnTo>
                    <a:pt x="640" y="1371"/>
                  </a:lnTo>
                  <a:lnTo>
                    <a:pt x="645" y="1373"/>
                  </a:lnTo>
                  <a:lnTo>
                    <a:pt x="655" y="1383"/>
                  </a:lnTo>
                  <a:lnTo>
                    <a:pt x="665" y="1392"/>
                  </a:lnTo>
                  <a:lnTo>
                    <a:pt x="674" y="1392"/>
                  </a:lnTo>
                  <a:lnTo>
                    <a:pt x="677" y="1396"/>
                  </a:lnTo>
                  <a:lnTo>
                    <a:pt x="679" y="1402"/>
                  </a:lnTo>
                  <a:lnTo>
                    <a:pt x="694" y="1402"/>
                  </a:lnTo>
                  <a:lnTo>
                    <a:pt x="700" y="1406"/>
                  </a:lnTo>
                  <a:lnTo>
                    <a:pt x="708" y="1412"/>
                  </a:lnTo>
                  <a:lnTo>
                    <a:pt x="713" y="1412"/>
                  </a:lnTo>
                  <a:lnTo>
                    <a:pt x="719" y="1414"/>
                  </a:lnTo>
                  <a:lnTo>
                    <a:pt x="723" y="1416"/>
                  </a:lnTo>
                  <a:lnTo>
                    <a:pt x="725" y="1417"/>
                  </a:lnTo>
                  <a:lnTo>
                    <a:pt x="727" y="1420"/>
                  </a:lnTo>
                  <a:lnTo>
                    <a:pt x="727" y="1421"/>
                  </a:lnTo>
                  <a:lnTo>
                    <a:pt x="742" y="1421"/>
                  </a:lnTo>
                  <a:lnTo>
                    <a:pt x="743" y="1424"/>
                  </a:lnTo>
                  <a:lnTo>
                    <a:pt x="745" y="1425"/>
                  </a:lnTo>
                  <a:lnTo>
                    <a:pt x="748" y="1425"/>
                  </a:lnTo>
                  <a:lnTo>
                    <a:pt x="752" y="1426"/>
                  </a:lnTo>
                  <a:lnTo>
                    <a:pt x="756" y="1435"/>
                  </a:lnTo>
                  <a:lnTo>
                    <a:pt x="766" y="1435"/>
                  </a:lnTo>
                  <a:lnTo>
                    <a:pt x="767" y="1439"/>
                  </a:lnTo>
                  <a:lnTo>
                    <a:pt x="772" y="1442"/>
                  </a:lnTo>
                  <a:lnTo>
                    <a:pt x="776" y="1444"/>
                  </a:lnTo>
                  <a:lnTo>
                    <a:pt x="781" y="1445"/>
                  </a:lnTo>
                  <a:lnTo>
                    <a:pt x="781" y="1455"/>
                  </a:lnTo>
                  <a:lnTo>
                    <a:pt x="785" y="1455"/>
                  </a:lnTo>
                  <a:lnTo>
                    <a:pt x="790" y="1455"/>
                  </a:lnTo>
                  <a:lnTo>
                    <a:pt x="792" y="1456"/>
                  </a:lnTo>
                  <a:lnTo>
                    <a:pt x="793" y="1456"/>
                  </a:lnTo>
                  <a:lnTo>
                    <a:pt x="794" y="1458"/>
                  </a:lnTo>
                  <a:lnTo>
                    <a:pt x="795" y="1460"/>
                  </a:lnTo>
                  <a:lnTo>
                    <a:pt x="801" y="1461"/>
                  </a:lnTo>
                  <a:lnTo>
                    <a:pt x="811" y="1464"/>
                  </a:lnTo>
                  <a:lnTo>
                    <a:pt x="822" y="1469"/>
                  </a:lnTo>
                  <a:lnTo>
                    <a:pt x="835" y="1474"/>
                  </a:lnTo>
                  <a:lnTo>
                    <a:pt x="848" y="1481"/>
                  </a:lnTo>
                  <a:lnTo>
                    <a:pt x="858" y="1487"/>
                  </a:lnTo>
                  <a:lnTo>
                    <a:pt x="864" y="1491"/>
                  </a:lnTo>
                  <a:lnTo>
                    <a:pt x="868" y="1493"/>
                  </a:lnTo>
                  <a:lnTo>
                    <a:pt x="878" y="1494"/>
                  </a:lnTo>
                  <a:lnTo>
                    <a:pt x="887" y="1496"/>
                  </a:lnTo>
                  <a:lnTo>
                    <a:pt x="896" y="1498"/>
                  </a:lnTo>
                  <a:lnTo>
                    <a:pt x="907" y="1499"/>
                  </a:lnTo>
                  <a:lnTo>
                    <a:pt x="911" y="1508"/>
                  </a:lnTo>
                  <a:lnTo>
                    <a:pt x="931" y="1509"/>
                  </a:lnTo>
                  <a:lnTo>
                    <a:pt x="968" y="1510"/>
                  </a:lnTo>
                  <a:lnTo>
                    <a:pt x="986" y="1509"/>
                  </a:lnTo>
                  <a:lnTo>
                    <a:pt x="1003" y="1506"/>
                  </a:lnTo>
                  <a:lnTo>
                    <a:pt x="1008" y="1504"/>
                  </a:lnTo>
                  <a:lnTo>
                    <a:pt x="1014" y="1501"/>
                  </a:lnTo>
                  <a:lnTo>
                    <a:pt x="1016" y="1498"/>
                  </a:lnTo>
                  <a:lnTo>
                    <a:pt x="1017" y="1493"/>
                  </a:lnTo>
                  <a:lnTo>
                    <a:pt x="1032" y="1492"/>
                  </a:lnTo>
                  <a:lnTo>
                    <a:pt x="1048" y="1489"/>
                  </a:lnTo>
                  <a:lnTo>
                    <a:pt x="1064" y="1486"/>
                  </a:lnTo>
                  <a:lnTo>
                    <a:pt x="1081" y="1481"/>
                  </a:lnTo>
                  <a:lnTo>
                    <a:pt x="1079" y="1480"/>
                  </a:lnTo>
                  <a:lnTo>
                    <a:pt x="1075" y="1479"/>
                  </a:lnTo>
                  <a:lnTo>
                    <a:pt x="1071" y="1479"/>
                  </a:lnTo>
                  <a:lnTo>
                    <a:pt x="1067" y="1479"/>
                  </a:lnTo>
                  <a:lnTo>
                    <a:pt x="1059" y="1470"/>
                  </a:lnTo>
                  <a:lnTo>
                    <a:pt x="1051" y="1462"/>
                  </a:lnTo>
                  <a:lnTo>
                    <a:pt x="1049" y="1441"/>
                  </a:lnTo>
                  <a:lnTo>
                    <a:pt x="1043" y="1414"/>
                  </a:lnTo>
                  <a:lnTo>
                    <a:pt x="1040" y="1400"/>
                  </a:lnTo>
                  <a:lnTo>
                    <a:pt x="1038" y="1386"/>
                  </a:lnTo>
                  <a:lnTo>
                    <a:pt x="1035" y="1373"/>
                  </a:lnTo>
                  <a:lnTo>
                    <a:pt x="1035" y="1359"/>
                  </a:lnTo>
                  <a:lnTo>
                    <a:pt x="1032" y="1359"/>
                  </a:lnTo>
                  <a:lnTo>
                    <a:pt x="1031" y="1358"/>
                  </a:lnTo>
                  <a:lnTo>
                    <a:pt x="1029" y="1357"/>
                  </a:lnTo>
                  <a:lnTo>
                    <a:pt x="1029" y="1355"/>
                  </a:lnTo>
                  <a:lnTo>
                    <a:pt x="1027" y="1349"/>
                  </a:lnTo>
                  <a:lnTo>
                    <a:pt x="1027" y="1344"/>
                  </a:lnTo>
                  <a:lnTo>
                    <a:pt x="1024" y="1344"/>
                  </a:lnTo>
                  <a:lnTo>
                    <a:pt x="1023" y="1343"/>
                  </a:lnTo>
                  <a:lnTo>
                    <a:pt x="1021" y="1342"/>
                  </a:lnTo>
                  <a:lnTo>
                    <a:pt x="1020" y="1339"/>
                  </a:lnTo>
                  <a:lnTo>
                    <a:pt x="1020" y="1334"/>
                  </a:lnTo>
                  <a:lnTo>
                    <a:pt x="1020" y="1328"/>
                  </a:lnTo>
                  <a:lnTo>
                    <a:pt x="1014" y="1328"/>
                  </a:lnTo>
                  <a:lnTo>
                    <a:pt x="1012" y="1327"/>
                  </a:lnTo>
                  <a:lnTo>
                    <a:pt x="1012" y="1326"/>
                  </a:lnTo>
                  <a:lnTo>
                    <a:pt x="1011" y="1325"/>
                  </a:lnTo>
                  <a:lnTo>
                    <a:pt x="1011" y="1323"/>
                  </a:lnTo>
                  <a:lnTo>
                    <a:pt x="1011" y="1321"/>
                  </a:lnTo>
                  <a:lnTo>
                    <a:pt x="1007" y="1320"/>
                  </a:lnTo>
                  <a:lnTo>
                    <a:pt x="1003" y="1320"/>
                  </a:lnTo>
                  <a:lnTo>
                    <a:pt x="1003" y="1305"/>
                  </a:lnTo>
                  <a:lnTo>
                    <a:pt x="995" y="1297"/>
                  </a:lnTo>
                  <a:lnTo>
                    <a:pt x="987" y="1289"/>
                  </a:lnTo>
                  <a:lnTo>
                    <a:pt x="979" y="1281"/>
                  </a:lnTo>
                  <a:lnTo>
                    <a:pt x="964" y="1281"/>
                  </a:lnTo>
                  <a:lnTo>
                    <a:pt x="956" y="1272"/>
                  </a:lnTo>
                  <a:lnTo>
                    <a:pt x="948" y="1265"/>
                  </a:lnTo>
                  <a:lnTo>
                    <a:pt x="940" y="1257"/>
                  </a:lnTo>
                  <a:lnTo>
                    <a:pt x="940" y="1246"/>
                  </a:lnTo>
                  <a:lnTo>
                    <a:pt x="940" y="1233"/>
                  </a:lnTo>
                  <a:lnTo>
                    <a:pt x="938" y="1232"/>
                  </a:lnTo>
                  <a:lnTo>
                    <a:pt x="937" y="1230"/>
                  </a:lnTo>
                  <a:lnTo>
                    <a:pt x="936" y="1227"/>
                  </a:lnTo>
                  <a:lnTo>
                    <a:pt x="936" y="1222"/>
                  </a:lnTo>
                  <a:lnTo>
                    <a:pt x="934" y="1211"/>
                  </a:lnTo>
                  <a:lnTo>
                    <a:pt x="934" y="1196"/>
                  </a:lnTo>
                  <a:lnTo>
                    <a:pt x="933" y="1170"/>
                  </a:lnTo>
                  <a:lnTo>
                    <a:pt x="933" y="1154"/>
                  </a:lnTo>
                  <a:lnTo>
                    <a:pt x="929" y="1154"/>
                  </a:lnTo>
                  <a:lnTo>
                    <a:pt x="926" y="1152"/>
                  </a:lnTo>
                  <a:lnTo>
                    <a:pt x="924" y="1148"/>
                  </a:lnTo>
                  <a:lnTo>
                    <a:pt x="921" y="1145"/>
                  </a:lnTo>
                  <a:lnTo>
                    <a:pt x="918" y="1137"/>
                  </a:lnTo>
                  <a:lnTo>
                    <a:pt x="917" y="1131"/>
                  </a:lnTo>
                  <a:lnTo>
                    <a:pt x="914" y="1129"/>
                  </a:lnTo>
                  <a:lnTo>
                    <a:pt x="910" y="1128"/>
                  </a:lnTo>
                  <a:lnTo>
                    <a:pt x="908" y="1125"/>
                  </a:lnTo>
                  <a:lnTo>
                    <a:pt x="906" y="1122"/>
                  </a:lnTo>
                  <a:lnTo>
                    <a:pt x="902" y="1114"/>
                  </a:lnTo>
                  <a:lnTo>
                    <a:pt x="900" y="1107"/>
                  </a:lnTo>
                  <a:lnTo>
                    <a:pt x="885" y="1107"/>
                  </a:lnTo>
                  <a:lnTo>
                    <a:pt x="883" y="1104"/>
                  </a:lnTo>
                  <a:lnTo>
                    <a:pt x="881" y="1103"/>
                  </a:lnTo>
                  <a:lnTo>
                    <a:pt x="877" y="1100"/>
                  </a:lnTo>
                  <a:lnTo>
                    <a:pt x="872" y="1100"/>
                  </a:lnTo>
                  <a:lnTo>
                    <a:pt x="861" y="1099"/>
                  </a:lnTo>
                  <a:lnTo>
                    <a:pt x="853" y="1099"/>
                  </a:lnTo>
                  <a:lnTo>
                    <a:pt x="846" y="1092"/>
                  </a:lnTo>
                  <a:lnTo>
                    <a:pt x="838" y="1084"/>
                  </a:lnTo>
                  <a:lnTo>
                    <a:pt x="838" y="1067"/>
                  </a:lnTo>
                  <a:lnTo>
                    <a:pt x="833" y="1067"/>
                  </a:lnTo>
                  <a:lnTo>
                    <a:pt x="830" y="1066"/>
                  </a:lnTo>
                  <a:lnTo>
                    <a:pt x="830" y="1065"/>
                  </a:lnTo>
                  <a:lnTo>
                    <a:pt x="830" y="1064"/>
                  </a:lnTo>
                  <a:lnTo>
                    <a:pt x="829" y="1063"/>
                  </a:lnTo>
                  <a:lnTo>
                    <a:pt x="829" y="1060"/>
                  </a:lnTo>
                  <a:lnTo>
                    <a:pt x="827" y="1060"/>
                  </a:lnTo>
                  <a:lnTo>
                    <a:pt x="822" y="1059"/>
                  </a:lnTo>
                  <a:lnTo>
                    <a:pt x="822" y="1012"/>
                  </a:lnTo>
                  <a:lnTo>
                    <a:pt x="830" y="1004"/>
                  </a:lnTo>
                  <a:lnTo>
                    <a:pt x="846" y="1004"/>
                  </a:lnTo>
                  <a:lnTo>
                    <a:pt x="853" y="997"/>
                  </a:lnTo>
                  <a:lnTo>
                    <a:pt x="861" y="989"/>
                  </a:lnTo>
                  <a:lnTo>
                    <a:pt x="869" y="980"/>
                  </a:lnTo>
                  <a:lnTo>
                    <a:pt x="877" y="972"/>
                  </a:lnTo>
                  <a:lnTo>
                    <a:pt x="877" y="956"/>
                  </a:lnTo>
                  <a:lnTo>
                    <a:pt x="878" y="956"/>
                  </a:lnTo>
                  <a:lnTo>
                    <a:pt x="879" y="954"/>
                  </a:lnTo>
                  <a:lnTo>
                    <a:pt x="880" y="952"/>
                  </a:lnTo>
                  <a:lnTo>
                    <a:pt x="881" y="948"/>
                  </a:lnTo>
                  <a:lnTo>
                    <a:pt x="882" y="939"/>
                  </a:lnTo>
                  <a:lnTo>
                    <a:pt x="883" y="929"/>
                  </a:lnTo>
                  <a:lnTo>
                    <a:pt x="885" y="906"/>
                  </a:lnTo>
                  <a:lnTo>
                    <a:pt x="885" y="894"/>
                  </a:lnTo>
                  <a:lnTo>
                    <a:pt x="882" y="893"/>
                  </a:lnTo>
                  <a:lnTo>
                    <a:pt x="880" y="891"/>
                  </a:lnTo>
                  <a:lnTo>
                    <a:pt x="879" y="888"/>
                  </a:lnTo>
                  <a:lnTo>
                    <a:pt x="878" y="885"/>
                  </a:lnTo>
                  <a:lnTo>
                    <a:pt x="877" y="877"/>
                  </a:lnTo>
                  <a:lnTo>
                    <a:pt x="877" y="869"/>
                  </a:lnTo>
                  <a:lnTo>
                    <a:pt x="872" y="869"/>
                  </a:lnTo>
                  <a:lnTo>
                    <a:pt x="870" y="868"/>
                  </a:lnTo>
                  <a:lnTo>
                    <a:pt x="869" y="867"/>
                  </a:lnTo>
                  <a:lnTo>
                    <a:pt x="869" y="866"/>
                  </a:lnTo>
                  <a:lnTo>
                    <a:pt x="869" y="865"/>
                  </a:lnTo>
                  <a:lnTo>
                    <a:pt x="868" y="863"/>
                  </a:lnTo>
                  <a:lnTo>
                    <a:pt x="866" y="863"/>
                  </a:lnTo>
                  <a:lnTo>
                    <a:pt x="861" y="862"/>
                  </a:lnTo>
                  <a:lnTo>
                    <a:pt x="861" y="815"/>
                  </a:lnTo>
                  <a:lnTo>
                    <a:pt x="860" y="814"/>
                  </a:lnTo>
                  <a:lnTo>
                    <a:pt x="859" y="813"/>
                  </a:lnTo>
                  <a:lnTo>
                    <a:pt x="858" y="810"/>
                  </a:lnTo>
                  <a:lnTo>
                    <a:pt x="857" y="807"/>
                  </a:lnTo>
                  <a:lnTo>
                    <a:pt x="856" y="799"/>
                  </a:lnTo>
                  <a:lnTo>
                    <a:pt x="854" y="790"/>
                  </a:lnTo>
                  <a:lnTo>
                    <a:pt x="853" y="771"/>
                  </a:lnTo>
                  <a:lnTo>
                    <a:pt x="853" y="759"/>
                  </a:lnTo>
                  <a:lnTo>
                    <a:pt x="854" y="740"/>
                  </a:lnTo>
                  <a:lnTo>
                    <a:pt x="857" y="721"/>
                  </a:lnTo>
                  <a:lnTo>
                    <a:pt x="860" y="702"/>
                  </a:lnTo>
                  <a:lnTo>
                    <a:pt x="861" y="688"/>
                  </a:lnTo>
                  <a:lnTo>
                    <a:pt x="869" y="680"/>
                  </a:lnTo>
                  <a:lnTo>
                    <a:pt x="877" y="672"/>
                  </a:lnTo>
                  <a:lnTo>
                    <a:pt x="885" y="664"/>
                  </a:lnTo>
                  <a:lnTo>
                    <a:pt x="892" y="656"/>
                  </a:lnTo>
                  <a:lnTo>
                    <a:pt x="900" y="648"/>
                  </a:lnTo>
                  <a:lnTo>
                    <a:pt x="908" y="647"/>
                  </a:lnTo>
                  <a:lnTo>
                    <a:pt x="916" y="644"/>
                  </a:lnTo>
                  <a:lnTo>
                    <a:pt x="919" y="642"/>
                  </a:lnTo>
                  <a:lnTo>
                    <a:pt x="921" y="638"/>
                  </a:lnTo>
                  <a:lnTo>
                    <a:pt x="924" y="636"/>
                  </a:lnTo>
                  <a:lnTo>
                    <a:pt x="925" y="633"/>
                  </a:lnTo>
                  <a:lnTo>
                    <a:pt x="940" y="633"/>
                  </a:lnTo>
                  <a:lnTo>
                    <a:pt x="948" y="625"/>
                  </a:lnTo>
                  <a:lnTo>
                    <a:pt x="949" y="622"/>
                  </a:lnTo>
                  <a:lnTo>
                    <a:pt x="952" y="618"/>
                  </a:lnTo>
                  <a:lnTo>
                    <a:pt x="956" y="614"/>
                  </a:lnTo>
                  <a:lnTo>
                    <a:pt x="960" y="611"/>
                  </a:lnTo>
                  <a:lnTo>
                    <a:pt x="966" y="606"/>
                  </a:lnTo>
                  <a:lnTo>
                    <a:pt x="972" y="604"/>
                  </a:lnTo>
                  <a:lnTo>
                    <a:pt x="976" y="602"/>
                  </a:lnTo>
                  <a:lnTo>
                    <a:pt x="979" y="602"/>
                  </a:lnTo>
                  <a:lnTo>
                    <a:pt x="981" y="597"/>
                  </a:lnTo>
                  <a:lnTo>
                    <a:pt x="984" y="593"/>
                  </a:lnTo>
                  <a:lnTo>
                    <a:pt x="987" y="588"/>
                  </a:lnTo>
                  <a:lnTo>
                    <a:pt x="993" y="583"/>
                  </a:lnTo>
                  <a:lnTo>
                    <a:pt x="997" y="577"/>
                  </a:lnTo>
                  <a:lnTo>
                    <a:pt x="1003" y="574"/>
                  </a:lnTo>
                  <a:lnTo>
                    <a:pt x="1007" y="570"/>
                  </a:lnTo>
                  <a:lnTo>
                    <a:pt x="1011" y="569"/>
                  </a:lnTo>
                  <a:lnTo>
                    <a:pt x="1012" y="557"/>
                  </a:lnTo>
                  <a:lnTo>
                    <a:pt x="1014" y="544"/>
                  </a:lnTo>
                  <a:lnTo>
                    <a:pt x="1016" y="529"/>
                  </a:lnTo>
                  <a:lnTo>
                    <a:pt x="1020" y="513"/>
                  </a:lnTo>
                  <a:lnTo>
                    <a:pt x="1022" y="498"/>
                  </a:lnTo>
                  <a:lnTo>
                    <a:pt x="1024" y="482"/>
                  </a:lnTo>
                  <a:lnTo>
                    <a:pt x="1026" y="467"/>
                  </a:lnTo>
                  <a:lnTo>
                    <a:pt x="1027" y="451"/>
                  </a:lnTo>
                  <a:lnTo>
                    <a:pt x="1025" y="451"/>
                  </a:lnTo>
                  <a:lnTo>
                    <a:pt x="1024" y="450"/>
                  </a:lnTo>
                  <a:lnTo>
                    <a:pt x="1023" y="448"/>
                  </a:lnTo>
                  <a:lnTo>
                    <a:pt x="1022" y="444"/>
                  </a:lnTo>
                  <a:lnTo>
                    <a:pt x="1020" y="436"/>
                  </a:lnTo>
                  <a:lnTo>
                    <a:pt x="1017" y="427"/>
                  </a:lnTo>
                  <a:lnTo>
                    <a:pt x="1015" y="402"/>
                  </a:lnTo>
                  <a:lnTo>
                    <a:pt x="1013" y="373"/>
                  </a:lnTo>
                  <a:lnTo>
                    <a:pt x="1012" y="343"/>
                  </a:lnTo>
                  <a:lnTo>
                    <a:pt x="1012" y="315"/>
                  </a:lnTo>
                  <a:lnTo>
                    <a:pt x="1011" y="291"/>
                  </a:lnTo>
                  <a:lnTo>
                    <a:pt x="1011" y="277"/>
                  </a:lnTo>
                  <a:lnTo>
                    <a:pt x="1014" y="277"/>
                  </a:lnTo>
                  <a:lnTo>
                    <a:pt x="1016" y="275"/>
                  </a:lnTo>
                  <a:lnTo>
                    <a:pt x="1017" y="271"/>
                  </a:lnTo>
                  <a:lnTo>
                    <a:pt x="1019" y="268"/>
                  </a:lnTo>
                  <a:lnTo>
                    <a:pt x="1019" y="260"/>
                  </a:lnTo>
                  <a:lnTo>
                    <a:pt x="1020" y="253"/>
                  </a:lnTo>
                  <a:lnTo>
                    <a:pt x="1022" y="251"/>
                  </a:lnTo>
                  <a:lnTo>
                    <a:pt x="1024" y="247"/>
                  </a:lnTo>
                  <a:lnTo>
                    <a:pt x="1025" y="240"/>
                  </a:lnTo>
                  <a:lnTo>
                    <a:pt x="1026" y="232"/>
                  </a:lnTo>
                  <a:lnTo>
                    <a:pt x="1027" y="217"/>
                  </a:lnTo>
                  <a:lnTo>
                    <a:pt x="1027" y="206"/>
                  </a:lnTo>
                  <a:lnTo>
                    <a:pt x="1030" y="204"/>
                  </a:lnTo>
                  <a:lnTo>
                    <a:pt x="1032" y="201"/>
                  </a:lnTo>
                  <a:lnTo>
                    <a:pt x="1033" y="195"/>
                  </a:lnTo>
                  <a:lnTo>
                    <a:pt x="1034" y="189"/>
                  </a:lnTo>
                  <a:lnTo>
                    <a:pt x="1035" y="176"/>
                  </a:lnTo>
                  <a:lnTo>
                    <a:pt x="1035" y="166"/>
                  </a:lnTo>
                  <a:lnTo>
                    <a:pt x="1038" y="165"/>
                  </a:lnTo>
                  <a:lnTo>
                    <a:pt x="1040" y="162"/>
                  </a:lnTo>
                  <a:lnTo>
                    <a:pt x="1041" y="157"/>
                  </a:lnTo>
                  <a:lnTo>
                    <a:pt x="1042" y="152"/>
                  </a:lnTo>
                  <a:lnTo>
                    <a:pt x="1042" y="137"/>
                  </a:lnTo>
                  <a:lnTo>
                    <a:pt x="1042" y="121"/>
                  </a:lnTo>
                  <a:lnTo>
                    <a:pt x="1041" y="104"/>
                  </a:lnTo>
                  <a:lnTo>
                    <a:pt x="1041" y="89"/>
                  </a:lnTo>
                  <a:lnTo>
                    <a:pt x="1041" y="85"/>
                  </a:lnTo>
                  <a:lnTo>
                    <a:pt x="1041" y="81"/>
                  </a:lnTo>
                  <a:lnTo>
                    <a:pt x="1042" y="79"/>
                  </a:lnTo>
                  <a:lnTo>
                    <a:pt x="1043" y="79"/>
                  </a:lnTo>
                  <a:close/>
                  <a:moveTo>
                    <a:pt x="1113" y="1498"/>
                  </a:moveTo>
                  <a:lnTo>
                    <a:pt x="1115" y="1494"/>
                  </a:lnTo>
                  <a:lnTo>
                    <a:pt x="1109" y="1489"/>
                  </a:lnTo>
                  <a:lnTo>
                    <a:pt x="1111" y="1493"/>
                  </a:lnTo>
                  <a:lnTo>
                    <a:pt x="1113" y="149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1" name="Freeform 47"/>
            <p:cNvSpPr>
              <a:spLocks noChangeAspect="1"/>
            </p:cNvSpPr>
            <p:nvPr/>
          </p:nvSpPr>
          <p:spPr bwMode="gray">
            <a:xfrm rot="355651">
              <a:off x="6342341" y="3021013"/>
              <a:ext cx="4232" cy="3195"/>
            </a:xfrm>
            <a:custGeom>
              <a:avLst/>
              <a:gdLst/>
              <a:ahLst/>
              <a:cxnLst>
                <a:cxn ang="0">
                  <a:pos x="4" y="9"/>
                </a:cxn>
                <a:cxn ang="0">
                  <a:pos x="6" y="5"/>
                </a:cxn>
                <a:cxn ang="0">
                  <a:pos x="0" y="0"/>
                </a:cxn>
                <a:cxn ang="0">
                  <a:pos x="2" y="4"/>
                </a:cxn>
                <a:cxn ang="0">
                  <a:pos x="4" y="9"/>
                </a:cxn>
              </a:cxnLst>
              <a:rect l="0" t="0" r="r" b="b"/>
              <a:pathLst>
                <a:path w="6" h="9">
                  <a:moveTo>
                    <a:pt x="4" y="9"/>
                  </a:moveTo>
                  <a:lnTo>
                    <a:pt x="6" y="5"/>
                  </a:lnTo>
                  <a:lnTo>
                    <a:pt x="0" y="0"/>
                  </a:lnTo>
                  <a:lnTo>
                    <a:pt x="2" y="4"/>
                  </a:lnTo>
                  <a:lnTo>
                    <a:pt x="4" y="9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2" name="Freeform 48"/>
            <p:cNvSpPr>
              <a:spLocks noChangeAspect="1"/>
            </p:cNvSpPr>
            <p:nvPr/>
          </p:nvSpPr>
          <p:spPr bwMode="gray">
            <a:xfrm rot="355651">
              <a:off x="6091606" y="2703513"/>
              <a:ext cx="262373" cy="169273"/>
            </a:xfrm>
            <a:custGeom>
              <a:avLst/>
              <a:gdLst/>
              <a:ahLst/>
              <a:cxnLst>
                <a:cxn ang="0">
                  <a:pos x="215" y="40"/>
                </a:cxn>
                <a:cxn ang="0">
                  <a:pos x="346" y="27"/>
                </a:cxn>
                <a:cxn ang="0">
                  <a:pos x="420" y="9"/>
                </a:cxn>
                <a:cxn ang="0">
                  <a:pos x="580" y="0"/>
                </a:cxn>
                <a:cxn ang="0">
                  <a:pos x="616" y="14"/>
                </a:cxn>
                <a:cxn ang="0">
                  <a:pos x="713" y="56"/>
                </a:cxn>
                <a:cxn ang="0">
                  <a:pos x="745" y="79"/>
                </a:cxn>
                <a:cxn ang="0">
                  <a:pos x="768" y="95"/>
                </a:cxn>
                <a:cxn ang="0">
                  <a:pos x="808" y="119"/>
                </a:cxn>
                <a:cxn ang="0">
                  <a:pos x="895" y="119"/>
                </a:cxn>
                <a:cxn ang="0">
                  <a:pos x="972" y="66"/>
                </a:cxn>
                <a:cxn ang="0">
                  <a:pos x="1005" y="56"/>
                </a:cxn>
                <a:cxn ang="0">
                  <a:pos x="1082" y="27"/>
                </a:cxn>
                <a:cxn ang="0">
                  <a:pos x="1176" y="10"/>
                </a:cxn>
                <a:cxn ang="0">
                  <a:pos x="1247" y="58"/>
                </a:cxn>
                <a:cxn ang="0">
                  <a:pos x="1259" y="89"/>
                </a:cxn>
                <a:cxn ang="0">
                  <a:pos x="1339" y="140"/>
                </a:cxn>
                <a:cxn ang="0">
                  <a:pos x="1384" y="159"/>
                </a:cxn>
                <a:cxn ang="0">
                  <a:pos x="1439" y="215"/>
                </a:cxn>
                <a:cxn ang="0">
                  <a:pos x="1455" y="264"/>
                </a:cxn>
                <a:cxn ang="0">
                  <a:pos x="1461" y="431"/>
                </a:cxn>
                <a:cxn ang="0">
                  <a:pos x="1423" y="465"/>
                </a:cxn>
                <a:cxn ang="0">
                  <a:pos x="1240" y="438"/>
                </a:cxn>
                <a:cxn ang="0">
                  <a:pos x="1226" y="422"/>
                </a:cxn>
                <a:cxn ang="0">
                  <a:pos x="1196" y="390"/>
                </a:cxn>
                <a:cxn ang="0">
                  <a:pos x="1100" y="429"/>
                </a:cxn>
                <a:cxn ang="0">
                  <a:pos x="1085" y="456"/>
                </a:cxn>
                <a:cxn ang="0">
                  <a:pos x="1061" y="481"/>
                </a:cxn>
                <a:cxn ang="0">
                  <a:pos x="1022" y="515"/>
                </a:cxn>
                <a:cxn ang="0">
                  <a:pos x="1011" y="556"/>
                </a:cxn>
                <a:cxn ang="0">
                  <a:pos x="1000" y="611"/>
                </a:cxn>
                <a:cxn ang="0">
                  <a:pos x="989" y="640"/>
                </a:cxn>
                <a:cxn ang="0">
                  <a:pos x="918" y="700"/>
                </a:cxn>
                <a:cxn ang="0">
                  <a:pos x="902" y="727"/>
                </a:cxn>
                <a:cxn ang="0">
                  <a:pos x="835" y="777"/>
                </a:cxn>
                <a:cxn ang="0">
                  <a:pos x="809" y="801"/>
                </a:cxn>
                <a:cxn ang="0">
                  <a:pos x="757" y="835"/>
                </a:cxn>
                <a:cxn ang="0">
                  <a:pos x="738" y="876"/>
                </a:cxn>
                <a:cxn ang="0">
                  <a:pos x="701" y="933"/>
                </a:cxn>
                <a:cxn ang="0">
                  <a:pos x="655" y="977"/>
                </a:cxn>
                <a:cxn ang="0">
                  <a:pos x="622" y="1004"/>
                </a:cxn>
                <a:cxn ang="0">
                  <a:pos x="594" y="1021"/>
                </a:cxn>
                <a:cxn ang="0">
                  <a:pos x="561" y="1038"/>
                </a:cxn>
                <a:cxn ang="0">
                  <a:pos x="521" y="982"/>
                </a:cxn>
                <a:cxn ang="0">
                  <a:pos x="453" y="891"/>
                </a:cxn>
                <a:cxn ang="0">
                  <a:pos x="405" y="736"/>
                </a:cxn>
                <a:cxn ang="0">
                  <a:pos x="334" y="702"/>
                </a:cxn>
                <a:cxn ang="0">
                  <a:pos x="246" y="683"/>
                </a:cxn>
                <a:cxn ang="0">
                  <a:pos x="204" y="643"/>
                </a:cxn>
                <a:cxn ang="0">
                  <a:pos x="190" y="623"/>
                </a:cxn>
                <a:cxn ang="0">
                  <a:pos x="125" y="571"/>
                </a:cxn>
                <a:cxn ang="0">
                  <a:pos x="84" y="521"/>
                </a:cxn>
                <a:cxn ang="0">
                  <a:pos x="55" y="470"/>
                </a:cxn>
                <a:cxn ang="0">
                  <a:pos x="42" y="377"/>
                </a:cxn>
                <a:cxn ang="0">
                  <a:pos x="13" y="314"/>
                </a:cxn>
                <a:cxn ang="0">
                  <a:pos x="5" y="280"/>
                </a:cxn>
                <a:cxn ang="0">
                  <a:pos x="9" y="115"/>
                </a:cxn>
                <a:cxn ang="0">
                  <a:pos x="72" y="50"/>
                </a:cxn>
              </a:cxnLst>
              <a:rect l="0" t="0" r="r" b="b"/>
              <a:pathLst>
                <a:path w="1464" h="1048">
                  <a:moveTo>
                    <a:pt x="104" y="23"/>
                  </a:moveTo>
                  <a:lnTo>
                    <a:pt x="146" y="24"/>
                  </a:lnTo>
                  <a:lnTo>
                    <a:pt x="181" y="28"/>
                  </a:lnTo>
                  <a:lnTo>
                    <a:pt x="195" y="30"/>
                  </a:lnTo>
                  <a:lnTo>
                    <a:pt x="206" y="32"/>
                  </a:lnTo>
                  <a:lnTo>
                    <a:pt x="209" y="34"/>
                  </a:lnTo>
                  <a:lnTo>
                    <a:pt x="213" y="35"/>
                  </a:lnTo>
                  <a:lnTo>
                    <a:pt x="215" y="38"/>
                  </a:lnTo>
                  <a:lnTo>
                    <a:pt x="215" y="40"/>
                  </a:lnTo>
                  <a:lnTo>
                    <a:pt x="317" y="40"/>
                  </a:lnTo>
                  <a:lnTo>
                    <a:pt x="319" y="38"/>
                  </a:lnTo>
                  <a:lnTo>
                    <a:pt x="320" y="35"/>
                  </a:lnTo>
                  <a:lnTo>
                    <a:pt x="323" y="33"/>
                  </a:lnTo>
                  <a:lnTo>
                    <a:pt x="326" y="33"/>
                  </a:lnTo>
                  <a:lnTo>
                    <a:pt x="334" y="32"/>
                  </a:lnTo>
                  <a:lnTo>
                    <a:pt x="341" y="32"/>
                  </a:lnTo>
                  <a:lnTo>
                    <a:pt x="343" y="29"/>
                  </a:lnTo>
                  <a:lnTo>
                    <a:pt x="346" y="27"/>
                  </a:lnTo>
                  <a:lnTo>
                    <a:pt x="351" y="25"/>
                  </a:lnTo>
                  <a:lnTo>
                    <a:pt x="358" y="23"/>
                  </a:lnTo>
                  <a:lnTo>
                    <a:pt x="363" y="21"/>
                  </a:lnTo>
                  <a:lnTo>
                    <a:pt x="368" y="18"/>
                  </a:lnTo>
                  <a:lnTo>
                    <a:pt x="370" y="15"/>
                  </a:lnTo>
                  <a:lnTo>
                    <a:pt x="371" y="13"/>
                  </a:lnTo>
                  <a:lnTo>
                    <a:pt x="372" y="11"/>
                  </a:lnTo>
                  <a:lnTo>
                    <a:pt x="373" y="9"/>
                  </a:lnTo>
                  <a:lnTo>
                    <a:pt x="420" y="9"/>
                  </a:lnTo>
                  <a:lnTo>
                    <a:pt x="422" y="6"/>
                  </a:lnTo>
                  <a:lnTo>
                    <a:pt x="427" y="5"/>
                  </a:lnTo>
                  <a:lnTo>
                    <a:pt x="435" y="4"/>
                  </a:lnTo>
                  <a:lnTo>
                    <a:pt x="445" y="3"/>
                  </a:lnTo>
                  <a:lnTo>
                    <a:pt x="469" y="2"/>
                  </a:lnTo>
                  <a:lnTo>
                    <a:pt x="498" y="1"/>
                  </a:lnTo>
                  <a:lnTo>
                    <a:pt x="528" y="1"/>
                  </a:lnTo>
                  <a:lnTo>
                    <a:pt x="557" y="1"/>
                  </a:lnTo>
                  <a:lnTo>
                    <a:pt x="580" y="0"/>
                  </a:lnTo>
                  <a:lnTo>
                    <a:pt x="594" y="0"/>
                  </a:lnTo>
                  <a:lnTo>
                    <a:pt x="594" y="3"/>
                  </a:lnTo>
                  <a:lnTo>
                    <a:pt x="595" y="5"/>
                  </a:lnTo>
                  <a:lnTo>
                    <a:pt x="598" y="6"/>
                  </a:lnTo>
                  <a:lnTo>
                    <a:pt x="599" y="8"/>
                  </a:lnTo>
                  <a:lnTo>
                    <a:pt x="604" y="8"/>
                  </a:lnTo>
                  <a:lnTo>
                    <a:pt x="610" y="9"/>
                  </a:lnTo>
                  <a:lnTo>
                    <a:pt x="611" y="11"/>
                  </a:lnTo>
                  <a:lnTo>
                    <a:pt x="616" y="14"/>
                  </a:lnTo>
                  <a:lnTo>
                    <a:pt x="620" y="16"/>
                  </a:lnTo>
                  <a:lnTo>
                    <a:pt x="627" y="19"/>
                  </a:lnTo>
                  <a:lnTo>
                    <a:pt x="640" y="22"/>
                  </a:lnTo>
                  <a:lnTo>
                    <a:pt x="650" y="24"/>
                  </a:lnTo>
                  <a:lnTo>
                    <a:pt x="656" y="28"/>
                  </a:lnTo>
                  <a:lnTo>
                    <a:pt x="670" y="37"/>
                  </a:lnTo>
                  <a:lnTo>
                    <a:pt x="686" y="48"/>
                  </a:lnTo>
                  <a:lnTo>
                    <a:pt x="697" y="56"/>
                  </a:lnTo>
                  <a:lnTo>
                    <a:pt x="713" y="56"/>
                  </a:lnTo>
                  <a:lnTo>
                    <a:pt x="714" y="58"/>
                  </a:lnTo>
                  <a:lnTo>
                    <a:pt x="715" y="60"/>
                  </a:lnTo>
                  <a:lnTo>
                    <a:pt x="718" y="62"/>
                  </a:lnTo>
                  <a:lnTo>
                    <a:pt x="720" y="64"/>
                  </a:lnTo>
                  <a:lnTo>
                    <a:pt x="724" y="67"/>
                  </a:lnTo>
                  <a:lnTo>
                    <a:pt x="726" y="70"/>
                  </a:lnTo>
                  <a:lnTo>
                    <a:pt x="728" y="75"/>
                  </a:lnTo>
                  <a:lnTo>
                    <a:pt x="728" y="79"/>
                  </a:lnTo>
                  <a:lnTo>
                    <a:pt x="745" y="79"/>
                  </a:lnTo>
                  <a:lnTo>
                    <a:pt x="745" y="83"/>
                  </a:lnTo>
                  <a:lnTo>
                    <a:pt x="746" y="86"/>
                  </a:lnTo>
                  <a:lnTo>
                    <a:pt x="747" y="87"/>
                  </a:lnTo>
                  <a:lnTo>
                    <a:pt x="748" y="87"/>
                  </a:lnTo>
                  <a:lnTo>
                    <a:pt x="749" y="87"/>
                  </a:lnTo>
                  <a:lnTo>
                    <a:pt x="751" y="88"/>
                  </a:lnTo>
                  <a:lnTo>
                    <a:pt x="752" y="90"/>
                  </a:lnTo>
                  <a:lnTo>
                    <a:pt x="753" y="95"/>
                  </a:lnTo>
                  <a:lnTo>
                    <a:pt x="768" y="95"/>
                  </a:lnTo>
                  <a:lnTo>
                    <a:pt x="768" y="98"/>
                  </a:lnTo>
                  <a:lnTo>
                    <a:pt x="770" y="100"/>
                  </a:lnTo>
                  <a:lnTo>
                    <a:pt x="771" y="101"/>
                  </a:lnTo>
                  <a:lnTo>
                    <a:pt x="773" y="102"/>
                  </a:lnTo>
                  <a:lnTo>
                    <a:pt x="779" y="102"/>
                  </a:lnTo>
                  <a:lnTo>
                    <a:pt x="784" y="102"/>
                  </a:lnTo>
                  <a:lnTo>
                    <a:pt x="784" y="119"/>
                  </a:lnTo>
                  <a:lnTo>
                    <a:pt x="796" y="119"/>
                  </a:lnTo>
                  <a:lnTo>
                    <a:pt x="808" y="119"/>
                  </a:lnTo>
                  <a:lnTo>
                    <a:pt x="809" y="120"/>
                  </a:lnTo>
                  <a:lnTo>
                    <a:pt x="811" y="121"/>
                  </a:lnTo>
                  <a:lnTo>
                    <a:pt x="813" y="123"/>
                  </a:lnTo>
                  <a:lnTo>
                    <a:pt x="818" y="124"/>
                  </a:lnTo>
                  <a:lnTo>
                    <a:pt x="829" y="125"/>
                  </a:lnTo>
                  <a:lnTo>
                    <a:pt x="841" y="126"/>
                  </a:lnTo>
                  <a:lnTo>
                    <a:pt x="868" y="127"/>
                  </a:lnTo>
                  <a:lnTo>
                    <a:pt x="887" y="127"/>
                  </a:lnTo>
                  <a:lnTo>
                    <a:pt x="895" y="119"/>
                  </a:lnTo>
                  <a:lnTo>
                    <a:pt x="895" y="102"/>
                  </a:lnTo>
                  <a:lnTo>
                    <a:pt x="910" y="99"/>
                  </a:lnTo>
                  <a:lnTo>
                    <a:pt x="926" y="95"/>
                  </a:lnTo>
                  <a:lnTo>
                    <a:pt x="934" y="79"/>
                  </a:lnTo>
                  <a:lnTo>
                    <a:pt x="950" y="76"/>
                  </a:lnTo>
                  <a:lnTo>
                    <a:pt x="966" y="71"/>
                  </a:lnTo>
                  <a:lnTo>
                    <a:pt x="966" y="69"/>
                  </a:lnTo>
                  <a:lnTo>
                    <a:pt x="968" y="67"/>
                  </a:lnTo>
                  <a:lnTo>
                    <a:pt x="972" y="66"/>
                  </a:lnTo>
                  <a:lnTo>
                    <a:pt x="975" y="64"/>
                  </a:lnTo>
                  <a:lnTo>
                    <a:pt x="983" y="63"/>
                  </a:lnTo>
                  <a:lnTo>
                    <a:pt x="989" y="63"/>
                  </a:lnTo>
                  <a:lnTo>
                    <a:pt x="989" y="61"/>
                  </a:lnTo>
                  <a:lnTo>
                    <a:pt x="991" y="59"/>
                  </a:lnTo>
                  <a:lnTo>
                    <a:pt x="993" y="58"/>
                  </a:lnTo>
                  <a:lnTo>
                    <a:pt x="994" y="57"/>
                  </a:lnTo>
                  <a:lnTo>
                    <a:pt x="1000" y="56"/>
                  </a:lnTo>
                  <a:lnTo>
                    <a:pt x="1005" y="56"/>
                  </a:lnTo>
                  <a:lnTo>
                    <a:pt x="1021" y="40"/>
                  </a:lnTo>
                  <a:lnTo>
                    <a:pt x="1033" y="39"/>
                  </a:lnTo>
                  <a:lnTo>
                    <a:pt x="1045" y="35"/>
                  </a:lnTo>
                  <a:lnTo>
                    <a:pt x="1056" y="33"/>
                  </a:lnTo>
                  <a:lnTo>
                    <a:pt x="1069" y="32"/>
                  </a:lnTo>
                  <a:lnTo>
                    <a:pt x="1070" y="30"/>
                  </a:lnTo>
                  <a:lnTo>
                    <a:pt x="1072" y="29"/>
                  </a:lnTo>
                  <a:lnTo>
                    <a:pt x="1077" y="28"/>
                  </a:lnTo>
                  <a:lnTo>
                    <a:pt x="1082" y="27"/>
                  </a:lnTo>
                  <a:lnTo>
                    <a:pt x="1096" y="23"/>
                  </a:lnTo>
                  <a:lnTo>
                    <a:pt x="1112" y="21"/>
                  </a:lnTo>
                  <a:lnTo>
                    <a:pt x="1142" y="18"/>
                  </a:lnTo>
                  <a:lnTo>
                    <a:pt x="1156" y="16"/>
                  </a:lnTo>
                  <a:lnTo>
                    <a:pt x="1156" y="14"/>
                  </a:lnTo>
                  <a:lnTo>
                    <a:pt x="1158" y="13"/>
                  </a:lnTo>
                  <a:lnTo>
                    <a:pt x="1161" y="12"/>
                  </a:lnTo>
                  <a:lnTo>
                    <a:pt x="1166" y="12"/>
                  </a:lnTo>
                  <a:lnTo>
                    <a:pt x="1176" y="10"/>
                  </a:lnTo>
                  <a:lnTo>
                    <a:pt x="1188" y="9"/>
                  </a:lnTo>
                  <a:lnTo>
                    <a:pt x="1212" y="9"/>
                  </a:lnTo>
                  <a:lnTo>
                    <a:pt x="1226" y="9"/>
                  </a:lnTo>
                  <a:lnTo>
                    <a:pt x="1226" y="24"/>
                  </a:lnTo>
                  <a:lnTo>
                    <a:pt x="1243" y="32"/>
                  </a:lnTo>
                  <a:lnTo>
                    <a:pt x="1243" y="43"/>
                  </a:lnTo>
                  <a:lnTo>
                    <a:pt x="1243" y="56"/>
                  </a:lnTo>
                  <a:lnTo>
                    <a:pt x="1245" y="57"/>
                  </a:lnTo>
                  <a:lnTo>
                    <a:pt x="1247" y="58"/>
                  </a:lnTo>
                  <a:lnTo>
                    <a:pt x="1248" y="61"/>
                  </a:lnTo>
                  <a:lnTo>
                    <a:pt x="1250" y="64"/>
                  </a:lnTo>
                  <a:lnTo>
                    <a:pt x="1251" y="72"/>
                  </a:lnTo>
                  <a:lnTo>
                    <a:pt x="1251" y="79"/>
                  </a:lnTo>
                  <a:lnTo>
                    <a:pt x="1253" y="80"/>
                  </a:lnTo>
                  <a:lnTo>
                    <a:pt x="1255" y="80"/>
                  </a:lnTo>
                  <a:lnTo>
                    <a:pt x="1256" y="82"/>
                  </a:lnTo>
                  <a:lnTo>
                    <a:pt x="1257" y="85"/>
                  </a:lnTo>
                  <a:lnTo>
                    <a:pt x="1259" y="89"/>
                  </a:lnTo>
                  <a:lnTo>
                    <a:pt x="1259" y="95"/>
                  </a:lnTo>
                  <a:lnTo>
                    <a:pt x="1274" y="95"/>
                  </a:lnTo>
                  <a:lnTo>
                    <a:pt x="1282" y="102"/>
                  </a:lnTo>
                  <a:lnTo>
                    <a:pt x="1282" y="119"/>
                  </a:lnTo>
                  <a:lnTo>
                    <a:pt x="1292" y="120"/>
                  </a:lnTo>
                  <a:lnTo>
                    <a:pt x="1302" y="124"/>
                  </a:lnTo>
                  <a:lnTo>
                    <a:pt x="1314" y="129"/>
                  </a:lnTo>
                  <a:lnTo>
                    <a:pt x="1327" y="135"/>
                  </a:lnTo>
                  <a:lnTo>
                    <a:pt x="1339" y="140"/>
                  </a:lnTo>
                  <a:lnTo>
                    <a:pt x="1352" y="146"/>
                  </a:lnTo>
                  <a:lnTo>
                    <a:pt x="1365" y="149"/>
                  </a:lnTo>
                  <a:lnTo>
                    <a:pt x="1377" y="150"/>
                  </a:lnTo>
                  <a:lnTo>
                    <a:pt x="1377" y="155"/>
                  </a:lnTo>
                  <a:lnTo>
                    <a:pt x="1378" y="157"/>
                  </a:lnTo>
                  <a:lnTo>
                    <a:pt x="1379" y="158"/>
                  </a:lnTo>
                  <a:lnTo>
                    <a:pt x="1381" y="158"/>
                  </a:lnTo>
                  <a:lnTo>
                    <a:pt x="1382" y="158"/>
                  </a:lnTo>
                  <a:lnTo>
                    <a:pt x="1384" y="159"/>
                  </a:lnTo>
                  <a:lnTo>
                    <a:pt x="1385" y="162"/>
                  </a:lnTo>
                  <a:lnTo>
                    <a:pt x="1385" y="166"/>
                  </a:lnTo>
                  <a:lnTo>
                    <a:pt x="1400" y="166"/>
                  </a:lnTo>
                  <a:lnTo>
                    <a:pt x="1413" y="178"/>
                  </a:lnTo>
                  <a:lnTo>
                    <a:pt x="1424" y="189"/>
                  </a:lnTo>
                  <a:lnTo>
                    <a:pt x="1424" y="206"/>
                  </a:lnTo>
                  <a:lnTo>
                    <a:pt x="1433" y="214"/>
                  </a:lnTo>
                  <a:lnTo>
                    <a:pt x="1437" y="214"/>
                  </a:lnTo>
                  <a:lnTo>
                    <a:pt x="1439" y="215"/>
                  </a:lnTo>
                  <a:lnTo>
                    <a:pt x="1440" y="216"/>
                  </a:lnTo>
                  <a:lnTo>
                    <a:pt x="1440" y="217"/>
                  </a:lnTo>
                  <a:lnTo>
                    <a:pt x="1440" y="219"/>
                  </a:lnTo>
                  <a:lnTo>
                    <a:pt x="1442" y="221"/>
                  </a:lnTo>
                  <a:lnTo>
                    <a:pt x="1444" y="221"/>
                  </a:lnTo>
                  <a:lnTo>
                    <a:pt x="1448" y="222"/>
                  </a:lnTo>
                  <a:lnTo>
                    <a:pt x="1449" y="234"/>
                  </a:lnTo>
                  <a:lnTo>
                    <a:pt x="1452" y="249"/>
                  </a:lnTo>
                  <a:lnTo>
                    <a:pt x="1455" y="264"/>
                  </a:lnTo>
                  <a:lnTo>
                    <a:pt x="1456" y="277"/>
                  </a:lnTo>
                  <a:lnTo>
                    <a:pt x="1457" y="279"/>
                  </a:lnTo>
                  <a:lnTo>
                    <a:pt x="1458" y="284"/>
                  </a:lnTo>
                  <a:lnTo>
                    <a:pt x="1461" y="293"/>
                  </a:lnTo>
                  <a:lnTo>
                    <a:pt x="1462" y="306"/>
                  </a:lnTo>
                  <a:lnTo>
                    <a:pt x="1463" y="335"/>
                  </a:lnTo>
                  <a:lnTo>
                    <a:pt x="1464" y="368"/>
                  </a:lnTo>
                  <a:lnTo>
                    <a:pt x="1463" y="402"/>
                  </a:lnTo>
                  <a:lnTo>
                    <a:pt x="1461" y="431"/>
                  </a:lnTo>
                  <a:lnTo>
                    <a:pt x="1458" y="442"/>
                  </a:lnTo>
                  <a:lnTo>
                    <a:pt x="1455" y="451"/>
                  </a:lnTo>
                  <a:lnTo>
                    <a:pt x="1454" y="454"/>
                  </a:lnTo>
                  <a:lnTo>
                    <a:pt x="1452" y="456"/>
                  </a:lnTo>
                  <a:lnTo>
                    <a:pt x="1451" y="458"/>
                  </a:lnTo>
                  <a:lnTo>
                    <a:pt x="1448" y="458"/>
                  </a:lnTo>
                  <a:lnTo>
                    <a:pt x="1448" y="463"/>
                  </a:lnTo>
                  <a:lnTo>
                    <a:pt x="1447" y="466"/>
                  </a:lnTo>
                  <a:lnTo>
                    <a:pt x="1423" y="465"/>
                  </a:lnTo>
                  <a:lnTo>
                    <a:pt x="1397" y="462"/>
                  </a:lnTo>
                  <a:lnTo>
                    <a:pt x="1372" y="460"/>
                  </a:lnTo>
                  <a:lnTo>
                    <a:pt x="1353" y="458"/>
                  </a:lnTo>
                  <a:lnTo>
                    <a:pt x="1251" y="458"/>
                  </a:lnTo>
                  <a:lnTo>
                    <a:pt x="1251" y="443"/>
                  </a:lnTo>
                  <a:lnTo>
                    <a:pt x="1247" y="443"/>
                  </a:lnTo>
                  <a:lnTo>
                    <a:pt x="1244" y="442"/>
                  </a:lnTo>
                  <a:lnTo>
                    <a:pt x="1242" y="439"/>
                  </a:lnTo>
                  <a:lnTo>
                    <a:pt x="1240" y="438"/>
                  </a:lnTo>
                  <a:lnTo>
                    <a:pt x="1237" y="435"/>
                  </a:lnTo>
                  <a:lnTo>
                    <a:pt x="1236" y="433"/>
                  </a:lnTo>
                  <a:lnTo>
                    <a:pt x="1235" y="429"/>
                  </a:lnTo>
                  <a:lnTo>
                    <a:pt x="1235" y="427"/>
                  </a:lnTo>
                  <a:lnTo>
                    <a:pt x="1229" y="427"/>
                  </a:lnTo>
                  <a:lnTo>
                    <a:pt x="1227" y="426"/>
                  </a:lnTo>
                  <a:lnTo>
                    <a:pt x="1227" y="425"/>
                  </a:lnTo>
                  <a:lnTo>
                    <a:pt x="1226" y="423"/>
                  </a:lnTo>
                  <a:lnTo>
                    <a:pt x="1226" y="422"/>
                  </a:lnTo>
                  <a:lnTo>
                    <a:pt x="1226" y="421"/>
                  </a:lnTo>
                  <a:lnTo>
                    <a:pt x="1223" y="419"/>
                  </a:lnTo>
                  <a:lnTo>
                    <a:pt x="1218" y="419"/>
                  </a:lnTo>
                  <a:lnTo>
                    <a:pt x="1218" y="404"/>
                  </a:lnTo>
                  <a:lnTo>
                    <a:pt x="1212" y="402"/>
                  </a:lnTo>
                  <a:lnTo>
                    <a:pt x="1204" y="398"/>
                  </a:lnTo>
                  <a:lnTo>
                    <a:pt x="1200" y="396"/>
                  </a:lnTo>
                  <a:lnTo>
                    <a:pt x="1197" y="394"/>
                  </a:lnTo>
                  <a:lnTo>
                    <a:pt x="1196" y="390"/>
                  </a:lnTo>
                  <a:lnTo>
                    <a:pt x="1195" y="387"/>
                  </a:lnTo>
                  <a:lnTo>
                    <a:pt x="1131" y="387"/>
                  </a:lnTo>
                  <a:lnTo>
                    <a:pt x="1123" y="395"/>
                  </a:lnTo>
                  <a:lnTo>
                    <a:pt x="1116" y="404"/>
                  </a:lnTo>
                  <a:lnTo>
                    <a:pt x="1108" y="412"/>
                  </a:lnTo>
                  <a:lnTo>
                    <a:pt x="1108" y="427"/>
                  </a:lnTo>
                  <a:lnTo>
                    <a:pt x="1103" y="427"/>
                  </a:lnTo>
                  <a:lnTo>
                    <a:pt x="1101" y="428"/>
                  </a:lnTo>
                  <a:lnTo>
                    <a:pt x="1100" y="429"/>
                  </a:lnTo>
                  <a:lnTo>
                    <a:pt x="1100" y="431"/>
                  </a:lnTo>
                  <a:lnTo>
                    <a:pt x="1100" y="433"/>
                  </a:lnTo>
                  <a:lnTo>
                    <a:pt x="1099" y="434"/>
                  </a:lnTo>
                  <a:lnTo>
                    <a:pt x="1097" y="435"/>
                  </a:lnTo>
                  <a:lnTo>
                    <a:pt x="1092" y="435"/>
                  </a:lnTo>
                  <a:lnTo>
                    <a:pt x="1092" y="451"/>
                  </a:lnTo>
                  <a:lnTo>
                    <a:pt x="1090" y="452"/>
                  </a:lnTo>
                  <a:lnTo>
                    <a:pt x="1088" y="453"/>
                  </a:lnTo>
                  <a:lnTo>
                    <a:pt x="1085" y="456"/>
                  </a:lnTo>
                  <a:lnTo>
                    <a:pt x="1083" y="458"/>
                  </a:lnTo>
                  <a:lnTo>
                    <a:pt x="1081" y="462"/>
                  </a:lnTo>
                  <a:lnTo>
                    <a:pt x="1078" y="464"/>
                  </a:lnTo>
                  <a:lnTo>
                    <a:pt x="1074" y="466"/>
                  </a:lnTo>
                  <a:lnTo>
                    <a:pt x="1069" y="466"/>
                  </a:lnTo>
                  <a:lnTo>
                    <a:pt x="1068" y="472"/>
                  </a:lnTo>
                  <a:lnTo>
                    <a:pt x="1067" y="476"/>
                  </a:lnTo>
                  <a:lnTo>
                    <a:pt x="1063" y="479"/>
                  </a:lnTo>
                  <a:lnTo>
                    <a:pt x="1061" y="481"/>
                  </a:lnTo>
                  <a:lnTo>
                    <a:pt x="1058" y="483"/>
                  </a:lnTo>
                  <a:lnTo>
                    <a:pt x="1055" y="485"/>
                  </a:lnTo>
                  <a:lnTo>
                    <a:pt x="1053" y="487"/>
                  </a:lnTo>
                  <a:lnTo>
                    <a:pt x="1053" y="490"/>
                  </a:lnTo>
                  <a:lnTo>
                    <a:pt x="1037" y="490"/>
                  </a:lnTo>
                  <a:lnTo>
                    <a:pt x="1029" y="499"/>
                  </a:lnTo>
                  <a:lnTo>
                    <a:pt x="1029" y="514"/>
                  </a:lnTo>
                  <a:lnTo>
                    <a:pt x="1024" y="514"/>
                  </a:lnTo>
                  <a:lnTo>
                    <a:pt x="1022" y="515"/>
                  </a:lnTo>
                  <a:lnTo>
                    <a:pt x="1021" y="516"/>
                  </a:lnTo>
                  <a:lnTo>
                    <a:pt x="1021" y="518"/>
                  </a:lnTo>
                  <a:lnTo>
                    <a:pt x="1021" y="520"/>
                  </a:lnTo>
                  <a:lnTo>
                    <a:pt x="1020" y="521"/>
                  </a:lnTo>
                  <a:lnTo>
                    <a:pt x="1017" y="521"/>
                  </a:lnTo>
                  <a:lnTo>
                    <a:pt x="1013" y="522"/>
                  </a:lnTo>
                  <a:lnTo>
                    <a:pt x="1013" y="553"/>
                  </a:lnTo>
                  <a:lnTo>
                    <a:pt x="1012" y="554"/>
                  </a:lnTo>
                  <a:lnTo>
                    <a:pt x="1011" y="556"/>
                  </a:lnTo>
                  <a:lnTo>
                    <a:pt x="1010" y="558"/>
                  </a:lnTo>
                  <a:lnTo>
                    <a:pt x="1008" y="561"/>
                  </a:lnTo>
                  <a:lnTo>
                    <a:pt x="1007" y="569"/>
                  </a:lnTo>
                  <a:lnTo>
                    <a:pt x="1006" y="578"/>
                  </a:lnTo>
                  <a:lnTo>
                    <a:pt x="1005" y="597"/>
                  </a:lnTo>
                  <a:lnTo>
                    <a:pt x="1005" y="609"/>
                  </a:lnTo>
                  <a:lnTo>
                    <a:pt x="1003" y="609"/>
                  </a:lnTo>
                  <a:lnTo>
                    <a:pt x="1001" y="610"/>
                  </a:lnTo>
                  <a:lnTo>
                    <a:pt x="1000" y="611"/>
                  </a:lnTo>
                  <a:lnTo>
                    <a:pt x="998" y="614"/>
                  </a:lnTo>
                  <a:lnTo>
                    <a:pt x="997" y="619"/>
                  </a:lnTo>
                  <a:lnTo>
                    <a:pt x="997" y="625"/>
                  </a:lnTo>
                  <a:lnTo>
                    <a:pt x="995" y="625"/>
                  </a:lnTo>
                  <a:lnTo>
                    <a:pt x="993" y="626"/>
                  </a:lnTo>
                  <a:lnTo>
                    <a:pt x="992" y="627"/>
                  </a:lnTo>
                  <a:lnTo>
                    <a:pt x="991" y="629"/>
                  </a:lnTo>
                  <a:lnTo>
                    <a:pt x="989" y="635"/>
                  </a:lnTo>
                  <a:lnTo>
                    <a:pt x="989" y="640"/>
                  </a:lnTo>
                  <a:lnTo>
                    <a:pt x="974" y="640"/>
                  </a:lnTo>
                  <a:lnTo>
                    <a:pt x="966" y="648"/>
                  </a:lnTo>
                  <a:lnTo>
                    <a:pt x="958" y="656"/>
                  </a:lnTo>
                  <a:lnTo>
                    <a:pt x="958" y="672"/>
                  </a:lnTo>
                  <a:lnTo>
                    <a:pt x="946" y="672"/>
                  </a:lnTo>
                  <a:lnTo>
                    <a:pt x="934" y="672"/>
                  </a:lnTo>
                  <a:lnTo>
                    <a:pt x="926" y="679"/>
                  </a:lnTo>
                  <a:lnTo>
                    <a:pt x="918" y="687"/>
                  </a:lnTo>
                  <a:lnTo>
                    <a:pt x="918" y="700"/>
                  </a:lnTo>
                  <a:lnTo>
                    <a:pt x="918" y="712"/>
                  </a:lnTo>
                  <a:lnTo>
                    <a:pt x="916" y="712"/>
                  </a:lnTo>
                  <a:lnTo>
                    <a:pt x="912" y="713"/>
                  </a:lnTo>
                  <a:lnTo>
                    <a:pt x="910" y="714"/>
                  </a:lnTo>
                  <a:lnTo>
                    <a:pt x="908" y="716"/>
                  </a:lnTo>
                  <a:lnTo>
                    <a:pt x="906" y="718"/>
                  </a:lnTo>
                  <a:lnTo>
                    <a:pt x="904" y="722"/>
                  </a:lnTo>
                  <a:lnTo>
                    <a:pt x="902" y="724"/>
                  </a:lnTo>
                  <a:lnTo>
                    <a:pt x="902" y="727"/>
                  </a:lnTo>
                  <a:lnTo>
                    <a:pt x="895" y="735"/>
                  </a:lnTo>
                  <a:lnTo>
                    <a:pt x="882" y="740"/>
                  </a:lnTo>
                  <a:lnTo>
                    <a:pt x="871" y="743"/>
                  </a:lnTo>
                  <a:lnTo>
                    <a:pt x="863" y="751"/>
                  </a:lnTo>
                  <a:lnTo>
                    <a:pt x="861" y="754"/>
                  </a:lnTo>
                  <a:lnTo>
                    <a:pt x="857" y="760"/>
                  </a:lnTo>
                  <a:lnTo>
                    <a:pt x="850" y="765"/>
                  </a:lnTo>
                  <a:lnTo>
                    <a:pt x="843" y="771"/>
                  </a:lnTo>
                  <a:lnTo>
                    <a:pt x="835" y="777"/>
                  </a:lnTo>
                  <a:lnTo>
                    <a:pt x="830" y="782"/>
                  </a:lnTo>
                  <a:lnTo>
                    <a:pt x="825" y="787"/>
                  </a:lnTo>
                  <a:lnTo>
                    <a:pt x="823" y="791"/>
                  </a:lnTo>
                  <a:lnTo>
                    <a:pt x="821" y="791"/>
                  </a:lnTo>
                  <a:lnTo>
                    <a:pt x="818" y="792"/>
                  </a:lnTo>
                  <a:lnTo>
                    <a:pt x="815" y="793"/>
                  </a:lnTo>
                  <a:lnTo>
                    <a:pt x="813" y="796"/>
                  </a:lnTo>
                  <a:lnTo>
                    <a:pt x="811" y="798"/>
                  </a:lnTo>
                  <a:lnTo>
                    <a:pt x="809" y="801"/>
                  </a:lnTo>
                  <a:lnTo>
                    <a:pt x="808" y="803"/>
                  </a:lnTo>
                  <a:lnTo>
                    <a:pt x="808" y="807"/>
                  </a:lnTo>
                  <a:lnTo>
                    <a:pt x="792" y="807"/>
                  </a:lnTo>
                  <a:lnTo>
                    <a:pt x="784" y="822"/>
                  </a:lnTo>
                  <a:lnTo>
                    <a:pt x="768" y="830"/>
                  </a:lnTo>
                  <a:lnTo>
                    <a:pt x="765" y="830"/>
                  </a:lnTo>
                  <a:lnTo>
                    <a:pt x="763" y="831"/>
                  </a:lnTo>
                  <a:lnTo>
                    <a:pt x="760" y="833"/>
                  </a:lnTo>
                  <a:lnTo>
                    <a:pt x="757" y="835"/>
                  </a:lnTo>
                  <a:lnTo>
                    <a:pt x="755" y="838"/>
                  </a:lnTo>
                  <a:lnTo>
                    <a:pt x="754" y="840"/>
                  </a:lnTo>
                  <a:lnTo>
                    <a:pt x="753" y="842"/>
                  </a:lnTo>
                  <a:lnTo>
                    <a:pt x="753" y="846"/>
                  </a:lnTo>
                  <a:lnTo>
                    <a:pt x="749" y="847"/>
                  </a:lnTo>
                  <a:lnTo>
                    <a:pt x="746" y="851"/>
                  </a:lnTo>
                  <a:lnTo>
                    <a:pt x="744" y="856"/>
                  </a:lnTo>
                  <a:lnTo>
                    <a:pt x="742" y="862"/>
                  </a:lnTo>
                  <a:lnTo>
                    <a:pt x="738" y="876"/>
                  </a:lnTo>
                  <a:lnTo>
                    <a:pt x="736" y="886"/>
                  </a:lnTo>
                  <a:lnTo>
                    <a:pt x="734" y="889"/>
                  </a:lnTo>
                  <a:lnTo>
                    <a:pt x="728" y="898"/>
                  </a:lnTo>
                  <a:lnTo>
                    <a:pt x="723" y="908"/>
                  </a:lnTo>
                  <a:lnTo>
                    <a:pt x="720" y="917"/>
                  </a:lnTo>
                  <a:lnTo>
                    <a:pt x="717" y="918"/>
                  </a:lnTo>
                  <a:lnTo>
                    <a:pt x="713" y="922"/>
                  </a:lnTo>
                  <a:lnTo>
                    <a:pt x="707" y="927"/>
                  </a:lnTo>
                  <a:lnTo>
                    <a:pt x="701" y="933"/>
                  </a:lnTo>
                  <a:lnTo>
                    <a:pt x="695" y="938"/>
                  </a:lnTo>
                  <a:lnTo>
                    <a:pt x="689" y="944"/>
                  </a:lnTo>
                  <a:lnTo>
                    <a:pt x="685" y="947"/>
                  </a:lnTo>
                  <a:lnTo>
                    <a:pt x="681" y="948"/>
                  </a:lnTo>
                  <a:lnTo>
                    <a:pt x="674" y="956"/>
                  </a:lnTo>
                  <a:lnTo>
                    <a:pt x="666" y="964"/>
                  </a:lnTo>
                  <a:lnTo>
                    <a:pt x="664" y="968"/>
                  </a:lnTo>
                  <a:lnTo>
                    <a:pt x="660" y="973"/>
                  </a:lnTo>
                  <a:lnTo>
                    <a:pt x="655" y="977"/>
                  </a:lnTo>
                  <a:lnTo>
                    <a:pt x="649" y="983"/>
                  </a:lnTo>
                  <a:lnTo>
                    <a:pt x="642" y="989"/>
                  </a:lnTo>
                  <a:lnTo>
                    <a:pt x="636" y="992"/>
                  </a:lnTo>
                  <a:lnTo>
                    <a:pt x="630" y="995"/>
                  </a:lnTo>
                  <a:lnTo>
                    <a:pt x="626" y="996"/>
                  </a:lnTo>
                  <a:lnTo>
                    <a:pt x="626" y="1001"/>
                  </a:lnTo>
                  <a:lnTo>
                    <a:pt x="624" y="1003"/>
                  </a:lnTo>
                  <a:lnTo>
                    <a:pt x="623" y="1004"/>
                  </a:lnTo>
                  <a:lnTo>
                    <a:pt x="622" y="1004"/>
                  </a:lnTo>
                  <a:lnTo>
                    <a:pt x="620" y="1004"/>
                  </a:lnTo>
                  <a:lnTo>
                    <a:pt x="619" y="1005"/>
                  </a:lnTo>
                  <a:lnTo>
                    <a:pt x="618" y="1008"/>
                  </a:lnTo>
                  <a:lnTo>
                    <a:pt x="618" y="1012"/>
                  </a:lnTo>
                  <a:lnTo>
                    <a:pt x="602" y="1012"/>
                  </a:lnTo>
                  <a:lnTo>
                    <a:pt x="601" y="1014"/>
                  </a:lnTo>
                  <a:lnTo>
                    <a:pt x="600" y="1016"/>
                  </a:lnTo>
                  <a:lnTo>
                    <a:pt x="598" y="1019"/>
                  </a:lnTo>
                  <a:lnTo>
                    <a:pt x="594" y="1021"/>
                  </a:lnTo>
                  <a:lnTo>
                    <a:pt x="591" y="1023"/>
                  </a:lnTo>
                  <a:lnTo>
                    <a:pt x="589" y="1027"/>
                  </a:lnTo>
                  <a:lnTo>
                    <a:pt x="586" y="1030"/>
                  </a:lnTo>
                  <a:lnTo>
                    <a:pt x="586" y="1035"/>
                  </a:lnTo>
                  <a:lnTo>
                    <a:pt x="575" y="1038"/>
                  </a:lnTo>
                  <a:lnTo>
                    <a:pt x="563" y="1042"/>
                  </a:lnTo>
                  <a:lnTo>
                    <a:pt x="566" y="1046"/>
                  </a:lnTo>
                  <a:lnTo>
                    <a:pt x="569" y="1048"/>
                  </a:lnTo>
                  <a:lnTo>
                    <a:pt x="561" y="1038"/>
                  </a:lnTo>
                  <a:lnTo>
                    <a:pt x="549" y="1020"/>
                  </a:lnTo>
                  <a:lnTo>
                    <a:pt x="542" y="1011"/>
                  </a:lnTo>
                  <a:lnTo>
                    <a:pt x="535" y="1004"/>
                  </a:lnTo>
                  <a:lnTo>
                    <a:pt x="533" y="1001"/>
                  </a:lnTo>
                  <a:lnTo>
                    <a:pt x="530" y="999"/>
                  </a:lnTo>
                  <a:lnTo>
                    <a:pt x="527" y="996"/>
                  </a:lnTo>
                  <a:lnTo>
                    <a:pt x="524" y="996"/>
                  </a:lnTo>
                  <a:lnTo>
                    <a:pt x="524" y="983"/>
                  </a:lnTo>
                  <a:lnTo>
                    <a:pt x="521" y="982"/>
                  </a:lnTo>
                  <a:lnTo>
                    <a:pt x="516" y="980"/>
                  </a:lnTo>
                  <a:lnTo>
                    <a:pt x="511" y="975"/>
                  </a:lnTo>
                  <a:lnTo>
                    <a:pt x="506" y="968"/>
                  </a:lnTo>
                  <a:lnTo>
                    <a:pt x="495" y="954"/>
                  </a:lnTo>
                  <a:lnTo>
                    <a:pt x="484" y="937"/>
                  </a:lnTo>
                  <a:lnTo>
                    <a:pt x="473" y="921"/>
                  </a:lnTo>
                  <a:lnTo>
                    <a:pt x="464" y="906"/>
                  </a:lnTo>
                  <a:lnTo>
                    <a:pt x="457" y="895"/>
                  </a:lnTo>
                  <a:lnTo>
                    <a:pt x="453" y="891"/>
                  </a:lnTo>
                  <a:lnTo>
                    <a:pt x="446" y="869"/>
                  </a:lnTo>
                  <a:lnTo>
                    <a:pt x="431" y="819"/>
                  </a:lnTo>
                  <a:lnTo>
                    <a:pt x="424" y="793"/>
                  </a:lnTo>
                  <a:lnTo>
                    <a:pt x="417" y="770"/>
                  </a:lnTo>
                  <a:lnTo>
                    <a:pt x="410" y="753"/>
                  </a:lnTo>
                  <a:lnTo>
                    <a:pt x="407" y="748"/>
                  </a:lnTo>
                  <a:lnTo>
                    <a:pt x="407" y="742"/>
                  </a:lnTo>
                  <a:lnTo>
                    <a:pt x="406" y="739"/>
                  </a:lnTo>
                  <a:lnTo>
                    <a:pt x="405" y="736"/>
                  </a:lnTo>
                  <a:lnTo>
                    <a:pt x="403" y="735"/>
                  </a:lnTo>
                  <a:lnTo>
                    <a:pt x="402" y="734"/>
                  </a:lnTo>
                  <a:lnTo>
                    <a:pt x="400" y="734"/>
                  </a:lnTo>
                  <a:lnTo>
                    <a:pt x="400" y="721"/>
                  </a:lnTo>
                  <a:lnTo>
                    <a:pt x="387" y="708"/>
                  </a:lnTo>
                  <a:lnTo>
                    <a:pt x="374" y="707"/>
                  </a:lnTo>
                  <a:lnTo>
                    <a:pt x="361" y="706"/>
                  </a:lnTo>
                  <a:lnTo>
                    <a:pt x="348" y="704"/>
                  </a:lnTo>
                  <a:lnTo>
                    <a:pt x="334" y="702"/>
                  </a:lnTo>
                  <a:lnTo>
                    <a:pt x="321" y="700"/>
                  </a:lnTo>
                  <a:lnTo>
                    <a:pt x="307" y="697"/>
                  </a:lnTo>
                  <a:lnTo>
                    <a:pt x="294" y="695"/>
                  </a:lnTo>
                  <a:lnTo>
                    <a:pt x="282" y="695"/>
                  </a:lnTo>
                  <a:lnTo>
                    <a:pt x="273" y="694"/>
                  </a:lnTo>
                  <a:lnTo>
                    <a:pt x="265" y="693"/>
                  </a:lnTo>
                  <a:lnTo>
                    <a:pt x="257" y="689"/>
                  </a:lnTo>
                  <a:lnTo>
                    <a:pt x="252" y="686"/>
                  </a:lnTo>
                  <a:lnTo>
                    <a:pt x="246" y="683"/>
                  </a:lnTo>
                  <a:lnTo>
                    <a:pt x="240" y="678"/>
                  </a:lnTo>
                  <a:lnTo>
                    <a:pt x="237" y="674"/>
                  </a:lnTo>
                  <a:lnTo>
                    <a:pt x="233" y="668"/>
                  </a:lnTo>
                  <a:lnTo>
                    <a:pt x="226" y="659"/>
                  </a:lnTo>
                  <a:lnTo>
                    <a:pt x="219" y="650"/>
                  </a:lnTo>
                  <a:lnTo>
                    <a:pt x="216" y="647"/>
                  </a:lnTo>
                  <a:lnTo>
                    <a:pt x="213" y="645"/>
                  </a:lnTo>
                  <a:lnTo>
                    <a:pt x="208" y="643"/>
                  </a:lnTo>
                  <a:lnTo>
                    <a:pt x="204" y="643"/>
                  </a:lnTo>
                  <a:lnTo>
                    <a:pt x="204" y="629"/>
                  </a:lnTo>
                  <a:lnTo>
                    <a:pt x="199" y="629"/>
                  </a:lnTo>
                  <a:lnTo>
                    <a:pt x="198" y="628"/>
                  </a:lnTo>
                  <a:lnTo>
                    <a:pt x="197" y="627"/>
                  </a:lnTo>
                  <a:lnTo>
                    <a:pt x="197" y="626"/>
                  </a:lnTo>
                  <a:lnTo>
                    <a:pt x="197" y="625"/>
                  </a:lnTo>
                  <a:lnTo>
                    <a:pt x="196" y="624"/>
                  </a:lnTo>
                  <a:lnTo>
                    <a:pt x="194" y="623"/>
                  </a:lnTo>
                  <a:lnTo>
                    <a:pt x="190" y="623"/>
                  </a:lnTo>
                  <a:lnTo>
                    <a:pt x="190" y="609"/>
                  </a:lnTo>
                  <a:lnTo>
                    <a:pt x="177" y="609"/>
                  </a:lnTo>
                  <a:lnTo>
                    <a:pt x="176" y="607"/>
                  </a:lnTo>
                  <a:lnTo>
                    <a:pt x="171" y="602"/>
                  </a:lnTo>
                  <a:lnTo>
                    <a:pt x="165" y="598"/>
                  </a:lnTo>
                  <a:lnTo>
                    <a:pt x="157" y="593"/>
                  </a:lnTo>
                  <a:lnTo>
                    <a:pt x="141" y="583"/>
                  </a:lnTo>
                  <a:lnTo>
                    <a:pt x="131" y="577"/>
                  </a:lnTo>
                  <a:lnTo>
                    <a:pt x="125" y="571"/>
                  </a:lnTo>
                  <a:lnTo>
                    <a:pt x="114" y="557"/>
                  </a:lnTo>
                  <a:lnTo>
                    <a:pt x="108" y="550"/>
                  </a:lnTo>
                  <a:lnTo>
                    <a:pt x="101" y="543"/>
                  </a:lnTo>
                  <a:lnTo>
                    <a:pt x="95" y="539"/>
                  </a:lnTo>
                  <a:lnTo>
                    <a:pt x="92" y="538"/>
                  </a:lnTo>
                  <a:lnTo>
                    <a:pt x="92" y="524"/>
                  </a:lnTo>
                  <a:lnTo>
                    <a:pt x="90" y="524"/>
                  </a:lnTo>
                  <a:lnTo>
                    <a:pt x="86" y="523"/>
                  </a:lnTo>
                  <a:lnTo>
                    <a:pt x="84" y="521"/>
                  </a:lnTo>
                  <a:lnTo>
                    <a:pt x="82" y="519"/>
                  </a:lnTo>
                  <a:lnTo>
                    <a:pt x="77" y="512"/>
                  </a:lnTo>
                  <a:lnTo>
                    <a:pt x="73" y="504"/>
                  </a:lnTo>
                  <a:lnTo>
                    <a:pt x="69" y="498"/>
                  </a:lnTo>
                  <a:lnTo>
                    <a:pt x="65" y="491"/>
                  </a:lnTo>
                  <a:lnTo>
                    <a:pt x="62" y="486"/>
                  </a:lnTo>
                  <a:lnTo>
                    <a:pt x="58" y="485"/>
                  </a:lnTo>
                  <a:lnTo>
                    <a:pt x="57" y="479"/>
                  </a:lnTo>
                  <a:lnTo>
                    <a:pt x="55" y="470"/>
                  </a:lnTo>
                  <a:lnTo>
                    <a:pt x="53" y="465"/>
                  </a:lnTo>
                  <a:lnTo>
                    <a:pt x="51" y="462"/>
                  </a:lnTo>
                  <a:lnTo>
                    <a:pt x="48" y="460"/>
                  </a:lnTo>
                  <a:lnTo>
                    <a:pt x="46" y="458"/>
                  </a:lnTo>
                  <a:lnTo>
                    <a:pt x="46" y="439"/>
                  </a:lnTo>
                  <a:lnTo>
                    <a:pt x="45" y="412"/>
                  </a:lnTo>
                  <a:lnTo>
                    <a:pt x="44" y="397"/>
                  </a:lnTo>
                  <a:lnTo>
                    <a:pt x="43" y="385"/>
                  </a:lnTo>
                  <a:lnTo>
                    <a:pt x="42" y="377"/>
                  </a:lnTo>
                  <a:lnTo>
                    <a:pt x="40" y="374"/>
                  </a:lnTo>
                  <a:lnTo>
                    <a:pt x="38" y="367"/>
                  </a:lnTo>
                  <a:lnTo>
                    <a:pt x="36" y="359"/>
                  </a:lnTo>
                  <a:lnTo>
                    <a:pt x="33" y="349"/>
                  </a:lnTo>
                  <a:lnTo>
                    <a:pt x="28" y="339"/>
                  </a:lnTo>
                  <a:lnTo>
                    <a:pt x="24" y="330"/>
                  </a:lnTo>
                  <a:lnTo>
                    <a:pt x="21" y="322"/>
                  </a:lnTo>
                  <a:lnTo>
                    <a:pt x="16" y="317"/>
                  </a:lnTo>
                  <a:lnTo>
                    <a:pt x="13" y="314"/>
                  </a:lnTo>
                  <a:lnTo>
                    <a:pt x="13" y="309"/>
                  </a:lnTo>
                  <a:lnTo>
                    <a:pt x="13" y="302"/>
                  </a:lnTo>
                  <a:lnTo>
                    <a:pt x="12" y="300"/>
                  </a:lnTo>
                  <a:lnTo>
                    <a:pt x="10" y="297"/>
                  </a:lnTo>
                  <a:lnTo>
                    <a:pt x="8" y="296"/>
                  </a:lnTo>
                  <a:lnTo>
                    <a:pt x="7" y="296"/>
                  </a:lnTo>
                  <a:lnTo>
                    <a:pt x="6" y="289"/>
                  </a:lnTo>
                  <a:lnTo>
                    <a:pt x="6" y="283"/>
                  </a:lnTo>
                  <a:lnTo>
                    <a:pt x="5" y="280"/>
                  </a:lnTo>
                  <a:lnTo>
                    <a:pt x="4" y="278"/>
                  </a:lnTo>
                  <a:lnTo>
                    <a:pt x="3" y="275"/>
                  </a:lnTo>
                  <a:lnTo>
                    <a:pt x="0" y="275"/>
                  </a:lnTo>
                  <a:lnTo>
                    <a:pt x="2" y="240"/>
                  </a:lnTo>
                  <a:lnTo>
                    <a:pt x="4" y="203"/>
                  </a:lnTo>
                  <a:lnTo>
                    <a:pt x="6" y="166"/>
                  </a:lnTo>
                  <a:lnTo>
                    <a:pt x="7" y="131"/>
                  </a:lnTo>
                  <a:lnTo>
                    <a:pt x="7" y="123"/>
                  </a:lnTo>
                  <a:lnTo>
                    <a:pt x="9" y="115"/>
                  </a:lnTo>
                  <a:lnTo>
                    <a:pt x="13" y="108"/>
                  </a:lnTo>
                  <a:lnTo>
                    <a:pt x="17" y="101"/>
                  </a:lnTo>
                  <a:lnTo>
                    <a:pt x="27" y="89"/>
                  </a:lnTo>
                  <a:lnTo>
                    <a:pt x="40" y="79"/>
                  </a:lnTo>
                  <a:lnTo>
                    <a:pt x="52" y="69"/>
                  </a:lnTo>
                  <a:lnTo>
                    <a:pt x="62" y="61"/>
                  </a:lnTo>
                  <a:lnTo>
                    <a:pt x="66" y="57"/>
                  </a:lnTo>
                  <a:lnTo>
                    <a:pt x="70" y="53"/>
                  </a:lnTo>
                  <a:lnTo>
                    <a:pt x="72" y="50"/>
                  </a:lnTo>
                  <a:lnTo>
                    <a:pt x="72" y="46"/>
                  </a:lnTo>
                  <a:lnTo>
                    <a:pt x="85" y="46"/>
                  </a:lnTo>
                  <a:lnTo>
                    <a:pt x="93" y="35"/>
                  </a:lnTo>
                  <a:lnTo>
                    <a:pt x="104" y="2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3" name="Freeform 49"/>
            <p:cNvSpPr>
              <a:spLocks noChangeAspect="1"/>
            </p:cNvSpPr>
            <p:nvPr/>
          </p:nvSpPr>
          <p:spPr bwMode="gray">
            <a:xfrm rot="355651">
              <a:off x="6057751" y="2511425"/>
              <a:ext cx="313155" cy="219309"/>
            </a:xfrm>
            <a:custGeom>
              <a:avLst/>
              <a:gdLst/>
              <a:ahLst/>
              <a:cxnLst>
                <a:cxn ang="0">
                  <a:pos x="225" y="519"/>
                </a:cxn>
                <a:cxn ang="0">
                  <a:pos x="243" y="499"/>
                </a:cxn>
                <a:cxn ang="0">
                  <a:pos x="259" y="475"/>
                </a:cxn>
                <a:cxn ang="0">
                  <a:pos x="301" y="285"/>
                </a:cxn>
                <a:cxn ang="0">
                  <a:pos x="324" y="243"/>
                </a:cxn>
                <a:cxn ang="0">
                  <a:pos x="362" y="175"/>
                </a:cxn>
                <a:cxn ang="0">
                  <a:pos x="444" y="149"/>
                </a:cxn>
                <a:cxn ang="0">
                  <a:pos x="486" y="128"/>
                </a:cxn>
                <a:cxn ang="0">
                  <a:pos x="706" y="94"/>
                </a:cxn>
                <a:cxn ang="0">
                  <a:pos x="900" y="2"/>
                </a:cxn>
                <a:cxn ang="0">
                  <a:pos x="1149" y="31"/>
                </a:cxn>
                <a:cxn ang="0">
                  <a:pos x="1232" y="58"/>
                </a:cxn>
                <a:cxn ang="0">
                  <a:pos x="1269" y="81"/>
                </a:cxn>
                <a:cxn ang="0">
                  <a:pos x="1225" y="99"/>
                </a:cxn>
                <a:cxn ang="0">
                  <a:pos x="1192" y="125"/>
                </a:cxn>
                <a:cxn ang="0">
                  <a:pos x="1150" y="178"/>
                </a:cxn>
                <a:cxn ang="0">
                  <a:pos x="1131" y="356"/>
                </a:cxn>
                <a:cxn ang="0">
                  <a:pos x="1102" y="396"/>
                </a:cxn>
                <a:cxn ang="0">
                  <a:pos x="1059" y="411"/>
                </a:cxn>
                <a:cxn ang="0">
                  <a:pos x="1018" y="431"/>
                </a:cxn>
                <a:cxn ang="0">
                  <a:pos x="985" y="469"/>
                </a:cxn>
                <a:cxn ang="0">
                  <a:pos x="979" y="571"/>
                </a:cxn>
                <a:cxn ang="0">
                  <a:pos x="1063" y="575"/>
                </a:cxn>
                <a:cxn ang="0">
                  <a:pos x="1144" y="557"/>
                </a:cxn>
                <a:cxn ang="0">
                  <a:pos x="1194" y="618"/>
                </a:cxn>
                <a:cxn ang="0">
                  <a:pos x="1219" y="750"/>
                </a:cxn>
                <a:cxn ang="0">
                  <a:pos x="1237" y="800"/>
                </a:cxn>
                <a:cxn ang="0">
                  <a:pos x="1292" y="856"/>
                </a:cxn>
                <a:cxn ang="0">
                  <a:pos x="1396" y="833"/>
                </a:cxn>
                <a:cxn ang="0">
                  <a:pos x="1475" y="845"/>
                </a:cxn>
                <a:cxn ang="0">
                  <a:pos x="1528" y="865"/>
                </a:cxn>
                <a:cxn ang="0">
                  <a:pos x="1571" y="892"/>
                </a:cxn>
                <a:cxn ang="0">
                  <a:pos x="1713" y="925"/>
                </a:cxn>
                <a:cxn ang="0">
                  <a:pos x="1701" y="975"/>
                </a:cxn>
                <a:cxn ang="0">
                  <a:pos x="1526" y="1014"/>
                </a:cxn>
                <a:cxn ang="0">
                  <a:pos x="1500" y="1190"/>
                </a:cxn>
                <a:cxn ang="0">
                  <a:pos x="1526" y="1324"/>
                </a:cxn>
                <a:cxn ang="0">
                  <a:pos x="1512" y="1282"/>
                </a:cxn>
                <a:cxn ang="0">
                  <a:pos x="1425" y="1255"/>
                </a:cxn>
                <a:cxn ang="0">
                  <a:pos x="1302" y="1278"/>
                </a:cxn>
                <a:cxn ang="0">
                  <a:pos x="1241" y="1305"/>
                </a:cxn>
                <a:cxn ang="0">
                  <a:pos x="1137" y="1366"/>
                </a:cxn>
                <a:cxn ang="0">
                  <a:pos x="1048" y="1341"/>
                </a:cxn>
                <a:cxn ang="0">
                  <a:pos x="1016" y="1326"/>
                </a:cxn>
                <a:cxn ang="0">
                  <a:pos x="983" y="1297"/>
                </a:cxn>
                <a:cxn ang="0">
                  <a:pos x="880" y="1250"/>
                </a:cxn>
                <a:cxn ang="0">
                  <a:pos x="767" y="1240"/>
                </a:cxn>
                <a:cxn ang="0">
                  <a:pos x="637" y="1257"/>
                </a:cxn>
                <a:cxn ang="0">
                  <a:pos x="588" y="1277"/>
                </a:cxn>
                <a:cxn ang="0">
                  <a:pos x="373" y="1232"/>
                </a:cxn>
                <a:cxn ang="0">
                  <a:pos x="80" y="1242"/>
                </a:cxn>
                <a:cxn ang="0">
                  <a:pos x="66" y="1147"/>
                </a:cxn>
                <a:cxn ang="0">
                  <a:pos x="7" y="1048"/>
                </a:cxn>
                <a:cxn ang="0">
                  <a:pos x="22" y="952"/>
                </a:cxn>
                <a:cxn ang="0">
                  <a:pos x="67" y="913"/>
                </a:cxn>
                <a:cxn ang="0">
                  <a:pos x="141" y="858"/>
                </a:cxn>
                <a:cxn ang="0">
                  <a:pos x="185" y="703"/>
                </a:cxn>
                <a:cxn ang="0">
                  <a:pos x="206" y="648"/>
                </a:cxn>
                <a:cxn ang="0">
                  <a:pos x="210" y="580"/>
                </a:cxn>
              </a:cxnLst>
              <a:rect l="0" t="0" r="r" b="b"/>
              <a:pathLst>
                <a:path w="1725" h="1366">
                  <a:moveTo>
                    <a:pt x="147" y="566"/>
                  </a:moveTo>
                  <a:lnTo>
                    <a:pt x="161" y="557"/>
                  </a:lnTo>
                  <a:lnTo>
                    <a:pt x="173" y="549"/>
                  </a:lnTo>
                  <a:lnTo>
                    <a:pt x="183" y="542"/>
                  </a:lnTo>
                  <a:lnTo>
                    <a:pt x="187" y="538"/>
                  </a:lnTo>
                  <a:lnTo>
                    <a:pt x="199" y="531"/>
                  </a:lnTo>
                  <a:lnTo>
                    <a:pt x="205" y="530"/>
                  </a:lnTo>
                  <a:lnTo>
                    <a:pt x="208" y="528"/>
                  </a:lnTo>
                  <a:lnTo>
                    <a:pt x="211" y="523"/>
                  </a:lnTo>
                  <a:lnTo>
                    <a:pt x="213" y="519"/>
                  </a:lnTo>
                  <a:lnTo>
                    <a:pt x="225" y="519"/>
                  </a:lnTo>
                  <a:lnTo>
                    <a:pt x="225" y="516"/>
                  </a:lnTo>
                  <a:lnTo>
                    <a:pt x="226" y="513"/>
                  </a:lnTo>
                  <a:lnTo>
                    <a:pt x="227" y="512"/>
                  </a:lnTo>
                  <a:lnTo>
                    <a:pt x="228" y="512"/>
                  </a:lnTo>
                  <a:lnTo>
                    <a:pt x="229" y="512"/>
                  </a:lnTo>
                  <a:lnTo>
                    <a:pt x="230" y="512"/>
                  </a:lnTo>
                  <a:lnTo>
                    <a:pt x="230" y="510"/>
                  </a:lnTo>
                  <a:lnTo>
                    <a:pt x="230" y="507"/>
                  </a:lnTo>
                  <a:lnTo>
                    <a:pt x="236" y="506"/>
                  </a:lnTo>
                  <a:lnTo>
                    <a:pt x="239" y="502"/>
                  </a:lnTo>
                  <a:lnTo>
                    <a:pt x="243" y="499"/>
                  </a:lnTo>
                  <a:lnTo>
                    <a:pt x="244" y="493"/>
                  </a:lnTo>
                  <a:lnTo>
                    <a:pt x="247" y="493"/>
                  </a:lnTo>
                  <a:lnTo>
                    <a:pt x="249" y="493"/>
                  </a:lnTo>
                  <a:lnTo>
                    <a:pt x="249" y="492"/>
                  </a:lnTo>
                  <a:lnTo>
                    <a:pt x="249" y="491"/>
                  </a:lnTo>
                  <a:lnTo>
                    <a:pt x="249" y="490"/>
                  </a:lnTo>
                  <a:lnTo>
                    <a:pt x="250" y="489"/>
                  </a:lnTo>
                  <a:lnTo>
                    <a:pt x="253" y="488"/>
                  </a:lnTo>
                  <a:lnTo>
                    <a:pt x="256" y="488"/>
                  </a:lnTo>
                  <a:lnTo>
                    <a:pt x="257" y="482"/>
                  </a:lnTo>
                  <a:lnTo>
                    <a:pt x="259" y="475"/>
                  </a:lnTo>
                  <a:lnTo>
                    <a:pt x="262" y="473"/>
                  </a:lnTo>
                  <a:lnTo>
                    <a:pt x="264" y="471"/>
                  </a:lnTo>
                  <a:lnTo>
                    <a:pt x="266" y="470"/>
                  </a:lnTo>
                  <a:lnTo>
                    <a:pt x="268" y="469"/>
                  </a:lnTo>
                  <a:lnTo>
                    <a:pt x="269" y="451"/>
                  </a:lnTo>
                  <a:lnTo>
                    <a:pt x="273" y="424"/>
                  </a:lnTo>
                  <a:lnTo>
                    <a:pt x="277" y="392"/>
                  </a:lnTo>
                  <a:lnTo>
                    <a:pt x="283" y="357"/>
                  </a:lnTo>
                  <a:lnTo>
                    <a:pt x="290" y="324"/>
                  </a:lnTo>
                  <a:lnTo>
                    <a:pt x="297" y="296"/>
                  </a:lnTo>
                  <a:lnTo>
                    <a:pt x="301" y="285"/>
                  </a:lnTo>
                  <a:lnTo>
                    <a:pt x="305" y="276"/>
                  </a:lnTo>
                  <a:lnTo>
                    <a:pt x="306" y="273"/>
                  </a:lnTo>
                  <a:lnTo>
                    <a:pt x="309" y="270"/>
                  </a:lnTo>
                  <a:lnTo>
                    <a:pt x="311" y="269"/>
                  </a:lnTo>
                  <a:lnTo>
                    <a:pt x="312" y="269"/>
                  </a:lnTo>
                  <a:lnTo>
                    <a:pt x="312" y="257"/>
                  </a:lnTo>
                  <a:lnTo>
                    <a:pt x="314" y="256"/>
                  </a:lnTo>
                  <a:lnTo>
                    <a:pt x="316" y="254"/>
                  </a:lnTo>
                  <a:lnTo>
                    <a:pt x="319" y="252"/>
                  </a:lnTo>
                  <a:lnTo>
                    <a:pt x="321" y="249"/>
                  </a:lnTo>
                  <a:lnTo>
                    <a:pt x="324" y="243"/>
                  </a:lnTo>
                  <a:lnTo>
                    <a:pt x="324" y="238"/>
                  </a:lnTo>
                  <a:lnTo>
                    <a:pt x="338" y="231"/>
                  </a:lnTo>
                  <a:lnTo>
                    <a:pt x="339" y="222"/>
                  </a:lnTo>
                  <a:lnTo>
                    <a:pt x="340" y="212"/>
                  </a:lnTo>
                  <a:lnTo>
                    <a:pt x="342" y="203"/>
                  </a:lnTo>
                  <a:lnTo>
                    <a:pt x="343" y="193"/>
                  </a:lnTo>
                  <a:lnTo>
                    <a:pt x="350" y="187"/>
                  </a:lnTo>
                  <a:lnTo>
                    <a:pt x="354" y="186"/>
                  </a:lnTo>
                  <a:lnTo>
                    <a:pt x="359" y="183"/>
                  </a:lnTo>
                  <a:lnTo>
                    <a:pt x="361" y="180"/>
                  </a:lnTo>
                  <a:lnTo>
                    <a:pt x="362" y="175"/>
                  </a:lnTo>
                  <a:lnTo>
                    <a:pt x="374" y="172"/>
                  </a:lnTo>
                  <a:lnTo>
                    <a:pt x="388" y="168"/>
                  </a:lnTo>
                  <a:lnTo>
                    <a:pt x="400" y="156"/>
                  </a:lnTo>
                  <a:lnTo>
                    <a:pt x="409" y="156"/>
                  </a:lnTo>
                  <a:lnTo>
                    <a:pt x="419" y="156"/>
                  </a:lnTo>
                  <a:lnTo>
                    <a:pt x="419" y="154"/>
                  </a:lnTo>
                  <a:lnTo>
                    <a:pt x="421" y="153"/>
                  </a:lnTo>
                  <a:lnTo>
                    <a:pt x="425" y="152"/>
                  </a:lnTo>
                  <a:lnTo>
                    <a:pt x="429" y="151"/>
                  </a:lnTo>
                  <a:lnTo>
                    <a:pt x="437" y="149"/>
                  </a:lnTo>
                  <a:lnTo>
                    <a:pt x="444" y="149"/>
                  </a:lnTo>
                  <a:lnTo>
                    <a:pt x="444" y="147"/>
                  </a:lnTo>
                  <a:lnTo>
                    <a:pt x="446" y="146"/>
                  </a:lnTo>
                  <a:lnTo>
                    <a:pt x="448" y="145"/>
                  </a:lnTo>
                  <a:lnTo>
                    <a:pt x="450" y="144"/>
                  </a:lnTo>
                  <a:lnTo>
                    <a:pt x="457" y="144"/>
                  </a:lnTo>
                  <a:lnTo>
                    <a:pt x="463" y="144"/>
                  </a:lnTo>
                  <a:lnTo>
                    <a:pt x="475" y="131"/>
                  </a:lnTo>
                  <a:lnTo>
                    <a:pt x="479" y="131"/>
                  </a:lnTo>
                  <a:lnTo>
                    <a:pt x="484" y="131"/>
                  </a:lnTo>
                  <a:lnTo>
                    <a:pt x="485" y="129"/>
                  </a:lnTo>
                  <a:lnTo>
                    <a:pt x="486" y="128"/>
                  </a:lnTo>
                  <a:lnTo>
                    <a:pt x="487" y="127"/>
                  </a:lnTo>
                  <a:lnTo>
                    <a:pt x="487" y="125"/>
                  </a:lnTo>
                  <a:lnTo>
                    <a:pt x="512" y="124"/>
                  </a:lnTo>
                  <a:lnTo>
                    <a:pt x="538" y="122"/>
                  </a:lnTo>
                  <a:lnTo>
                    <a:pt x="565" y="119"/>
                  </a:lnTo>
                  <a:lnTo>
                    <a:pt x="593" y="115"/>
                  </a:lnTo>
                  <a:lnTo>
                    <a:pt x="620" y="112"/>
                  </a:lnTo>
                  <a:lnTo>
                    <a:pt x="647" y="109"/>
                  </a:lnTo>
                  <a:lnTo>
                    <a:pt x="671" y="107"/>
                  </a:lnTo>
                  <a:lnTo>
                    <a:pt x="694" y="106"/>
                  </a:lnTo>
                  <a:lnTo>
                    <a:pt x="706" y="94"/>
                  </a:lnTo>
                  <a:lnTo>
                    <a:pt x="718" y="94"/>
                  </a:lnTo>
                  <a:lnTo>
                    <a:pt x="732" y="83"/>
                  </a:lnTo>
                  <a:lnTo>
                    <a:pt x="745" y="71"/>
                  </a:lnTo>
                  <a:lnTo>
                    <a:pt x="759" y="60"/>
                  </a:lnTo>
                  <a:lnTo>
                    <a:pt x="775" y="50"/>
                  </a:lnTo>
                  <a:lnTo>
                    <a:pt x="790" y="39"/>
                  </a:lnTo>
                  <a:lnTo>
                    <a:pt x="805" y="29"/>
                  </a:lnTo>
                  <a:lnTo>
                    <a:pt x="819" y="18"/>
                  </a:lnTo>
                  <a:lnTo>
                    <a:pt x="831" y="6"/>
                  </a:lnTo>
                  <a:lnTo>
                    <a:pt x="858" y="4"/>
                  </a:lnTo>
                  <a:lnTo>
                    <a:pt x="900" y="2"/>
                  </a:lnTo>
                  <a:lnTo>
                    <a:pt x="954" y="0"/>
                  </a:lnTo>
                  <a:lnTo>
                    <a:pt x="1011" y="0"/>
                  </a:lnTo>
                  <a:lnTo>
                    <a:pt x="1039" y="1"/>
                  </a:lnTo>
                  <a:lnTo>
                    <a:pt x="1065" y="3"/>
                  </a:lnTo>
                  <a:lnTo>
                    <a:pt x="1090" y="7"/>
                  </a:lnTo>
                  <a:lnTo>
                    <a:pt x="1112" y="11"/>
                  </a:lnTo>
                  <a:lnTo>
                    <a:pt x="1121" y="14"/>
                  </a:lnTo>
                  <a:lnTo>
                    <a:pt x="1130" y="18"/>
                  </a:lnTo>
                  <a:lnTo>
                    <a:pt x="1138" y="22"/>
                  </a:lnTo>
                  <a:lnTo>
                    <a:pt x="1145" y="27"/>
                  </a:lnTo>
                  <a:lnTo>
                    <a:pt x="1149" y="31"/>
                  </a:lnTo>
                  <a:lnTo>
                    <a:pt x="1154" y="37"/>
                  </a:lnTo>
                  <a:lnTo>
                    <a:pt x="1156" y="43"/>
                  </a:lnTo>
                  <a:lnTo>
                    <a:pt x="1157" y="50"/>
                  </a:lnTo>
                  <a:lnTo>
                    <a:pt x="1175" y="50"/>
                  </a:lnTo>
                  <a:lnTo>
                    <a:pt x="1177" y="52"/>
                  </a:lnTo>
                  <a:lnTo>
                    <a:pt x="1183" y="53"/>
                  </a:lnTo>
                  <a:lnTo>
                    <a:pt x="1189" y="55"/>
                  </a:lnTo>
                  <a:lnTo>
                    <a:pt x="1198" y="56"/>
                  </a:lnTo>
                  <a:lnTo>
                    <a:pt x="1215" y="56"/>
                  </a:lnTo>
                  <a:lnTo>
                    <a:pt x="1225" y="56"/>
                  </a:lnTo>
                  <a:lnTo>
                    <a:pt x="1232" y="58"/>
                  </a:lnTo>
                  <a:lnTo>
                    <a:pt x="1248" y="62"/>
                  </a:lnTo>
                  <a:lnTo>
                    <a:pt x="1265" y="67"/>
                  </a:lnTo>
                  <a:lnTo>
                    <a:pt x="1275" y="68"/>
                  </a:lnTo>
                  <a:lnTo>
                    <a:pt x="1275" y="72"/>
                  </a:lnTo>
                  <a:lnTo>
                    <a:pt x="1274" y="74"/>
                  </a:lnTo>
                  <a:lnTo>
                    <a:pt x="1273" y="75"/>
                  </a:lnTo>
                  <a:lnTo>
                    <a:pt x="1272" y="75"/>
                  </a:lnTo>
                  <a:lnTo>
                    <a:pt x="1271" y="75"/>
                  </a:lnTo>
                  <a:lnTo>
                    <a:pt x="1270" y="76"/>
                  </a:lnTo>
                  <a:lnTo>
                    <a:pt x="1270" y="77"/>
                  </a:lnTo>
                  <a:lnTo>
                    <a:pt x="1269" y="81"/>
                  </a:lnTo>
                  <a:lnTo>
                    <a:pt x="1256" y="81"/>
                  </a:lnTo>
                  <a:lnTo>
                    <a:pt x="1251" y="87"/>
                  </a:lnTo>
                  <a:lnTo>
                    <a:pt x="1250" y="91"/>
                  </a:lnTo>
                  <a:lnTo>
                    <a:pt x="1250" y="93"/>
                  </a:lnTo>
                  <a:lnTo>
                    <a:pt x="1248" y="94"/>
                  </a:lnTo>
                  <a:lnTo>
                    <a:pt x="1247" y="94"/>
                  </a:lnTo>
                  <a:lnTo>
                    <a:pt x="1246" y="94"/>
                  </a:lnTo>
                  <a:lnTo>
                    <a:pt x="1245" y="95"/>
                  </a:lnTo>
                  <a:lnTo>
                    <a:pt x="1244" y="96"/>
                  </a:lnTo>
                  <a:lnTo>
                    <a:pt x="1244" y="99"/>
                  </a:lnTo>
                  <a:lnTo>
                    <a:pt x="1225" y="99"/>
                  </a:lnTo>
                  <a:lnTo>
                    <a:pt x="1225" y="101"/>
                  </a:lnTo>
                  <a:lnTo>
                    <a:pt x="1223" y="104"/>
                  </a:lnTo>
                  <a:lnTo>
                    <a:pt x="1221" y="105"/>
                  </a:lnTo>
                  <a:lnTo>
                    <a:pt x="1218" y="105"/>
                  </a:lnTo>
                  <a:lnTo>
                    <a:pt x="1212" y="106"/>
                  </a:lnTo>
                  <a:lnTo>
                    <a:pt x="1206" y="106"/>
                  </a:lnTo>
                  <a:lnTo>
                    <a:pt x="1200" y="113"/>
                  </a:lnTo>
                  <a:lnTo>
                    <a:pt x="1194" y="118"/>
                  </a:lnTo>
                  <a:lnTo>
                    <a:pt x="1194" y="123"/>
                  </a:lnTo>
                  <a:lnTo>
                    <a:pt x="1193" y="124"/>
                  </a:lnTo>
                  <a:lnTo>
                    <a:pt x="1192" y="125"/>
                  </a:lnTo>
                  <a:lnTo>
                    <a:pt x="1190" y="125"/>
                  </a:lnTo>
                  <a:lnTo>
                    <a:pt x="1189" y="125"/>
                  </a:lnTo>
                  <a:lnTo>
                    <a:pt x="1188" y="126"/>
                  </a:lnTo>
                  <a:lnTo>
                    <a:pt x="1188" y="127"/>
                  </a:lnTo>
                  <a:lnTo>
                    <a:pt x="1188" y="131"/>
                  </a:lnTo>
                  <a:lnTo>
                    <a:pt x="1175" y="131"/>
                  </a:lnTo>
                  <a:lnTo>
                    <a:pt x="1169" y="137"/>
                  </a:lnTo>
                  <a:lnTo>
                    <a:pt x="1162" y="144"/>
                  </a:lnTo>
                  <a:lnTo>
                    <a:pt x="1162" y="156"/>
                  </a:lnTo>
                  <a:lnTo>
                    <a:pt x="1150" y="156"/>
                  </a:lnTo>
                  <a:lnTo>
                    <a:pt x="1150" y="178"/>
                  </a:lnTo>
                  <a:lnTo>
                    <a:pt x="1150" y="201"/>
                  </a:lnTo>
                  <a:lnTo>
                    <a:pt x="1150" y="225"/>
                  </a:lnTo>
                  <a:lnTo>
                    <a:pt x="1150" y="250"/>
                  </a:lnTo>
                  <a:lnTo>
                    <a:pt x="1150" y="274"/>
                  </a:lnTo>
                  <a:lnTo>
                    <a:pt x="1150" y="299"/>
                  </a:lnTo>
                  <a:lnTo>
                    <a:pt x="1150" y="321"/>
                  </a:lnTo>
                  <a:lnTo>
                    <a:pt x="1150" y="344"/>
                  </a:lnTo>
                  <a:lnTo>
                    <a:pt x="1146" y="348"/>
                  </a:lnTo>
                  <a:lnTo>
                    <a:pt x="1141" y="353"/>
                  </a:lnTo>
                  <a:lnTo>
                    <a:pt x="1136" y="355"/>
                  </a:lnTo>
                  <a:lnTo>
                    <a:pt x="1131" y="356"/>
                  </a:lnTo>
                  <a:lnTo>
                    <a:pt x="1129" y="363"/>
                  </a:lnTo>
                  <a:lnTo>
                    <a:pt x="1125" y="370"/>
                  </a:lnTo>
                  <a:lnTo>
                    <a:pt x="1121" y="375"/>
                  </a:lnTo>
                  <a:lnTo>
                    <a:pt x="1118" y="378"/>
                  </a:lnTo>
                  <a:lnTo>
                    <a:pt x="1116" y="381"/>
                  </a:lnTo>
                  <a:lnTo>
                    <a:pt x="1112" y="382"/>
                  </a:lnTo>
                  <a:lnTo>
                    <a:pt x="1112" y="385"/>
                  </a:lnTo>
                  <a:lnTo>
                    <a:pt x="1111" y="388"/>
                  </a:lnTo>
                  <a:lnTo>
                    <a:pt x="1109" y="391"/>
                  </a:lnTo>
                  <a:lnTo>
                    <a:pt x="1107" y="393"/>
                  </a:lnTo>
                  <a:lnTo>
                    <a:pt x="1102" y="396"/>
                  </a:lnTo>
                  <a:lnTo>
                    <a:pt x="1100" y="399"/>
                  </a:lnTo>
                  <a:lnTo>
                    <a:pt x="1081" y="399"/>
                  </a:lnTo>
                  <a:lnTo>
                    <a:pt x="1081" y="402"/>
                  </a:lnTo>
                  <a:lnTo>
                    <a:pt x="1080" y="404"/>
                  </a:lnTo>
                  <a:lnTo>
                    <a:pt x="1077" y="405"/>
                  </a:lnTo>
                  <a:lnTo>
                    <a:pt x="1074" y="405"/>
                  </a:lnTo>
                  <a:lnTo>
                    <a:pt x="1069" y="406"/>
                  </a:lnTo>
                  <a:lnTo>
                    <a:pt x="1063" y="406"/>
                  </a:lnTo>
                  <a:lnTo>
                    <a:pt x="1062" y="408"/>
                  </a:lnTo>
                  <a:lnTo>
                    <a:pt x="1061" y="410"/>
                  </a:lnTo>
                  <a:lnTo>
                    <a:pt x="1059" y="411"/>
                  </a:lnTo>
                  <a:lnTo>
                    <a:pt x="1055" y="412"/>
                  </a:lnTo>
                  <a:lnTo>
                    <a:pt x="1050" y="412"/>
                  </a:lnTo>
                  <a:lnTo>
                    <a:pt x="1044" y="413"/>
                  </a:lnTo>
                  <a:lnTo>
                    <a:pt x="1043" y="414"/>
                  </a:lnTo>
                  <a:lnTo>
                    <a:pt x="1043" y="416"/>
                  </a:lnTo>
                  <a:lnTo>
                    <a:pt x="1042" y="417"/>
                  </a:lnTo>
                  <a:lnTo>
                    <a:pt x="1040" y="417"/>
                  </a:lnTo>
                  <a:lnTo>
                    <a:pt x="1036" y="418"/>
                  </a:lnTo>
                  <a:lnTo>
                    <a:pt x="1032" y="418"/>
                  </a:lnTo>
                  <a:lnTo>
                    <a:pt x="1032" y="431"/>
                  </a:lnTo>
                  <a:lnTo>
                    <a:pt x="1018" y="431"/>
                  </a:lnTo>
                  <a:lnTo>
                    <a:pt x="1012" y="437"/>
                  </a:lnTo>
                  <a:lnTo>
                    <a:pt x="1004" y="446"/>
                  </a:lnTo>
                  <a:lnTo>
                    <a:pt x="997" y="455"/>
                  </a:lnTo>
                  <a:lnTo>
                    <a:pt x="994" y="462"/>
                  </a:lnTo>
                  <a:lnTo>
                    <a:pt x="991" y="463"/>
                  </a:lnTo>
                  <a:lnTo>
                    <a:pt x="988" y="463"/>
                  </a:lnTo>
                  <a:lnTo>
                    <a:pt x="987" y="464"/>
                  </a:lnTo>
                  <a:lnTo>
                    <a:pt x="987" y="465"/>
                  </a:lnTo>
                  <a:lnTo>
                    <a:pt x="987" y="466"/>
                  </a:lnTo>
                  <a:lnTo>
                    <a:pt x="987" y="468"/>
                  </a:lnTo>
                  <a:lnTo>
                    <a:pt x="985" y="469"/>
                  </a:lnTo>
                  <a:lnTo>
                    <a:pt x="982" y="469"/>
                  </a:lnTo>
                  <a:lnTo>
                    <a:pt x="982" y="493"/>
                  </a:lnTo>
                  <a:lnTo>
                    <a:pt x="979" y="497"/>
                  </a:lnTo>
                  <a:lnTo>
                    <a:pt x="977" y="503"/>
                  </a:lnTo>
                  <a:lnTo>
                    <a:pt x="976" y="514"/>
                  </a:lnTo>
                  <a:lnTo>
                    <a:pt x="976" y="527"/>
                  </a:lnTo>
                  <a:lnTo>
                    <a:pt x="975" y="551"/>
                  </a:lnTo>
                  <a:lnTo>
                    <a:pt x="975" y="569"/>
                  </a:lnTo>
                  <a:lnTo>
                    <a:pt x="977" y="569"/>
                  </a:lnTo>
                  <a:lnTo>
                    <a:pt x="978" y="570"/>
                  </a:lnTo>
                  <a:lnTo>
                    <a:pt x="979" y="571"/>
                  </a:lnTo>
                  <a:lnTo>
                    <a:pt x="981" y="572"/>
                  </a:lnTo>
                  <a:lnTo>
                    <a:pt x="982" y="577"/>
                  </a:lnTo>
                  <a:lnTo>
                    <a:pt x="982" y="581"/>
                  </a:lnTo>
                  <a:lnTo>
                    <a:pt x="987" y="587"/>
                  </a:lnTo>
                  <a:lnTo>
                    <a:pt x="994" y="594"/>
                  </a:lnTo>
                  <a:lnTo>
                    <a:pt x="1013" y="594"/>
                  </a:lnTo>
                  <a:lnTo>
                    <a:pt x="1031" y="591"/>
                  </a:lnTo>
                  <a:lnTo>
                    <a:pt x="1040" y="589"/>
                  </a:lnTo>
                  <a:lnTo>
                    <a:pt x="1048" y="586"/>
                  </a:lnTo>
                  <a:lnTo>
                    <a:pt x="1055" y="581"/>
                  </a:lnTo>
                  <a:lnTo>
                    <a:pt x="1063" y="575"/>
                  </a:lnTo>
                  <a:lnTo>
                    <a:pt x="1073" y="574"/>
                  </a:lnTo>
                  <a:lnTo>
                    <a:pt x="1084" y="571"/>
                  </a:lnTo>
                  <a:lnTo>
                    <a:pt x="1096" y="570"/>
                  </a:lnTo>
                  <a:lnTo>
                    <a:pt x="1107" y="569"/>
                  </a:lnTo>
                  <a:lnTo>
                    <a:pt x="1107" y="567"/>
                  </a:lnTo>
                  <a:lnTo>
                    <a:pt x="1108" y="565"/>
                  </a:lnTo>
                  <a:lnTo>
                    <a:pt x="1110" y="562"/>
                  </a:lnTo>
                  <a:lnTo>
                    <a:pt x="1112" y="561"/>
                  </a:lnTo>
                  <a:lnTo>
                    <a:pt x="1119" y="559"/>
                  </a:lnTo>
                  <a:lnTo>
                    <a:pt x="1127" y="558"/>
                  </a:lnTo>
                  <a:lnTo>
                    <a:pt x="1144" y="557"/>
                  </a:lnTo>
                  <a:lnTo>
                    <a:pt x="1157" y="556"/>
                  </a:lnTo>
                  <a:lnTo>
                    <a:pt x="1158" y="561"/>
                  </a:lnTo>
                  <a:lnTo>
                    <a:pt x="1160" y="565"/>
                  </a:lnTo>
                  <a:lnTo>
                    <a:pt x="1165" y="568"/>
                  </a:lnTo>
                  <a:lnTo>
                    <a:pt x="1169" y="569"/>
                  </a:lnTo>
                  <a:lnTo>
                    <a:pt x="1171" y="579"/>
                  </a:lnTo>
                  <a:lnTo>
                    <a:pt x="1179" y="596"/>
                  </a:lnTo>
                  <a:lnTo>
                    <a:pt x="1184" y="605"/>
                  </a:lnTo>
                  <a:lnTo>
                    <a:pt x="1187" y="612"/>
                  </a:lnTo>
                  <a:lnTo>
                    <a:pt x="1192" y="617"/>
                  </a:lnTo>
                  <a:lnTo>
                    <a:pt x="1194" y="618"/>
                  </a:lnTo>
                  <a:lnTo>
                    <a:pt x="1194" y="644"/>
                  </a:lnTo>
                  <a:lnTo>
                    <a:pt x="1197" y="647"/>
                  </a:lnTo>
                  <a:lnTo>
                    <a:pt x="1199" y="656"/>
                  </a:lnTo>
                  <a:lnTo>
                    <a:pt x="1203" y="671"/>
                  </a:lnTo>
                  <a:lnTo>
                    <a:pt x="1206" y="686"/>
                  </a:lnTo>
                  <a:lnTo>
                    <a:pt x="1210" y="718"/>
                  </a:lnTo>
                  <a:lnTo>
                    <a:pt x="1213" y="738"/>
                  </a:lnTo>
                  <a:lnTo>
                    <a:pt x="1215" y="739"/>
                  </a:lnTo>
                  <a:lnTo>
                    <a:pt x="1216" y="741"/>
                  </a:lnTo>
                  <a:lnTo>
                    <a:pt x="1218" y="745"/>
                  </a:lnTo>
                  <a:lnTo>
                    <a:pt x="1219" y="750"/>
                  </a:lnTo>
                  <a:lnTo>
                    <a:pt x="1222" y="754"/>
                  </a:lnTo>
                  <a:lnTo>
                    <a:pt x="1224" y="759"/>
                  </a:lnTo>
                  <a:lnTo>
                    <a:pt x="1227" y="761"/>
                  </a:lnTo>
                  <a:lnTo>
                    <a:pt x="1232" y="762"/>
                  </a:lnTo>
                  <a:lnTo>
                    <a:pt x="1232" y="781"/>
                  </a:lnTo>
                  <a:lnTo>
                    <a:pt x="1234" y="782"/>
                  </a:lnTo>
                  <a:lnTo>
                    <a:pt x="1235" y="783"/>
                  </a:lnTo>
                  <a:lnTo>
                    <a:pt x="1236" y="786"/>
                  </a:lnTo>
                  <a:lnTo>
                    <a:pt x="1237" y="788"/>
                  </a:lnTo>
                  <a:lnTo>
                    <a:pt x="1237" y="795"/>
                  </a:lnTo>
                  <a:lnTo>
                    <a:pt x="1237" y="800"/>
                  </a:lnTo>
                  <a:lnTo>
                    <a:pt x="1241" y="801"/>
                  </a:lnTo>
                  <a:lnTo>
                    <a:pt x="1243" y="805"/>
                  </a:lnTo>
                  <a:lnTo>
                    <a:pt x="1246" y="808"/>
                  </a:lnTo>
                  <a:lnTo>
                    <a:pt x="1250" y="814"/>
                  </a:lnTo>
                  <a:lnTo>
                    <a:pt x="1254" y="824"/>
                  </a:lnTo>
                  <a:lnTo>
                    <a:pt x="1256" y="831"/>
                  </a:lnTo>
                  <a:lnTo>
                    <a:pt x="1263" y="838"/>
                  </a:lnTo>
                  <a:lnTo>
                    <a:pt x="1269" y="844"/>
                  </a:lnTo>
                  <a:lnTo>
                    <a:pt x="1275" y="850"/>
                  </a:lnTo>
                  <a:lnTo>
                    <a:pt x="1282" y="856"/>
                  </a:lnTo>
                  <a:lnTo>
                    <a:pt x="1292" y="856"/>
                  </a:lnTo>
                  <a:lnTo>
                    <a:pt x="1303" y="856"/>
                  </a:lnTo>
                  <a:lnTo>
                    <a:pt x="1315" y="856"/>
                  </a:lnTo>
                  <a:lnTo>
                    <a:pt x="1325" y="856"/>
                  </a:lnTo>
                  <a:lnTo>
                    <a:pt x="1331" y="844"/>
                  </a:lnTo>
                  <a:lnTo>
                    <a:pt x="1344" y="844"/>
                  </a:lnTo>
                  <a:lnTo>
                    <a:pt x="1346" y="841"/>
                  </a:lnTo>
                  <a:lnTo>
                    <a:pt x="1349" y="839"/>
                  </a:lnTo>
                  <a:lnTo>
                    <a:pt x="1353" y="838"/>
                  </a:lnTo>
                  <a:lnTo>
                    <a:pt x="1360" y="837"/>
                  </a:lnTo>
                  <a:lnTo>
                    <a:pt x="1377" y="835"/>
                  </a:lnTo>
                  <a:lnTo>
                    <a:pt x="1396" y="833"/>
                  </a:lnTo>
                  <a:lnTo>
                    <a:pt x="1434" y="831"/>
                  </a:lnTo>
                  <a:lnTo>
                    <a:pt x="1456" y="831"/>
                  </a:lnTo>
                  <a:lnTo>
                    <a:pt x="1457" y="834"/>
                  </a:lnTo>
                  <a:lnTo>
                    <a:pt x="1457" y="835"/>
                  </a:lnTo>
                  <a:lnTo>
                    <a:pt x="1459" y="836"/>
                  </a:lnTo>
                  <a:lnTo>
                    <a:pt x="1461" y="837"/>
                  </a:lnTo>
                  <a:lnTo>
                    <a:pt x="1465" y="837"/>
                  </a:lnTo>
                  <a:lnTo>
                    <a:pt x="1469" y="838"/>
                  </a:lnTo>
                  <a:lnTo>
                    <a:pt x="1469" y="840"/>
                  </a:lnTo>
                  <a:lnTo>
                    <a:pt x="1472" y="843"/>
                  </a:lnTo>
                  <a:lnTo>
                    <a:pt x="1475" y="845"/>
                  </a:lnTo>
                  <a:lnTo>
                    <a:pt x="1480" y="846"/>
                  </a:lnTo>
                  <a:lnTo>
                    <a:pt x="1487" y="849"/>
                  </a:lnTo>
                  <a:lnTo>
                    <a:pt x="1494" y="850"/>
                  </a:lnTo>
                  <a:lnTo>
                    <a:pt x="1498" y="854"/>
                  </a:lnTo>
                  <a:lnTo>
                    <a:pt x="1504" y="856"/>
                  </a:lnTo>
                  <a:lnTo>
                    <a:pt x="1511" y="856"/>
                  </a:lnTo>
                  <a:lnTo>
                    <a:pt x="1520" y="856"/>
                  </a:lnTo>
                  <a:lnTo>
                    <a:pt x="1520" y="858"/>
                  </a:lnTo>
                  <a:lnTo>
                    <a:pt x="1521" y="860"/>
                  </a:lnTo>
                  <a:lnTo>
                    <a:pt x="1524" y="863"/>
                  </a:lnTo>
                  <a:lnTo>
                    <a:pt x="1528" y="865"/>
                  </a:lnTo>
                  <a:lnTo>
                    <a:pt x="1535" y="868"/>
                  </a:lnTo>
                  <a:lnTo>
                    <a:pt x="1544" y="869"/>
                  </a:lnTo>
                  <a:lnTo>
                    <a:pt x="1544" y="870"/>
                  </a:lnTo>
                  <a:lnTo>
                    <a:pt x="1545" y="873"/>
                  </a:lnTo>
                  <a:lnTo>
                    <a:pt x="1546" y="874"/>
                  </a:lnTo>
                  <a:lnTo>
                    <a:pt x="1548" y="874"/>
                  </a:lnTo>
                  <a:lnTo>
                    <a:pt x="1552" y="875"/>
                  </a:lnTo>
                  <a:lnTo>
                    <a:pt x="1557" y="875"/>
                  </a:lnTo>
                  <a:lnTo>
                    <a:pt x="1563" y="882"/>
                  </a:lnTo>
                  <a:lnTo>
                    <a:pt x="1567" y="887"/>
                  </a:lnTo>
                  <a:lnTo>
                    <a:pt x="1571" y="892"/>
                  </a:lnTo>
                  <a:lnTo>
                    <a:pt x="1578" y="896"/>
                  </a:lnTo>
                  <a:lnTo>
                    <a:pt x="1587" y="901"/>
                  </a:lnTo>
                  <a:lnTo>
                    <a:pt x="1596" y="904"/>
                  </a:lnTo>
                  <a:lnTo>
                    <a:pt x="1606" y="907"/>
                  </a:lnTo>
                  <a:lnTo>
                    <a:pt x="1617" y="910"/>
                  </a:lnTo>
                  <a:lnTo>
                    <a:pt x="1628" y="912"/>
                  </a:lnTo>
                  <a:lnTo>
                    <a:pt x="1650" y="915"/>
                  </a:lnTo>
                  <a:lnTo>
                    <a:pt x="1673" y="917"/>
                  </a:lnTo>
                  <a:lnTo>
                    <a:pt x="1692" y="918"/>
                  </a:lnTo>
                  <a:lnTo>
                    <a:pt x="1707" y="918"/>
                  </a:lnTo>
                  <a:lnTo>
                    <a:pt x="1713" y="925"/>
                  </a:lnTo>
                  <a:lnTo>
                    <a:pt x="1720" y="932"/>
                  </a:lnTo>
                  <a:lnTo>
                    <a:pt x="1725" y="937"/>
                  </a:lnTo>
                  <a:lnTo>
                    <a:pt x="1725" y="953"/>
                  </a:lnTo>
                  <a:lnTo>
                    <a:pt x="1725" y="969"/>
                  </a:lnTo>
                  <a:lnTo>
                    <a:pt x="1713" y="969"/>
                  </a:lnTo>
                  <a:lnTo>
                    <a:pt x="1713" y="971"/>
                  </a:lnTo>
                  <a:lnTo>
                    <a:pt x="1712" y="972"/>
                  </a:lnTo>
                  <a:lnTo>
                    <a:pt x="1711" y="973"/>
                  </a:lnTo>
                  <a:lnTo>
                    <a:pt x="1709" y="974"/>
                  </a:lnTo>
                  <a:lnTo>
                    <a:pt x="1705" y="975"/>
                  </a:lnTo>
                  <a:lnTo>
                    <a:pt x="1701" y="975"/>
                  </a:lnTo>
                  <a:lnTo>
                    <a:pt x="1699" y="978"/>
                  </a:lnTo>
                  <a:lnTo>
                    <a:pt x="1696" y="980"/>
                  </a:lnTo>
                  <a:lnTo>
                    <a:pt x="1693" y="982"/>
                  </a:lnTo>
                  <a:lnTo>
                    <a:pt x="1687" y="983"/>
                  </a:lnTo>
                  <a:lnTo>
                    <a:pt x="1677" y="987"/>
                  </a:lnTo>
                  <a:lnTo>
                    <a:pt x="1669" y="988"/>
                  </a:lnTo>
                  <a:lnTo>
                    <a:pt x="1532" y="1000"/>
                  </a:lnTo>
                  <a:lnTo>
                    <a:pt x="1532" y="1012"/>
                  </a:lnTo>
                  <a:lnTo>
                    <a:pt x="1530" y="1013"/>
                  </a:lnTo>
                  <a:lnTo>
                    <a:pt x="1528" y="1013"/>
                  </a:lnTo>
                  <a:lnTo>
                    <a:pt x="1526" y="1014"/>
                  </a:lnTo>
                  <a:lnTo>
                    <a:pt x="1526" y="1017"/>
                  </a:lnTo>
                  <a:lnTo>
                    <a:pt x="1525" y="1021"/>
                  </a:lnTo>
                  <a:lnTo>
                    <a:pt x="1525" y="1026"/>
                  </a:lnTo>
                  <a:lnTo>
                    <a:pt x="1524" y="1031"/>
                  </a:lnTo>
                  <a:lnTo>
                    <a:pt x="1521" y="1049"/>
                  </a:lnTo>
                  <a:lnTo>
                    <a:pt x="1516" y="1075"/>
                  </a:lnTo>
                  <a:lnTo>
                    <a:pt x="1511" y="1104"/>
                  </a:lnTo>
                  <a:lnTo>
                    <a:pt x="1505" y="1135"/>
                  </a:lnTo>
                  <a:lnTo>
                    <a:pt x="1502" y="1165"/>
                  </a:lnTo>
                  <a:lnTo>
                    <a:pt x="1501" y="1178"/>
                  </a:lnTo>
                  <a:lnTo>
                    <a:pt x="1500" y="1190"/>
                  </a:lnTo>
                  <a:lnTo>
                    <a:pt x="1500" y="1200"/>
                  </a:lnTo>
                  <a:lnTo>
                    <a:pt x="1501" y="1206"/>
                  </a:lnTo>
                  <a:lnTo>
                    <a:pt x="1513" y="1253"/>
                  </a:lnTo>
                  <a:lnTo>
                    <a:pt x="1523" y="1287"/>
                  </a:lnTo>
                  <a:lnTo>
                    <a:pt x="1528" y="1301"/>
                  </a:lnTo>
                  <a:lnTo>
                    <a:pt x="1530" y="1312"/>
                  </a:lnTo>
                  <a:lnTo>
                    <a:pt x="1532" y="1324"/>
                  </a:lnTo>
                  <a:lnTo>
                    <a:pt x="1531" y="1334"/>
                  </a:lnTo>
                  <a:lnTo>
                    <a:pt x="1528" y="1334"/>
                  </a:lnTo>
                  <a:lnTo>
                    <a:pt x="1528" y="1328"/>
                  </a:lnTo>
                  <a:lnTo>
                    <a:pt x="1526" y="1324"/>
                  </a:lnTo>
                  <a:lnTo>
                    <a:pt x="1525" y="1321"/>
                  </a:lnTo>
                  <a:lnTo>
                    <a:pt x="1524" y="1319"/>
                  </a:lnTo>
                  <a:lnTo>
                    <a:pt x="1522" y="1319"/>
                  </a:lnTo>
                  <a:lnTo>
                    <a:pt x="1520" y="1318"/>
                  </a:lnTo>
                  <a:lnTo>
                    <a:pt x="1520" y="1311"/>
                  </a:lnTo>
                  <a:lnTo>
                    <a:pt x="1519" y="1303"/>
                  </a:lnTo>
                  <a:lnTo>
                    <a:pt x="1517" y="1300"/>
                  </a:lnTo>
                  <a:lnTo>
                    <a:pt x="1516" y="1297"/>
                  </a:lnTo>
                  <a:lnTo>
                    <a:pt x="1514" y="1296"/>
                  </a:lnTo>
                  <a:lnTo>
                    <a:pt x="1512" y="1295"/>
                  </a:lnTo>
                  <a:lnTo>
                    <a:pt x="1512" y="1282"/>
                  </a:lnTo>
                  <a:lnTo>
                    <a:pt x="1512" y="1271"/>
                  </a:lnTo>
                  <a:lnTo>
                    <a:pt x="1495" y="1263"/>
                  </a:lnTo>
                  <a:lnTo>
                    <a:pt x="1495" y="1248"/>
                  </a:lnTo>
                  <a:lnTo>
                    <a:pt x="1481" y="1248"/>
                  </a:lnTo>
                  <a:lnTo>
                    <a:pt x="1457" y="1248"/>
                  </a:lnTo>
                  <a:lnTo>
                    <a:pt x="1445" y="1249"/>
                  </a:lnTo>
                  <a:lnTo>
                    <a:pt x="1435" y="1251"/>
                  </a:lnTo>
                  <a:lnTo>
                    <a:pt x="1430" y="1251"/>
                  </a:lnTo>
                  <a:lnTo>
                    <a:pt x="1427" y="1252"/>
                  </a:lnTo>
                  <a:lnTo>
                    <a:pt x="1425" y="1253"/>
                  </a:lnTo>
                  <a:lnTo>
                    <a:pt x="1425" y="1255"/>
                  </a:lnTo>
                  <a:lnTo>
                    <a:pt x="1411" y="1257"/>
                  </a:lnTo>
                  <a:lnTo>
                    <a:pt x="1381" y="1260"/>
                  </a:lnTo>
                  <a:lnTo>
                    <a:pt x="1365" y="1262"/>
                  </a:lnTo>
                  <a:lnTo>
                    <a:pt x="1351" y="1266"/>
                  </a:lnTo>
                  <a:lnTo>
                    <a:pt x="1346" y="1267"/>
                  </a:lnTo>
                  <a:lnTo>
                    <a:pt x="1341" y="1268"/>
                  </a:lnTo>
                  <a:lnTo>
                    <a:pt x="1339" y="1269"/>
                  </a:lnTo>
                  <a:lnTo>
                    <a:pt x="1338" y="1271"/>
                  </a:lnTo>
                  <a:lnTo>
                    <a:pt x="1325" y="1272"/>
                  </a:lnTo>
                  <a:lnTo>
                    <a:pt x="1314" y="1274"/>
                  </a:lnTo>
                  <a:lnTo>
                    <a:pt x="1302" y="1278"/>
                  </a:lnTo>
                  <a:lnTo>
                    <a:pt x="1290" y="1279"/>
                  </a:lnTo>
                  <a:lnTo>
                    <a:pt x="1274" y="1295"/>
                  </a:lnTo>
                  <a:lnTo>
                    <a:pt x="1269" y="1295"/>
                  </a:lnTo>
                  <a:lnTo>
                    <a:pt x="1263" y="1296"/>
                  </a:lnTo>
                  <a:lnTo>
                    <a:pt x="1262" y="1297"/>
                  </a:lnTo>
                  <a:lnTo>
                    <a:pt x="1260" y="1298"/>
                  </a:lnTo>
                  <a:lnTo>
                    <a:pt x="1258" y="1300"/>
                  </a:lnTo>
                  <a:lnTo>
                    <a:pt x="1258" y="1302"/>
                  </a:lnTo>
                  <a:lnTo>
                    <a:pt x="1252" y="1302"/>
                  </a:lnTo>
                  <a:lnTo>
                    <a:pt x="1244" y="1303"/>
                  </a:lnTo>
                  <a:lnTo>
                    <a:pt x="1241" y="1305"/>
                  </a:lnTo>
                  <a:lnTo>
                    <a:pt x="1237" y="1306"/>
                  </a:lnTo>
                  <a:lnTo>
                    <a:pt x="1235" y="1308"/>
                  </a:lnTo>
                  <a:lnTo>
                    <a:pt x="1235" y="1310"/>
                  </a:lnTo>
                  <a:lnTo>
                    <a:pt x="1219" y="1315"/>
                  </a:lnTo>
                  <a:lnTo>
                    <a:pt x="1203" y="1318"/>
                  </a:lnTo>
                  <a:lnTo>
                    <a:pt x="1195" y="1334"/>
                  </a:lnTo>
                  <a:lnTo>
                    <a:pt x="1179" y="1338"/>
                  </a:lnTo>
                  <a:lnTo>
                    <a:pt x="1164" y="1341"/>
                  </a:lnTo>
                  <a:lnTo>
                    <a:pt x="1164" y="1358"/>
                  </a:lnTo>
                  <a:lnTo>
                    <a:pt x="1156" y="1366"/>
                  </a:lnTo>
                  <a:lnTo>
                    <a:pt x="1137" y="1366"/>
                  </a:lnTo>
                  <a:lnTo>
                    <a:pt x="1110" y="1365"/>
                  </a:lnTo>
                  <a:lnTo>
                    <a:pt x="1098" y="1364"/>
                  </a:lnTo>
                  <a:lnTo>
                    <a:pt x="1087" y="1363"/>
                  </a:lnTo>
                  <a:lnTo>
                    <a:pt x="1082" y="1362"/>
                  </a:lnTo>
                  <a:lnTo>
                    <a:pt x="1080" y="1360"/>
                  </a:lnTo>
                  <a:lnTo>
                    <a:pt x="1078" y="1359"/>
                  </a:lnTo>
                  <a:lnTo>
                    <a:pt x="1077" y="1358"/>
                  </a:lnTo>
                  <a:lnTo>
                    <a:pt x="1065" y="1358"/>
                  </a:lnTo>
                  <a:lnTo>
                    <a:pt x="1053" y="1358"/>
                  </a:lnTo>
                  <a:lnTo>
                    <a:pt x="1053" y="1341"/>
                  </a:lnTo>
                  <a:lnTo>
                    <a:pt x="1048" y="1341"/>
                  </a:lnTo>
                  <a:lnTo>
                    <a:pt x="1042" y="1341"/>
                  </a:lnTo>
                  <a:lnTo>
                    <a:pt x="1040" y="1340"/>
                  </a:lnTo>
                  <a:lnTo>
                    <a:pt x="1039" y="1339"/>
                  </a:lnTo>
                  <a:lnTo>
                    <a:pt x="1037" y="1337"/>
                  </a:lnTo>
                  <a:lnTo>
                    <a:pt x="1037" y="1334"/>
                  </a:lnTo>
                  <a:lnTo>
                    <a:pt x="1022" y="1334"/>
                  </a:lnTo>
                  <a:lnTo>
                    <a:pt x="1021" y="1329"/>
                  </a:lnTo>
                  <a:lnTo>
                    <a:pt x="1020" y="1327"/>
                  </a:lnTo>
                  <a:lnTo>
                    <a:pt x="1018" y="1326"/>
                  </a:lnTo>
                  <a:lnTo>
                    <a:pt x="1017" y="1326"/>
                  </a:lnTo>
                  <a:lnTo>
                    <a:pt x="1016" y="1326"/>
                  </a:lnTo>
                  <a:lnTo>
                    <a:pt x="1015" y="1325"/>
                  </a:lnTo>
                  <a:lnTo>
                    <a:pt x="1014" y="1322"/>
                  </a:lnTo>
                  <a:lnTo>
                    <a:pt x="1014" y="1318"/>
                  </a:lnTo>
                  <a:lnTo>
                    <a:pt x="997" y="1318"/>
                  </a:lnTo>
                  <a:lnTo>
                    <a:pt x="997" y="1314"/>
                  </a:lnTo>
                  <a:lnTo>
                    <a:pt x="995" y="1309"/>
                  </a:lnTo>
                  <a:lnTo>
                    <a:pt x="993" y="1306"/>
                  </a:lnTo>
                  <a:lnTo>
                    <a:pt x="989" y="1303"/>
                  </a:lnTo>
                  <a:lnTo>
                    <a:pt x="987" y="1301"/>
                  </a:lnTo>
                  <a:lnTo>
                    <a:pt x="984" y="1299"/>
                  </a:lnTo>
                  <a:lnTo>
                    <a:pt x="983" y="1297"/>
                  </a:lnTo>
                  <a:lnTo>
                    <a:pt x="982" y="1295"/>
                  </a:lnTo>
                  <a:lnTo>
                    <a:pt x="966" y="1295"/>
                  </a:lnTo>
                  <a:lnTo>
                    <a:pt x="955" y="1287"/>
                  </a:lnTo>
                  <a:lnTo>
                    <a:pt x="939" y="1276"/>
                  </a:lnTo>
                  <a:lnTo>
                    <a:pt x="925" y="1267"/>
                  </a:lnTo>
                  <a:lnTo>
                    <a:pt x="919" y="1263"/>
                  </a:lnTo>
                  <a:lnTo>
                    <a:pt x="909" y="1261"/>
                  </a:lnTo>
                  <a:lnTo>
                    <a:pt x="896" y="1258"/>
                  </a:lnTo>
                  <a:lnTo>
                    <a:pt x="889" y="1255"/>
                  </a:lnTo>
                  <a:lnTo>
                    <a:pt x="885" y="1253"/>
                  </a:lnTo>
                  <a:lnTo>
                    <a:pt x="880" y="1250"/>
                  </a:lnTo>
                  <a:lnTo>
                    <a:pt x="879" y="1248"/>
                  </a:lnTo>
                  <a:lnTo>
                    <a:pt x="873" y="1247"/>
                  </a:lnTo>
                  <a:lnTo>
                    <a:pt x="868" y="1247"/>
                  </a:lnTo>
                  <a:lnTo>
                    <a:pt x="867" y="1245"/>
                  </a:lnTo>
                  <a:lnTo>
                    <a:pt x="864" y="1244"/>
                  </a:lnTo>
                  <a:lnTo>
                    <a:pt x="863" y="1242"/>
                  </a:lnTo>
                  <a:lnTo>
                    <a:pt x="863" y="1239"/>
                  </a:lnTo>
                  <a:lnTo>
                    <a:pt x="849" y="1239"/>
                  </a:lnTo>
                  <a:lnTo>
                    <a:pt x="826" y="1240"/>
                  </a:lnTo>
                  <a:lnTo>
                    <a:pt x="797" y="1240"/>
                  </a:lnTo>
                  <a:lnTo>
                    <a:pt x="767" y="1240"/>
                  </a:lnTo>
                  <a:lnTo>
                    <a:pt x="738" y="1241"/>
                  </a:lnTo>
                  <a:lnTo>
                    <a:pt x="714" y="1242"/>
                  </a:lnTo>
                  <a:lnTo>
                    <a:pt x="704" y="1243"/>
                  </a:lnTo>
                  <a:lnTo>
                    <a:pt x="696" y="1244"/>
                  </a:lnTo>
                  <a:lnTo>
                    <a:pt x="691" y="1245"/>
                  </a:lnTo>
                  <a:lnTo>
                    <a:pt x="689" y="1248"/>
                  </a:lnTo>
                  <a:lnTo>
                    <a:pt x="642" y="1248"/>
                  </a:lnTo>
                  <a:lnTo>
                    <a:pt x="641" y="1250"/>
                  </a:lnTo>
                  <a:lnTo>
                    <a:pt x="640" y="1252"/>
                  </a:lnTo>
                  <a:lnTo>
                    <a:pt x="639" y="1254"/>
                  </a:lnTo>
                  <a:lnTo>
                    <a:pt x="637" y="1257"/>
                  </a:lnTo>
                  <a:lnTo>
                    <a:pt x="632" y="1260"/>
                  </a:lnTo>
                  <a:lnTo>
                    <a:pt x="627" y="1262"/>
                  </a:lnTo>
                  <a:lnTo>
                    <a:pt x="620" y="1264"/>
                  </a:lnTo>
                  <a:lnTo>
                    <a:pt x="615" y="1266"/>
                  </a:lnTo>
                  <a:lnTo>
                    <a:pt x="612" y="1268"/>
                  </a:lnTo>
                  <a:lnTo>
                    <a:pt x="610" y="1271"/>
                  </a:lnTo>
                  <a:lnTo>
                    <a:pt x="603" y="1271"/>
                  </a:lnTo>
                  <a:lnTo>
                    <a:pt x="595" y="1272"/>
                  </a:lnTo>
                  <a:lnTo>
                    <a:pt x="592" y="1272"/>
                  </a:lnTo>
                  <a:lnTo>
                    <a:pt x="589" y="1274"/>
                  </a:lnTo>
                  <a:lnTo>
                    <a:pt x="588" y="1277"/>
                  </a:lnTo>
                  <a:lnTo>
                    <a:pt x="586" y="1279"/>
                  </a:lnTo>
                  <a:lnTo>
                    <a:pt x="484" y="1279"/>
                  </a:lnTo>
                  <a:lnTo>
                    <a:pt x="483" y="1276"/>
                  </a:lnTo>
                  <a:lnTo>
                    <a:pt x="478" y="1273"/>
                  </a:lnTo>
                  <a:lnTo>
                    <a:pt x="473" y="1271"/>
                  </a:lnTo>
                  <a:lnTo>
                    <a:pt x="464" y="1269"/>
                  </a:lnTo>
                  <a:lnTo>
                    <a:pt x="442" y="1266"/>
                  </a:lnTo>
                  <a:lnTo>
                    <a:pt x="416" y="1263"/>
                  </a:lnTo>
                  <a:lnTo>
                    <a:pt x="393" y="1252"/>
                  </a:lnTo>
                  <a:lnTo>
                    <a:pt x="393" y="1232"/>
                  </a:lnTo>
                  <a:lnTo>
                    <a:pt x="373" y="1232"/>
                  </a:lnTo>
                  <a:lnTo>
                    <a:pt x="340" y="1233"/>
                  </a:lnTo>
                  <a:lnTo>
                    <a:pt x="298" y="1233"/>
                  </a:lnTo>
                  <a:lnTo>
                    <a:pt x="254" y="1233"/>
                  </a:lnTo>
                  <a:lnTo>
                    <a:pt x="210" y="1234"/>
                  </a:lnTo>
                  <a:lnTo>
                    <a:pt x="173" y="1235"/>
                  </a:lnTo>
                  <a:lnTo>
                    <a:pt x="148" y="1237"/>
                  </a:lnTo>
                  <a:lnTo>
                    <a:pt x="138" y="1239"/>
                  </a:lnTo>
                  <a:lnTo>
                    <a:pt x="129" y="1239"/>
                  </a:lnTo>
                  <a:lnTo>
                    <a:pt x="113" y="1240"/>
                  </a:lnTo>
                  <a:lnTo>
                    <a:pt x="95" y="1240"/>
                  </a:lnTo>
                  <a:lnTo>
                    <a:pt x="80" y="1242"/>
                  </a:lnTo>
                  <a:lnTo>
                    <a:pt x="79" y="1241"/>
                  </a:lnTo>
                  <a:lnTo>
                    <a:pt x="77" y="1240"/>
                  </a:lnTo>
                  <a:lnTo>
                    <a:pt x="77" y="1239"/>
                  </a:lnTo>
                  <a:lnTo>
                    <a:pt x="79" y="1239"/>
                  </a:lnTo>
                  <a:lnTo>
                    <a:pt x="79" y="1226"/>
                  </a:lnTo>
                  <a:lnTo>
                    <a:pt x="76" y="1213"/>
                  </a:lnTo>
                  <a:lnTo>
                    <a:pt x="75" y="1200"/>
                  </a:lnTo>
                  <a:lnTo>
                    <a:pt x="72" y="1186"/>
                  </a:lnTo>
                  <a:lnTo>
                    <a:pt x="70" y="1173"/>
                  </a:lnTo>
                  <a:lnTo>
                    <a:pt x="67" y="1160"/>
                  </a:lnTo>
                  <a:lnTo>
                    <a:pt x="66" y="1147"/>
                  </a:lnTo>
                  <a:lnTo>
                    <a:pt x="66" y="1134"/>
                  </a:lnTo>
                  <a:lnTo>
                    <a:pt x="56" y="1125"/>
                  </a:lnTo>
                  <a:lnTo>
                    <a:pt x="46" y="1115"/>
                  </a:lnTo>
                  <a:lnTo>
                    <a:pt x="46" y="1110"/>
                  </a:lnTo>
                  <a:lnTo>
                    <a:pt x="44" y="1106"/>
                  </a:lnTo>
                  <a:lnTo>
                    <a:pt x="42" y="1101"/>
                  </a:lnTo>
                  <a:lnTo>
                    <a:pt x="39" y="1096"/>
                  </a:lnTo>
                  <a:lnTo>
                    <a:pt x="32" y="1084"/>
                  </a:lnTo>
                  <a:lnTo>
                    <a:pt x="23" y="1072"/>
                  </a:lnTo>
                  <a:lnTo>
                    <a:pt x="15" y="1060"/>
                  </a:lnTo>
                  <a:lnTo>
                    <a:pt x="7" y="1048"/>
                  </a:lnTo>
                  <a:lnTo>
                    <a:pt x="5" y="1042"/>
                  </a:lnTo>
                  <a:lnTo>
                    <a:pt x="3" y="1038"/>
                  </a:lnTo>
                  <a:lnTo>
                    <a:pt x="0" y="1033"/>
                  </a:lnTo>
                  <a:lnTo>
                    <a:pt x="0" y="1029"/>
                  </a:lnTo>
                  <a:lnTo>
                    <a:pt x="2" y="1012"/>
                  </a:lnTo>
                  <a:lnTo>
                    <a:pt x="4" y="994"/>
                  </a:lnTo>
                  <a:lnTo>
                    <a:pt x="6" y="976"/>
                  </a:lnTo>
                  <a:lnTo>
                    <a:pt x="7" y="964"/>
                  </a:lnTo>
                  <a:lnTo>
                    <a:pt x="19" y="958"/>
                  </a:lnTo>
                  <a:lnTo>
                    <a:pt x="20" y="954"/>
                  </a:lnTo>
                  <a:lnTo>
                    <a:pt x="22" y="952"/>
                  </a:lnTo>
                  <a:lnTo>
                    <a:pt x="25" y="949"/>
                  </a:lnTo>
                  <a:lnTo>
                    <a:pt x="27" y="945"/>
                  </a:lnTo>
                  <a:lnTo>
                    <a:pt x="31" y="942"/>
                  </a:lnTo>
                  <a:lnTo>
                    <a:pt x="34" y="940"/>
                  </a:lnTo>
                  <a:lnTo>
                    <a:pt x="37" y="939"/>
                  </a:lnTo>
                  <a:lnTo>
                    <a:pt x="39" y="937"/>
                  </a:lnTo>
                  <a:lnTo>
                    <a:pt x="46" y="924"/>
                  </a:lnTo>
                  <a:lnTo>
                    <a:pt x="56" y="921"/>
                  </a:lnTo>
                  <a:lnTo>
                    <a:pt x="66" y="918"/>
                  </a:lnTo>
                  <a:lnTo>
                    <a:pt x="66" y="915"/>
                  </a:lnTo>
                  <a:lnTo>
                    <a:pt x="67" y="913"/>
                  </a:lnTo>
                  <a:lnTo>
                    <a:pt x="68" y="911"/>
                  </a:lnTo>
                  <a:lnTo>
                    <a:pt x="71" y="908"/>
                  </a:lnTo>
                  <a:lnTo>
                    <a:pt x="73" y="907"/>
                  </a:lnTo>
                  <a:lnTo>
                    <a:pt x="76" y="906"/>
                  </a:lnTo>
                  <a:lnTo>
                    <a:pt x="81" y="905"/>
                  </a:lnTo>
                  <a:lnTo>
                    <a:pt x="85" y="905"/>
                  </a:lnTo>
                  <a:lnTo>
                    <a:pt x="89" y="901"/>
                  </a:lnTo>
                  <a:lnTo>
                    <a:pt x="98" y="892"/>
                  </a:lnTo>
                  <a:lnTo>
                    <a:pt x="111" y="882"/>
                  </a:lnTo>
                  <a:lnTo>
                    <a:pt x="125" y="869"/>
                  </a:lnTo>
                  <a:lnTo>
                    <a:pt x="141" y="858"/>
                  </a:lnTo>
                  <a:lnTo>
                    <a:pt x="154" y="848"/>
                  </a:lnTo>
                  <a:lnTo>
                    <a:pt x="166" y="841"/>
                  </a:lnTo>
                  <a:lnTo>
                    <a:pt x="171" y="839"/>
                  </a:lnTo>
                  <a:lnTo>
                    <a:pt x="177" y="833"/>
                  </a:lnTo>
                  <a:lnTo>
                    <a:pt x="177" y="709"/>
                  </a:lnTo>
                  <a:lnTo>
                    <a:pt x="181" y="708"/>
                  </a:lnTo>
                  <a:lnTo>
                    <a:pt x="183" y="708"/>
                  </a:lnTo>
                  <a:lnTo>
                    <a:pt x="183" y="706"/>
                  </a:lnTo>
                  <a:lnTo>
                    <a:pt x="183" y="705"/>
                  </a:lnTo>
                  <a:lnTo>
                    <a:pt x="183" y="704"/>
                  </a:lnTo>
                  <a:lnTo>
                    <a:pt x="185" y="703"/>
                  </a:lnTo>
                  <a:lnTo>
                    <a:pt x="187" y="702"/>
                  </a:lnTo>
                  <a:lnTo>
                    <a:pt x="190" y="702"/>
                  </a:lnTo>
                  <a:lnTo>
                    <a:pt x="190" y="696"/>
                  </a:lnTo>
                  <a:lnTo>
                    <a:pt x="191" y="690"/>
                  </a:lnTo>
                  <a:lnTo>
                    <a:pt x="192" y="686"/>
                  </a:lnTo>
                  <a:lnTo>
                    <a:pt x="194" y="684"/>
                  </a:lnTo>
                  <a:lnTo>
                    <a:pt x="195" y="683"/>
                  </a:lnTo>
                  <a:lnTo>
                    <a:pt x="197" y="682"/>
                  </a:lnTo>
                  <a:lnTo>
                    <a:pt x="200" y="665"/>
                  </a:lnTo>
                  <a:lnTo>
                    <a:pt x="204" y="649"/>
                  </a:lnTo>
                  <a:lnTo>
                    <a:pt x="206" y="648"/>
                  </a:lnTo>
                  <a:lnTo>
                    <a:pt x="208" y="647"/>
                  </a:lnTo>
                  <a:lnTo>
                    <a:pt x="209" y="644"/>
                  </a:lnTo>
                  <a:lnTo>
                    <a:pt x="211" y="641"/>
                  </a:lnTo>
                  <a:lnTo>
                    <a:pt x="214" y="632"/>
                  </a:lnTo>
                  <a:lnTo>
                    <a:pt x="215" y="622"/>
                  </a:lnTo>
                  <a:lnTo>
                    <a:pt x="216" y="599"/>
                  </a:lnTo>
                  <a:lnTo>
                    <a:pt x="217" y="584"/>
                  </a:lnTo>
                  <a:lnTo>
                    <a:pt x="213" y="584"/>
                  </a:lnTo>
                  <a:lnTo>
                    <a:pt x="211" y="583"/>
                  </a:lnTo>
                  <a:lnTo>
                    <a:pt x="210" y="581"/>
                  </a:lnTo>
                  <a:lnTo>
                    <a:pt x="210" y="580"/>
                  </a:lnTo>
                  <a:lnTo>
                    <a:pt x="210" y="579"/>
                  </a:lnTo>
                  <a:lnTo>
                    <a:pt x="209" y="578"/>
                  </a:lnTo>
                  <a:lnTo>
                    <a:pt x="207" y="577"/>
                  </a:lnTo>
                  <a:lnTo>
                    <a:pt x="204" y="577"/>
                  </a:lnTo>
                  <a:lnTo>
                    <a:pt x="197" y="564"/>
                  </a:lnTo>
                  <a:lnTo>
                    <a:pt x="185" y="565"/>
                  </a:lnTo>
                  <a:lnTo>
                    <a:pt x="171" y="565"/>
                  </a:lnTo>
                  <a:lnTo>
                    <a:pt x="159" y="565"/>
                  </a:lnTo>
                  <a:lnTo>
                    <a:pt x="147" y="56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4" name="Freeform 50"/>
            <p:cNvSpPr>
              <a:spLocks noChangeAspect="1"/>
            </p:cNvSpPr>
            <p:nvPr/>
          </p:nvSpPr>
          <p:spPr bwMode="gray">
            <a:xfrm rot="355651">
              <a:off x="6320125" y="2608263"/>
              <a:ext cx="430589" cy="286380"/>
            </a:xfrm>
            <a:custGeom>
              <a:avLst/>
              <a:gdLst/>
              <a:ahLst/>
              <a:cxnLst>
                <a:cxn ang="0">
                  <a:pos x="146" y="973"/>
                </a:cxn>
                <a:cxn ang="0">
                  <a:pos x="206" y="1032"/>
                </a:cxn>
                <a:cxn ang="0">
                  <a:pos x="227" y="1102"/>
                </a:cxn>
                <a:cxn ang="0">
                  <a:pos x="217" y="1281"/>
                </a:cxn>
                <a:cxn ang="0">
                  <a:pos x="330" y="1227"/>
                </a:cxn>
                <a:cxn ang="0">
                  <a:pos x="367" y="1178"/>
                </a:cxn>
                <a:cxn ang="0">
                  <a:pos x="398" y="1136"/>
                </a:cxn>
                <a:cxn ang="0">
                  <a:pos x="512" y="1095"/>
                </a:cxn>
                <a:cxn ang="0">
                  <a:pos x="619" y="1066"/>
                </a:cxn>
                <a:cxn ang="0">
                  <a:pos x="736" y="1021"/>
                </a:cxn>
                <a:cxn ang="0">
                  <a:pos x="835" y="1043"/>
                </a:cxn>
                <a:cxn ang="0">
                  <a:pos x="808" y="1212"/>
                </a:cxn>
                <a:cxn ang="0">
                  <a:pos x="679" y="1242"/>
                </a:cxn>
                <a:cxn ang="0">
                  <a:pos x="634" y="1291"/>
                </a:cxn>
                <a:cxn ang="0">
                  <a:pos x="533" y="1338"/>
                </a:cxn>
                <a:cxn ang="0">
                  <a:pos x="548" y="1429"/>
                </a:cxn>
                <a:cxn ang="0">
                  <a:pos x="602" y="1458"/>
                </a:cxn>
                <a:cxn ang="0">
                  <a:pos x="635" y="1504"/>
                </a:cxn>
                <a:cxn ang="0">
                  <a:pos x="672" y="1553"/>
                </a:cxn>
                <a:cxn ang="0">
                  <a:pos x="700" y="1579"/>
                </a:cxn>
                <a:cxn ang="0">
                  <a:pos x="742" y="1624"/>
                </a:cxn>
                <a:cxn ang="0">
                  <a:pos x="801" y="1684"/>
                </a:cxn>
                <a:cxn ang="0">
                  <a:pos x="838" y="1726"/>
                </a:cxn>
                <a:cxn ang="0">
                  <a:pos x="892" y="1755"/>
                </a:cxn>
                <a:cxn ang="0">
                  <a:pos x="972" y="1695"/>
                </a:cxn>
                <a:cxn ang="0">
                  <a:pos x="1010" y="1632"/>
                </a:cxn>
                <a:cxn ang="0">
                  <a:pos x="1138" y="1674"/>
                </a:cxn>
                <a:cxn ang="0">
                  <a:pos x="1262" y="1564"/>
                </a:cxn>
                <a:cxn ang="0">
                  <a:pos x="1263" y="1451"/>
                </a:cxn>
                <a:cxn ang="0">
                  <a:pos x="1308" y="1411"/>
                </a:cxn>
                <a:cxn ang="0">
                  <a:pos x="1397" y="1338"/>
                </a:cxn>
                <a:cxn ang="0">
                  <a:pos x="1986" y="1125"/>
                </a:cxn>
                <a:cxn ang="0">
                  <a:pos x="2290" y="1044"/>
                </a:cxn>
                <a:cxn ang="0">
                  <a:pos x="2310" y="933"/>
                </a:cxn>
                <a:cxn ang="0">
                  <a:pos x="2282" y="895"/>
                </a:cxn>
                <a:cxn ang="0">
                  <a:pos x="2294" y="781"/>
                </a:cxn>
                <a:cxn ang="0">
                  <a:pos x="2328" y="750"/>
                </a:cxn>
                <a:cxn ang="0">
                  <a:pos x="2163" y="676"/>
                </a:cxn>
                <a:cxn ang="0">
                  <a:pos x="2086" y="625"/>
                </a:cxn>
                <a:cxn ang="0">
                  <a:pos x="2011" y="581"/>
                </a:cxn>
                <a:cxn ang="0">
                  <a:pos x="1916" y="543"/>
                </a:cxn>
                <a:cxn ang="0">
                  <a:pos x="1716" y="426"/>
                </a:cxn>
                <a:cxn ang="0">
                  <a:pos x="1605" y="378"/>
                </a:cxn>
                <a:cxn ang="0">
                  <a:pos x="1524" y="313"/>
                </a:cxn>
                <a:cxn ang="0">
                  <a:pos x="1464" y="227"/>
                </a:cxn>
                <a:cxn ang="0">
                  <a:pos x="1416" y="118"/>
                </a:cxn>
                <a:cxn ang="0">
                  <a:pos x="1376" y="14"/>
                </a:cxn>
                <a:cxn ang="0">
                  <a:pos x="1317" y="44"/>
                </a:cxn>
                <a:cxn ang="0">
                  <a:pos x="1277" y="101"/>
                </a:cxn>
                <a:cxn ang="0">
                  <a:pos x="1226" y="175"/>
                </a:cxn>
                <a:cxn ang="0">
                  <a:pos x="1185" y="334"/>
                </a:cxn>
                <a:cxn ang="0">
                  <a:pos x="1056" y="424"/>
                </a:cxn>
                <a:cxn ang="0">
                  <a:pos x="922" y="331"/>
                </a:cxn>
                <a:cxn ang="0">
                  <a:pos x="881" y="375"/>
                </a:cxn>
                <a:cxn ang="0">
                  <a:pos x="800" y="521"/>
                </a:cxn>
                <a:cxn ang="0">
                  <a:pos x="630" y="531"/>
                </a:cxn>
                <a:cxn ang="0">
                  <a:pos x="456" y="542"/>
                </a:cxn>
                <a:cxn ang="0">
                  <a:pos x="423" y="581"/>
                </a:cxn>
                <a:cxn ang="0">
                  <a:pos x="324" y="581"/>
                </a:cxn>
                <a:cxn ang="0">
                  <a:pos x="274" y="516"/>
                </a:cxn>
                <a:cxn ang="0">
                  <a:pos x="201" y="554"/>
                </a:cxn>
                <a:cxn ang="0">
                  <a:pos x="25" y="600"/>
                </a:cxn>
                <a:cxn ang="0">
                  <a:pos x="23" y="866"/>
                </a:cxn>
              </a:cxnLst>
              <a:rect l="0" t="0" r="r" b="b"/>
              <a:pathLst>
                <a:path w="2362" h="1772">
                  <a:moveTo>
                    <a:pt x="31" y="913"/>
                  </a:moveTo>
                  <a:lnTo>
                    <a:pt x="43" y="913"/>
                  </a:lnTo>
                  <a:lnTo>
                    <a:pt x="51" y="920"/>
                  </a:lnTo>
                  <a:lnTo>
                    <a:pt x="51" y="937"/>
                  </a:lnTo>
                  <a:lnTo>
                    <a:pt x="61" y="938"/>
                  </a:lnTo>
                  <a:lnTo>
                    <a:pt x="71" y="942"/>
                  </a:lnTo>
                  <a:lnTo>
                    <a:pt x="83" y="947"/>
                  </a:lnTo>
                  <a:lnTo>
                    <a:pt x="96" y="953"/>
                  </a:lnTo>
                  <a:lnTo>
                    <a:pt x="108" y="958"/>
                  </a:lnTo>
                  <a:lnTo>
                    <a:pt x="121" y="964"/>
                  </a:lnTo>
                  <a:lnTo>
                    <a:pt x="134" y="967"/>
                  </a:lnTo>
                  <a:lnTo>
                    <a:pt x="146" y="968"/>
                  </a:lnTo>
                  <a:lnTo>
                    <a:pt x="146" y="973"/>
                  </a:lnTo>
                  <a:lnTo>
                    <a:pt x="147" y="975"/>
                  </a:lnTo>
                  <a:lnTo>
                    <a:pt x="148" y="976"/>
                  </a:lnTo>
                  <a:lnTo>
                    <a:pt x="150" y="976"/>
                  </a:lnTo>
                  <a:lnTo>
                    <a:pt x="151" y="976"/>
                  </a:lnTo>
                  <a:lnTo>
                    <a:pt x="153" y="977"/>
                  </a:lnTo>
                  <a:lnTo>
                    <a:pt x="154" y="980"/>
                  </a:lnTo>
                  <a:lnTo>
                    <a:pt x="154" y="984"/>
                  </a:lnTo>
                  <a:lnTo>
                    <a:pt x="169" y="984"/>
                  </a:lnTo>
                  <a:lnTo>
                    <a:pt x="182" y="996"/>
                  </a:lnTo>
                  <a:lnTo>
                    <a:pt x="193" y="1007"/>
                  </a:lnTo>
                  <a:lnTo>
                    <a:pt x="193" y="1024"/>
                  </a:lnTo>
                  <a:lnTo>
                    <a:pt x="202" y="1032"/>
                  </a:lnTo>
                  <a:lnTo>
                    <a:pt x="206" y="1032"/>
                  </a:lnTo>
                  <a:lnTo>
                    <a:pt x="208" y="1033"/>
                  </a:lnTo>
                  <a:lnTo>
                    <a:pt x="209" y="1034"/>
                  </a:lnTo>
                  <a:lnTo>
                    <a:pt x="209" y="1035"/>
                  </a:lnTo>
                  <a:lnTo>
                    <a:pt x="209" y="1037"/>
                  </a:lnTo>
                  <a:lnTo>
                    <a:pt x="211" y="1039"/>
                  </a:lnTo>
                  <a:lnTo>
                    <a:pt x="213" y="1039"/>
                  </a:lnTo>
                  <a:lnTo>
                    <a:pt x="217" y="1040"/>
                  </a:lnTo>
                  <a:lnTo>
                    <a:pt x="218" y="1052"/>
                  </a:lnTo>
                  <a:lnTo>
                    <a:pt x="221" y="1067"/>
                  </a:lnTo>
                  <a:lnTo>
                    <a:pt x="224" y="1082"/>
                  </a:lnTo>
                  <a:lnTo>
                    <a:pt x="225" y="1095"/>
                  </a:lnTo>
                  <a:lnTo>
                    <a:pt x="226" y="1097"/>
                  </a:lnTo>
                  <a:lnTo>
                    <a:pt x="227" y="1102"/>
                  </a:lnTo>
                  <a:lnTo>
                    <a:pt x="230" y="1111"/>
                  </a:lnTo>
                  <a:lnTo>
                    <a:pt x="231" y="1124"/>
                  </a:lnTo>
                  <a:lnTo>
                    <a:pt x="232" y="1153"/>
                  </a:lnTo>
                  <a:lnTo>
                    <a:pt x="233" y="1186"/>
                  </a:lnTo>
                  <a:lnTo>
                    <a:pt x="232" y="1220"/>
                  </a:lnTo>
                  <a:lnTo>
                    <a:pt x="230" y="1249"/>
                  </a:lnTo>
                  <a:lnTo>
                    <a:pt x="227" y="1260"/>
                  </a:lnTo>
                  <a:lnTo>
                    <a:pt x="224" y="1269"/>
                  </a:lnTo>
                  <a:lnTo>
                    <a:pt x="223" y="1272"/>
                  </a:lnTo>
                  <a:lnTo>
                    <a:pt x="221" y="1274"/>
                  </a:lnTo>
                  <a:lnTo>
                    <a:pt x="220" y="1276"/>
                  </a:lnTo>
                  <a:lnTo>
                    <a:pt x="217" y="1276"/>
                  </a:lnTo>
                  <a:lnTo>
                    <a:pt x="217" y="1281"/>
                  </a:lnTo>
                  <a:lnTo>
                    <a:pt x="216" y="1284"/>
                  </a:lnTo>
                  <a:lnTo>
                    <a:pt x="211" y="1284"/>
                  </a:lnTo>
                  <a:lnTo>
                    <a:pt x="204" y="1283"/>
                  </a:lnTo>
                  <a:lnTo>
                    <a:pt x="209" y="1292"/>
                  </a:lnTo>
                  <a:lnTo>
                    <a:pt x="232" y="1292"/>
                  </a:lnTo>
                  <a:lnTo>
                    <a:pt x="256" y="1292"/>
                  </a:lnTo>
                  <a:lnTo>
                    <a:pt x="280" y="1292"/>
                  </a:lnTo>
                  <a:lnTo>
                    <a:pt x="302" y="1292"/>
                  </a:lnTo>
                  <a:lnTo>
                    <a:pt x="303" y="1281"/>
                  </a:lnTo>
                  <a:lnTo>
                    <a:pt x="307" y="1263"/>
                  </a:lnTo>
                  <a:lnTo>
                    <a:pt x="310" y="1244"/>
                  </a:lnTo>
                  <a:lnTo>
                    <a:pt x="311" y="1227"/>
                  </a:lnTo>
                  <a:lnTo>
                    <a:pt x="330" y="1227"/>
                  </a:lnTo>
                  <a:lnTo>
                    <a:pt x="330" y="1209"/>
                  </a:lnTo>
                  <a:lnTo>
                    <a:pt x="339" y="1199"/>
                  </a:lnTo>
                  <a:lnTo>
                    <a:pt x="342" y="1199"/>
                  </a:lnTo>
                  <a:lnTo>
                    <a:pt x="346" y="1198"/>
                  </a:lnTo>
                  <a:lnTo>
                    <a:pt x="349" y="1196"/>
                  </a:lnTo>
                  <a:lnTo>
                    <a:pt x="352" y="1194"/>
                  </a:lnTo>
                  <a:lnTo>
                    <a:pt x="355" y="1192"/>
                  </a:lnTo>
                  <a:lnTo>
                    <a:pt x="356" y="1188"/>
                  </a:lnTo>
                  <a:lnTo>
                    <a:pt x="357" y="1185"/>
                  </a:lnTo>
                  <a:lnTo>
                    <a:pt x="358" y="1182"/>
                  </a:lnTo>
                  <a:lnTo>
                    <a:pt x="362" y="1180"/>
                  </a:lnTo>
                  <a:lnTo>
                    <a:pt x="366" y="1180"/>
                  </a:lnTo>
                  <a:lnTo>
                    <a:pt x="367" y="1178"/>
                  </a:lnTo>
                  <a:lnTo>
                    <a:pt x="367" y="1177"/>
                  </a:lnTo>
                  <a:lnTo>
                    <a:pt x="367" y="1175"/>
                  </a:lnTo>
                  <a:lnTo>
                    <a:pt x="368" y="1174"/>
                  </a:lnTo>
                  <a:lnTo>
                    <a:pt x="370" y="1173"/>
                  </a:lnTo>
                  <a:lnTo>
                    <a:pt x="376" y="1173"/>
                  </a:lnTo>
                  <a:lnTo>
                    <a:pt x="376" y="1154"/>
                  </a:lnTo>
                  <a:lnTo>
                    <a:pt x="379" y="1153"/>
                  </a:lnTo>
                  <a:lnTo>
                    <a:pt x="381" y="1150"/>
                  </a:lnTo>
                  <a:lnTo>
                    <a:pt x="384" y="1148"/>
                  </a:lnTo>
                  <a:lnTo>
                    <a:pt x="387" y="1145"/>
                  </a:lnTo>
                  <a:lnTo>
                    <a:pt x="389" y="1141"/>
                  </a:lnTo>
                  <a:lnTo>
                    <a:pt x="393" y="1138"/>
                  </a:lnTo>
                  <a:lnTo>
                    <a:pt x="398" y="1136"/>
                  </a:lnTo>
                  <a:lnTo>
                    <a:pt x="404" y="1135"/>
                  </a:lnTo>
                  <a:lnTo>
                    <a:pt x="413" y="1126"/>
                  </a:lnTo>
                  <a:lnTo>
                    <a:pt x="413" y="1108"/>
                  </a:lnTo>
                  <a:lnTo>
                    <a:pt x="423" y="1098"/>
                  </a:lnTo>
                  <a:lnTo>
                    <a:pt x="449" y="1098"/>
                  </a:lnTo>
                  <a:lnTo>
                    <a:pt x="451" y="1097"/>
                  </a:lnTo>
                  <a:lnTo>
                    <a:pt x="452" y="1096"/>
                  </a:lnTo>
                  <a:lnTo>
                    <a:pt x="453" y="1095"/>
                  </a:lnTo>
                  <a:lnTo>
                    <a:pt x="455" y="1093"/>
                  </a:lnTo>
                  <a:lnTo>
                    <a:pt x="461" y="1092"/>
                  </a:lnTo>
                  <a:lnTo>
                    <a:pt x="470" y="1092"/>
                  </a:lnTo>
                  <a:lnTo>
                    <a:pt x="489" y="1093"/>
                  </a:lnTo>
                  <a:lnTo>
                    <a:pt x="512" y="1095"/>
                  </a:lnTo>
                  <a:lnTo>
                    <a:pt x="524" y="1095"/>
                  </a:lnTo>
                  <a:lnTo>
                    <a:pt x="537" y="1095"/>
                  </a:lnTo>
                  <a:lnTo>
                    <a:pt x="548" y="1093"/>
                  </a:lnTo>
                  <a:lnTo>
                    <a:pt x="559" y="1092"/>
                  </a:lnTo>
                  <a:lnTo>
                    <a:pt x="569" y="1089"/>
                  </a:lnTo>
                  <a:lnTo>
                    <a:pt x="577" y="1084"/>
                  </a:lnTo>
                  <a:lnTo>
                    <a:pt x="581" y="1081"/>
                  </a:lnTo>
                  <a:lnTo>
                    <a:pt x="583" y="1078"/>
                  </a:lnTo>
                  <a:lnTo>
                    <a:pt x="587" y="1074"/>
                  </a:lnTo>
                  <a:lnTo>
                    <a:pt x="589" y="1071"/>
                  </a:lnTo>
                  <a:lnTo>
                    <a:pt x="616" y="1071"/>
                  </a:lnTo>
                  <a:lnTo>
                    <a:pt x="617" y="1068"/>
                  </a:lnTo>
                  <a:lnTo>
                    <a:pt x="619" y="1066"/>
                  </a:lnTo>
                  <a:lnTo>
                    <a:pt x="623" y="1063"/>
                  </a:lnTo>
                  <a:lnTo>
                    <a:pt x="627" y="1062"/>
                  </a:lnTo>
                  <a:lnTo>
                    <a:pt x="636" y="1061"/>
                  </a:lnTo>
                  <a:lnTo>
                    <a:pt x="644" y="1061"/>
                  </a:lnTo>
                  <a:lnTo>
                    <a:pt x="691" y="1033"/>
                  </a:lnTo>
                  <a:lnTo>
                    <a:pt x="708" y="1033"/>
                  </a:lnTo>
                  <a:lnTo>
                    <a:pt x="710" y="1031"/>
                  </a:lnTo>
                  <a:lnTo>
                    <a:pt x="712" y="1029"/>
                  </a:lnTo>
                  <a:lnTo>
                    <a:pt x="715" y="1026"/>
                  </a:lnTo>
                  <a:lnTo>
                    <a:pt x="719" y="1025"/>
                  </a:lnTo>
                  <a:lnTo>
                    <a:pt x="729" y="1024"/>
                  </a:lnTo>
                  <a:lnTo>
                    <a:pt x="736" y="1024"/>
                  </a:lnTo>
                  <a:lnTo>
                    <a:pt x="736" y="1021"/>
                  </a:lnTo>
                  <a:lnTo>
                    <a:pt x="737" y="1019"/>
                  </a:lnTo>
                  <a:lnTo>
                    <a:pt x="740" y="1018"/>
                  </a:lnTo>
                  <a:lnTo>
                    <a:pt x="742" y="1016"/>
                  </a:lnTo>
                  <a:lnTo>
                    <a:pt x="748" y="1015"/>
                  </a:lnTo>
                  <a:lnTo>
                    <a:pt x="755" y="1015"/>
                  </a:lnTo>
                  <a:lnTo>
                    <a:pt x="755" y="996"/>
                  </a:lnTo>
                  <a:lnTo>
                    <a:pt x="770" y="996"/>
                  </a:lnTo>
                  <a:lnTo>
                    <a:pt x="788" y="996"/>
                  </a:lnTo>
                  <a:lnTo>
                    <a:pt x="804" y="996"/>
                  </a:lnTo>
                  <a:lnTo>
                    <a:pt x="819" y="996"/>
                  </a:lnTo>
                  <a:lnTo>
                    <a:pt x="822" y="1011"/>
                  </a:lnTo>
                  <a:lnTo>
                    <a:pt x="830" y="1032"/>
                  </a:lnTo>
                  <a:lnTo>
                    <a:pt x="835" y="1043"/>
                  </a:lnTo>
                  <a:lnTo>
                    <a:pt x="839" y="1052"/>
                  </a:lnTo>
                  <a:lnTo>
                    <a:pt x="841" y="1057"/>
                  </a:lnTo>
                  <a:lnTo>
                    <a:pt x="844" y="1059"/>
                  </a:lnTo>
                  <a:lnTo>
                    <a:pt x="846" y="1061"/>
                  </a:lnTo>
                  <a:lnTo>
                    <a:pt x="847" y="1061"/>
                  </a:lnTo>
                  <a:lnTo>
                    <a:pt x="847" y="1182"/>
                  </a:lnTo>
                  <a:lnTo>
                    <a:pt x="838" y="1191"/>
                  </a:lnTo>
                  <a:lnTo>
                    <a:pt x="829" y="1199"/>
                  </a:lnTo>
                  <a:lnTo>
                    <a:pt x="826" y="1201"/>
                  </a:lnTo>
                  <a:lnTo>
                    <a:pt x="822" y="1202"/>
                  </a:lnTo>
                  <a:lnTo>
                    <a:pt x="818" y="1203"/>
                  </a:lnTo>
                  <a:lnTo>
                    <a:pt x="815" y="1206"/>
                  </a:lnTo>
                  <a:lnTo>
                    <a:pt x="808" y="1212"/>
                  </a:lnTo>
                  <a:lnTo>
                    <a:pt x="801" y="1218"/>
                  </a:lnTo>
                  <a:lnTo>
                    <a:pt x="779" y="1220"/>
                  </a:lnTo>
                  <a:lnTo>
                    <a:pt x="754" y="1223"/>
                  </a:lnTo>
                  <a:lnTo>
                    <a:pt x="727" y="1226"/>
                  </a:lnTo>
                  <a:lnTo>
                    <a:pt x="700" y="1227"/>
                  </a:lnTo>
                  <a:lnTo>
                    <a:pt x="700" y="1231"/>
                  </a:lnTo>
                  <a:lnTo>
                    <a:pt x="697" y="1233"/>
                  </a:lnTo>
                  <a:lnTo>
                    <a:pt x="696" y="1234"/>
                  </a:lnTo>
                  <a:lnTo>
                    <a:pt x="694" y="1235"/>
                  </a:lnTo>
                  <a:lnTo>
                    <a:pt x="687" y="1236"/>
                  </a:lnTo>
                  <a:lnTo>
                    <a:pt x="681" y="1236"/>
                  </a:lnTo>
                  <a:lnTo>
                    <a:pt x="681" y="1240"/>
                  </a:lnTo>
                  <a:lnTo>
                    <a:pt x="679" y="1242"/>
                  </a:lnTo>
                  <a:lnTo>
                    <a:pt x="677" y="1244"/>
                  </a:lnTo>
                  <a:lnTo>
                    <a:pt x="675" y="1245"/>
                  </a:lnTo>
                  <a:lnTo>
                    <a:pt x="669" y="1246"/>
                  </a:lnTo>
                  <a:lnTo>
                    <a:pt x="663" y="1246"/>
                  </a:lnTo>
                  <a:lnTo>
                    <a:pt x="663" y="1264"/>
                  </a:lnTo>
                  <a:lnTo>
                    <a:pt x="654" y="1274"/>
                  </a:lnTo>
                  <a:lnTo>
                    <a:pt x="644" y="1283"/>
                  </a:lnTo>
                  <a:lnTo>
                    <a:pt x="638" y="1283"/>
                  </a:lnTo>
                  <a:lnTo>
                    <a:pt x="636" y="1284"/>
                  </a:lnTo>
                  <a:lnTo>
                    <a:pt x="635" y="1285"/>
                  </a:lnTo>
                  <a:lnTo>
                    <a:pt x="635" y="1288"/>
                  </a:lnTo>
                  <a:lnTo>
                    <a:pt x="635" y="1290"/>
                  </a:lnTo>
                  <a:lnTo>
                    <a:pt x="634" y="1291"/>
                  </a:lnTo>
                  <a:lnTo>
                    <a:pt x="630" y="1292"/>
                  </a:lnTo>
                  <a:lnTo>
                    <a:pt x="626" y="1292"/>
                  </a:lnTo>
                  <a:lnTo>
                    <a:pt x="616" y="1311"/>
                  </a:lnTo>
                  <a:lnTo>
                    <a:pt x="600" y="1311"/>
                  </a:lnTo>
                  <a:lnTo>
                    <a:pt x="581" y="1313"/>
                  </a:lnTo>
                  <a:lnTo>
                    <a:pt x="573" y="1316"/>
                  </a:lnTo>
                  <a:lnTo>
                    <a:pt x="567" y="1319"/>
                  </a:lnTo>
                  <a:lnTo>
                    <a:pt x="564" y="1321"/>
                  </a:lnTo>
                  <a:lnTo>
                    <a:pt x="562" y="1323"/>
                  </a:lnTo>
                  <a:lnTo>
                    <a:pt x="561" y="1326"/>
                  </a:lnTo>
                  <a:lnTo>
                    <a:pt x="561" y="1329"/>
                  </a:lnTo>
                  <a:lnTo>
                    <a:pt x="542" y="1329"/>
                  </a:lnTo>
                  <a:lnTo>
                    <a:pt x="533" y="1338"/>
                  </a:lnTo>
                  <a:lnTo>
                    <a:pt x="524" y="1348"/>
                  </a:lnTo>
                  <a:lnTo>
                    <a:pt x="514" y="1357"/>
                  </a:lnTo>
                  <a:lnTo>
                    <a:pt x="505" y="1366"/>
                  </a:lnTo>
                  <a:lnTo>
                    <a:pt x="496" y="1376"/>
                  </a:lnTo>
                  <a:lnTo>
                    <a:pt x="496" y="1385"/>
                  </a:lnTo>
                  <a:lnTo>
                    <a:pt x="496" y="1398"/>
                  </a:lnTo>
                  <a:lnTo>
                    <a:pt x="496" y="1411"/>
                  </a:lnTo>
                  <a:lnTo>
                    <a:pt x="496" y="1422"/>
                  </a:lnTo>
                  <a:lnTo>
                    <a:pt x="533" y="1422"/>
                  </a:lnTo>
                  <a:lnTo>
                    <a:pt x="534" y="1425"/>
                  </a:lnTo>
                  <a:lnTo>
                    <a:pt x="538" y="1427"/>
                  </a:lnTo>
                  <a:lnTo>
                    <a:pt x="542" y="1428"/>
                  </a:lnTo>
                  <a:lnTo>
                    <a:pt x="548" y="1429"/>
                  </a:lnTo>
                  <a:lnTo>
                    <a:pt x="560" y="1430"/>
                  </a:lnTo>
                  <a:lnTo>
                    <a:pt x="570" y="1430"/>
                  </a:lnTo>
                  <a:lnTo>
                    <a:pt x="570" y="1434"/>
                  </a:lnTo>
                  <a:lnTo>
                    <a:pt x="571" y="1436"/>
                  </a:lnTo>
                  <a:lnTo>
                    <a:pt x="573" y="1438"/>
                  </a:lnTo>
                  <a:lnTo>
                    <a:pt x="576" y="1439"/>
                  </a:lnTo>
                  <a:lnTo>
                    <a:pt x="582" y="1439"/>
                  </a:lnTo>
                  <a:lnTo>
                    <a:pt x="589" y="1441"/>
                  </a:lnTo>
                  <a:lnTo>
                    <a:pt x="598" y="1449"/>
                  </a:lnTo>
                  <a:lnTo>
                    <a:pt x="598" y="1455"/>
                  </a:lnTo>
                  <a:lnTo>
                    <a:pt x="599" y="1457"/>
                  </a:lnTo>
                  <a:lnTo>
                    <a:pt x="600" y="1458"/>
                  </a:lnTo>
                  <a:lnTo>
                    <a:pt x="602" y="1458"/>
                  </a:lnTo>
                  <a:lnTo>
                    <a:pt x="605" y="1458"/>
                  </a:lnTo>
                  <a:lnTo>
                    <a:pt x="606" y="1459"/>
                  </a:lnTo>
                  <a:lnTo>
                    <a:pt x="607" y="1463"/>
                  </a:lnTo>
                  <a:lnTo>
                    <a:pt x="607" y="1467"/>
                  </a:lnTo>
                  <a:lnTo>
                    <a:pt x="614" y="1468"/>
                  </a:lnTo>
                  <a:lnTo>
                    <a:pt x="618" y="1471"/>
                  </a:lnTo>
                  <a:lnTo>
                    <a:pt x="621" y="1474"/>
                  </a:lnTo>
                  <a:lnTo>
                    <a:pt x="625" y="1477"/>
                  </a:lnTo>
                  <a:lnTo>
                    <a:pt x="627" y="1481"/>
                  </a:lnTo>
                  <a:lnTo>
                    <a:pt x="629" y="1483"/>
                  </a:lnTo>
                  <a:lnTo>
                    <a:pt x="631" y="1485"/>
                  </a:lnTo>
                  <a:lnTo>
                    <a:pt x="635" y="1486"/>
                  </a:lnTo>
                  <a:lnTo>
                    <a:pt x="635" y="1504"/>
                  </a:lnTo>
                  <a:lnTo>
                    <a:pt x="644" y="1514"/>
                  </a:lnTo>
                  <a:lnTo>
                    <a:pt x="649" y="1514"/>
                  </a:lnTo>
                  <a:lnTo>
                    <a:pt x="652" y="1515"/>
                  </a:lnTo>
                  <a:lnTo>
                    <a:pt x="653" y="1516"/>
                  </a:lnTo>
                  <a:lnTo>
                    <a:pt x="654" y="1519"/>
                  </a:lnTo>
                  <a:lnTo>
                    <a:pt x="654" y="1520"/>
                  </a:lnTo>
                  <a:lnTo>
                    <a:pt x="655" y="1522"/>
                  </a:lnTo>
                  <a:lnTo>
                    <a:pt x="657" y="1523"/>
                  </a:lnTo>
                  <a:lnTo>
                    <a:pt x="663" y="1523"/>
                  </a:lnTo>
                  <a:lnTo>
                    <a:pt x="663" y="1551"/>
                  </a:lnTo>
                  <a:lnTo>
                    <a:pt x="668" y="1551"/>
                  </a:lnTo>
                  <a:lnTo>
                    <a:pt x="671" y="1552"/>
                  </a:lnTo>
                  <a:lnTo>
                    <a:pt x="672" y="1553"/>
                  </a:lnTo>
                  <a:lnTo>
                    <a:pt x="672" y="1555"/>
                  </a:lnTo>
                  <a:lnTo>
                    <a:pt x="672" y="1558"/>
                  </a:lnTo>
                  <a:lnTo>
                    <a:pt x="673" y="1559"/>
                  </a:lnTo>
                  <a:lnTo>
                    <a:pt x="676" y="1560"/>
                  </a:lnTo>
                  <a:lnTo>
                    <a:pt x="681" y="1560"/>
                  </a:lnTo>
                  <a:lnTo>
                    <a:pt x="682" y="1563"/>
                  </a:lnTo>
                  <a:lnTo>
                    <a:pt x="683" y="1567"/>
                  </a:lnTo>
                  <a:lnTo>
                    <a:pt x="684" y="1570"/>
                  </a:lnTo>
                  <a:lnTo>
                    <a:pt x="687" y="1573"/>
                  </a:lnTo>
                  <a:lnTo>
                    <a:pt x="689" y="1576"/>
                  </a:lnTo>
                  <a:lnTo>
                    <a:pt x="693" y="1577"/>
                  </a:lnTo>
                  <a:lnTo>
                    <a:pt x="696" y="1578"/>
                  </a:lnTo>
                  <a:lnTo>
                    <a:pt x="700" y="1579"/>
                  </a:lnTo>
                  <a:lnTo>
                    <a:pt x="708" y="1588"/>
                  </a:lnTo>
                  <a:lnTo>
                    <a:pt x="717" y="1597"/>
                  </a:lnTo>
                  <a:lnTo>
                    <a:pt x="719" y="1600"/>
                  </a:lnTo>
                  <a:lnTo>
                    <a:pt x="720" y="1603"/>
                  </a:lnTo>
                  <a:lnTo>
                    <a:pt x="721" y="1607"/>
                  </a:lnTo>
                  <a:lnTo>
                    <a:pt x="724" y="1610"/>
                  </a:lnTo>
                  <a:lnTo>
                    <a:pt x="726" y="1612"/>
                  </a:lnTo>
                  <a:lnTo>
                    <a:pt x="730" y="1614"/>
                  </a:lnTo>
                  <a:lnTo>
                    <a:pt x="733" y="1615"/>
                  </a:lnTo>
                  <a:lnTo>
                    <a:pt x="736" y="1616"/>
                  </a:lnTo>
                  <a:lnTo>
                    <a:pt x="737" y="1619"/>
                  </a:lnTo>
                  <a:lnTo>
                    <a:pt x="740" y="1621"/>
                  </a:lnTo>
                  <a:lnTo>
                    <a:pt x="742" y="1624"/>
                  </a:lnTo>
                  <a:lnTo>
                    <a:pt x="745" y="1626"/>
                  </a:lnTo>
                  <a:lnTo>
                    <a:pt x="749" y="1629"/>
                  </a:lnTo>
                  <a:lnTo>
                    <a:pt x="752" y="1632"/>
                  </a:lnTo>
                  <a:lnTo>
                    <a:pt x="754" y="1637"/>
                  </a:lnTo>
                  <a:lnTo>
                    <a:pt x="755" y="1644"/>
                  </a:lnTo>
                  <a:lnTo>
                    <a:pt x="764" y="1653"/>
                  </a:lnTo>
                  <a:lnTo>
                    <a:pt x="769" y="1653"/>
                  </a:lnTo>
                  <a:lnTo>
                    <a:pt x="773" y="1655"/>
                  </a:lnTo>
                  <a:lnTo>
                    <a:pt x="778" y="1657"/>
                  </a:lnTo>
                  <a:lnTo>
                    <a:pt x="782" y="1659"/>
                  </a:lnTo>
                  <a:lnTo>
                    <a:pt x="789" y="1667"/>
                  </a:lnTo>
                  <a:lnTo>
                    <a:pt x="796" y="1676"/>
                  </a:lnTo>
                  <a:lnTo>
                    <a:pt x="801" y="1684"/>
                  </a:lnTo>
                  <a:lnTo>
                    <a:pt x="807" y="1692"/>
                  </a:lnTo>
                  <a:lnTo>
                    <a:pt x="810" y="1694"/>
                  </a:lnTo>
                  <a:lnTo>
                    <a:pt x="813" y="1696"/>
                  </a:lnTo>
                  <a:lnTo>
                    <a:pt x="816" y="1698"/>
                  </a:lnTo>
                  <a:lnTo>
                    <a:pt x="819" y="1698"/>
                  </a:lnTo>
                  <a:lnTo>
                    <a:pt x="820" y="1705"/>
                  </a:lnTo>
                  <a:lnTo>
                    <a:pt x="822" y="1709"/>
                  </a:lnTo>
                  <a:lnTo>
                    <a:pt x="826" y="1713"/>
                  </a:lnTo>
                  <a:lnTo>
                    <a:pt x="829" y="1716"/>
                  </a:lnTo>
                  <a:lnTo>
                    <a:pt x="832" y="1718"/>
                  </a:lnTo>
                  <a:lnTo>
                    <a:pt x="835" y="1721"/>
                  </a:lnTo>
                  <a:lnTo>
                    <a:pt x="837" y="1723"/>
                  </a:lnTo>
                  <a:lnTo>
                    <a:pt x="838" y="1726"/>
                  </a:lnTo>
                  <a:lnTo>
                    <a:pt x="857" y="1726"/>
                  </a:lnTo>
                  <a:lnTo>
                    <a:pt x="857" y="1730"/>
                  </a:lnTo>
                  <a:lnTo>
                    <a:pt x="859" y="1733"/>
                  </a:lnTo>
                  <a:lnTo>
                    <a:pt x="863" y="1736"/>
                  </a:lnTo>
                  <a:lnTo>
                    <a:pt x="867" y="1739"/>
                  </a:lnTo>
                  <a:lnTo>
                    <a:pt x="876" y="1743"/>
                  </a:lnTo>
                  <a:lnTo>
                    <a:pt x="884" y="1745"/>
                  </a:lnTo>
                  <a:lnTo>
                    <a:pt x="885" y="1750"/>
                  </a:lnTo>
                  <a:lnTo>
                    <a:pt x="886" y="1753"/>
                  </a:lnTo>
                  <a:lnTo>
                    <a:pt x="887" y="1754"/>
                  </a:lnTo>
                  <a:lnTo>
                    <a:pt x="889" y="1754"/>
                  </a:lnTo>
                  <a:lnTo>
                    <a:pt x="890" y="1754"/>
                  </a:lnTo>
                  <a:lnTo>
                    <a:pt x="892" y="1755"/>
                  </a:lnTo>
                  <a:lnTo>
                    <a:pt x="893" y="1757"/>
                  </a:lnTo>
                  <a:lnTo>
                    <a:pt x="894" y="1763"/>
                  </a:lnTo>
                  <a:lnTo>
                    <a:pt x="906" y="1764"/>
                  </a:lnTo>
                  <a:lnTo>
                    <a:pt x="927" y="1768"/>
                  </a:lnTo>
                  <a:lnTo>
                    <a:pt x="950" y="1771"/>
                  </a:lnTo>
                  <a:lnTo>
                    <a:pt x="967" y="1772"/>
                  </a:lnTo>
                  <a:lnTo>
                    <a:pt x="969" y="1760"/>
                  </a:lnTo>
                  <a:lnTo>
                    <a:pt x="972" y="1739"/>
                  </a:lnTo>
                  <a:lnTo>
                    <a:pt x="975" y="1716"/>
                  </a:lnTo>
                  <a:lnTo>
                    <a:pt x="976" y="1698"/>
                  </a:lnTo>
                  <a:lnTo>
                    <a:pt x="975" y="1698"/>
                  </a:lnTo>
                  <a:lnTo>
                    <a:pt x="973" y="1697"/>
                  </a:lnTo>
                  <a:lnTo>
                    <a:pt x="972" y="1695"/>
                  </a:lnTo>
                  <a:lnTo>
                    <a:pt x="971" y="1693"/>
                  </a:lnTo>
                  <a:lnTo>
                    <a:pt x="970" y="1686"/>
                  </a:lnTo>
                  <a:lnTo>
                    <a:pt x="969" y="1679"/>
                  </a:lnTo>
                  <a:lnTo>
                    <a:pt x="967" y="1664"/>
                  </a:lnTo>
                  <a:lnTo>
                    <a:pt x="967" y="1653"/>
                  </a:lnTo>
                  <a:lnTo>
                    <a:pt x="981" y="1648"/>
                  </a:lnTo>
                  <a:lnTo>
                    <a:pt x="995" y="1644"/>
                  </a:lnTo>
                  <a:lnTo>
                    <a:pt x="995" y="1637"/>
                  </a:lnTo>
                  <a:lnTo>
                    <a:pt x="996" y="1632"/>
                  </a:lnTo>
                  <a:lnTo>
                    <a:pt x="999" y="1630"/>
                  </a:lnTo>
                  <a:lnTo>
                    <a:pt x="1002" y="1630"/>
                  </a:lnTo>
                  <a:lnTo>
                    <a:pt x="1005" y="1630"/>
                  </a:lnTo>
                  <a:lnTo>
                    <a:pt x="1010" y="1632"/>
                  </a:lnTo>
                  <a:lnTo>
                    <a:pt x="1015" y="1636"/>
                  </a:lnTo>
                  <a:lnTo>
                    <a:pt x="1022" y="1639"/>
                  </a:lnTo>
                  <a:lnTo>
                    <a:pt x="1036" y="1649"/>
                  </a:lnTo>
                  <a:lnTo>
                    <a:pt x="1052" y="1659"/>
                  </a:lnTo>
                  <a:lnTo>
                    <a:pt x="1062" y="1664"/>
                  </a:lnTo>
                  <a:lnTo>
                    <a:pt x="1072" y="1668"/>
                  </a:lnTo>
                  <a:lnTo>
                    <a:pt x="1082" y="1672"/>
                  </a:lnTo>
                  <a:lnTo>
                    <a:pt x="1094" y="1674"/>
                  </a:lnTo>
                  <a:lnTo>
                    <a:pt x="1105" y="1676"/>
                  </a:lnTo>
                  <a:lnTo>
                    <a:pt x="1115" y="1677"/>
                  </a:lnTo>
                  <a:lnTo>
                    <a:pt x="1124" y="1677"/>
                  </a:lnTo>
                  <a:lnTo>
                    <a:pt x="1132" y="1676"/>
                  </a:lnTo>
                  <a:lnTo>
                    <a:pt x="1138" y="1674"/>
                  </a:lnTo>
                  <a:lnTo>
                    <a:pt x="1145" y="1672"/>
                  </a:lnTo>
                  <a:lnTo>
                    <a:pt x="1152" y="1669"/>
                  </a:lnTo>
                  <a:lnTo>
                    <a:pt x="1157" y="1666"/>
                  </a:lnTo>
                  <a:lnTo>
                    <a:pt x="1174" y="1651"/>
                  </a:lnTo>
                  <a:lnTo>
                    <a:pt x="1190" y="1636"/>
                  </a:lnTo>
                  <a:lnTo>
                    <a:pt x="1210" y="1620"/>
                  </a:lnTo>
                  <a:lnTo>
                    <a:pt x="1231" y="1603"/>
                  </a:lnTo>
                  <a:lnTo>
                    <a:pt x="1241" y="1595"/>
                  </a:lnTo>
                  <a:lnTo>
                    <a:pt x="1250" y="1586"/>
                  </a:lnTo>
                  <a:lnTo>
                    <a:pt x="1254" y="1581"/>
                  </a:lnTo>
                  <a:lnTo>
                    <a:pt x="1257" y="1576"/>
                  </a:lnTo>
                  <a:lnTo>
                    <a:pt x="1260" y="1570"/>
                  </a:lnTo>
                  <a:lnTo>
                    <a:pt x="1262" y="1564"/>
                  </a:lnTo>
                  <a:lnTo>
                    <a:pt x="1263" y="1552"/>
                  </a:lnTo>
                  <a:lnTo>
                    <a:pt x="1263" y="1540"/>
                  </a:lnTo>
                  <a:lnTo>
                    <a:pt x="1261" y="1526"/>
                  </a:lnTo>
                  <a:lnTo>
                    <a:pt x="1259" y="1513"/>
                  </a:lnTo>
                  <a:lnTo>
                    <a:pt x="1257" y="1500"/>
                  </a:lnTo>
                  <a:lnTo>
                    <a:pt x="1254" y="1486"/>
                  </a:lnTo>
                  <a:lnTo>
                    <a:pt x="1254" y="1480"/>
                  </a:lnTo>
                  <a:lnTo>
                    <a:pt x="1254" y="1473"/>
                  </a:lnTo>
                  <a:lnTo>
                    <a:pt x="1255" y="1466"/>
                  </a:lnTo>
                  <a:lnTo>
                    <a:pt x="1258" y="1459"/>
                  </a:lnTo>
                  <a:lnTo>
                    <a:pt x="1259" y="1456"/>
                  </a:lnTo>
                  <a:lnTo>
                    <a:pt x="1261" y="1453"/>
                  </a:lnTo>
                  <a:lnTo>
                    <a:pt x="1263" y="1451"/>
                  </a:lnTo>
                  <a:lnTo>
                    <a:pt x="1267" y="1448"/>
                  </a:lnTo>
                  <a:lnTo>
                    <a:pt x="1273" y="1444"/>
                  </a:lnTo>
                  <a:lnTo>
                    <a:pt x="1281" y="1439"/>
                  </a:lnTo>
                  <a:lnTo>
                    <a:pt x="1288" y="1436"/>
                  </a:lnTo>
                  <a:lnTo>
                    <a:pt x="1295" y="1433"/>
                  </a:lnTo>
                  <a:lnTo>
                    <a:pt x="1297" y="1430"/>
                  </a:lnTo>
                  <a:lnTo>
                    <a:pt x="1298" y="1427"/>
                  </a:lnTo>
                  <a:lnTo>
                    <a:pt x="1299" y="1425"/>
                  </a:lnTo>
                  <a:lnTo>
                    <a:pt x="1300" y="1422"/>
                  </a:lnTo>
                  <a:lnTo>
                    <a:pt x="1303" y="1420"/>
                  </a:lnTo>
                  <a:lnTo>
                    <a:pt x="1306" y="1418"/>
                  </a:lnTo>
                  <a:lnTo>
                    <a:pt x="1307" y="1415"/>
                  </a:lnTo>
                  <a:lnTo>
                    <a:pt x="1308" y="1411"/>
                  </a:lnTo>
                  <a:lnTo>
                    <a:pt x="1309" y="1403"/>
                  </a:lnTo>
                  <a:lnTo>
                    <a:pt x="1309" y="1394"/>
                  </a:lnTo>
                  <a:lnTo>
                    <a:pt x="1328" y="1394"/>
                  </a:lnTo>
                  <a:lnTo>
                    <a:pt x="1332" y="1380"/>
                  </a:lnTo>
                  <a:lnTo>
                    <a:pt x="1337" y="1366"/>
                  </a:lnTo>
                  <a:lnTo>
                    <a:pt x="1345" y="1365"/>
                  </a:lnTo>
                  <a:lnTo>
                    <a:pt x="1354" y="1360"/>
                  </a:lnTo>
                  <a:lnTo>
                    <a:pt x="1358" y="1358"/>
                  </a:lnTo>
                  <a:lnTo>
                    <a:pt x="1362" y="1355"/>
                  </a:lnTo>
                  <a:lnTo>
                    <a:pt x="1364" y="1351"/>
                  </a:lnTo>
                  <a:lnTo>
                    <a:pt x="1365" y="1348"/>
                  </a:lnTo>
                  <a:lnTo>
                    <a:pt x="1383" y="1348"/>
                  </a:lnTo>
                  <a:lnTo>
                    <a:pt x="1397" y="1338"/>
                  </a:lnTo>
                  <a:lnTo>
                    <a:pt x="1427" y="1322"/>
                  </a:lnTo>
                  <a:lnTo>
                    <a:pt x="1471" y="1301"/>
                  </a:lnTo>
                  <a:lnTo>
                    <a:pt x="1527" y="1276"/>
                  </a:lnTo>
                  <a:lnTo>
                    <a:pt x="1593" y="1249"/>
                  </a:lnTo>
                  <a:lnTo>
                    <a:pt x="1666" y="1221"/>
                  </a:lnTo>
                  <a:lnTo>
                    <a:pt x="1706" y="1207"/>
                  </a:lnTo>
                  <a:lnTo>
                    <a:pt x="1747" y="1194"/>
                  </a:lnTo>
                  <a:lnTo>
                    <a:pt x="1789" y="1180"/>
                  </a:lnTo>
                  <a:lnTo>
                    <a:pt x="1831" y="1168"/>
                  </a:lnTo>
                  <a:lnTo>
                    <a:pt x="1868" y="1158"/>
                  </a:lnTo>
                  <a:lnTo>
                    <a:pt x="1907" y="1147"/>
                  </a:lnTo>
                  <a:lnTo>
                    <a:pt x="1946" y="1136"/>
                  </a:lnTo>
                  <a:lnTo>
                    <a:pt x="1986" y="1125"/>
                  </a:lnTo>
                  <a:lnTo>
                    <a:pt x="2025" y="1116"/>
                  </a:lnTo>
                  <a:lnTo>
                    <a:pt x="2061" y="1107"/>
                  </a:lnTo>
                  <a:lnTo>
                    <a:pt x="2097" y="1099"/>
                  </a:lnTo>
                  <a:lnTo>
                    <a:pt x="2131" y="1095"/>
                  </a:lnTo>
                  <a:lnTo>
                    <a:pt x="2140" y="1092"/>
                  </a:lnTo>
                  <a:lnTo>
                    <a:pt x="2150" y="1089"/>
                  </a:lnTo>
                  <a:lnTo>
                    <a:pt x="2161" y="1084"/>
                  </a:lnTo>
                  <a:lnTo>
                    <a:pt x="2171" y="1080"/>
                  </a:lnTo>
                  <a:lnTo>
                    <a:pt x="2195" y="1069"/>
                  </a:lnTo>
                  <a:lnTo>
                    <a:pt x="2226" y="1059"/>
                  </a:lnTo>
                  <a:lnTo>
                    <a:pt x="2247" y="1053"/>
                  </a:lnTo>
                  <a:lnTo>
                    <a:pt x="2268" y="1049"/>
                  </a:lnTo>
                  <a:lnTo>
                    <a:pt x="2290" y="1044"/>
                  </a:lnTo>
                  <a:lnTo>
                    <a:pt x="2310" y="1040"/>
                  </a:lnTo>
                  <a:lnTo>
                    <a:pt x="2344" y="1035"/>
                  </a:lnTo>
                  <a:lnTo>
                    <a:pt x="2362" y="1033"/>
                  </a:lnTo>
                  <a:lnTo>
                    <a:pt x="2362" y="978"/>
                  </a:lnTo>
                  <a:lnTo>
                    <a:pt x="2344" y="978"/>
                  </a:lnTo>
                  <a:lnTo>
                    <a:pt x="2335" y="968"/>
                  </a:lnTo>
                  <a:lnTo>
                    <a:pt x="2330" y="955"/>
                  </a:lnTo>
                  <a:lnTo>
                    <a:pt x="2325" y="942"/>
                  </a:lnTo>
                  <a:lnTo>
                    <a:pt x="2322" y="941"/>
                  </a:lnTo>
                  <a:lnTo>
                    <a:pt x="2318" y="939"/>
                  </a:lnTo>
                  <a:lnTo>
                    <a:pt x="2315" y="938"/>
                  </a:lnTo>
                  <a:lnTo>
                    <a:pt x="2313" y="935"/>
                  </a:lnTo>
                  <a:lnTo>
                    <a:pt x="2310" y="933"/>
                  </a:lnTo>
                  <a:lnTo>
                    <a:pt x="2308" y="929"/>
                  </a:lnTo>
                  <a:lnTo>
                    <a:pt x="2307" y="926"/>
                  </a:lnTo>
                  <a:lnTo>
                    <a:pt x="2307" y="923"/>
                  </a:lnTo>
                  <a:lnTo>
                    <a:pt x="2301" y="923"/>
                  </a:lnTo>
                  <a:lnTo>
                    <a:pt x="2299" y="922"/>
                  </a:lnTo>
                  <a:lnTo>
                    <a:pt x="2298" y="920"/>
                  </a:lnTo>
                  <a:lnTo>
                    <a:pt x="2298" y="918"/>
                  </a:lnTo>
                  <a:lnTo>
                    <a:pt x="2297" y="916"/>
                  </a:lnTo>
                  <a:lnTo>
                    <a:pt x="2297" y="915"/>
                  </a:lnTo>
                  <a:lnTo>
                    <a:pt x="2294" y="914"/>
                  </a:lnTo>
                  <a:lnTo>
                    <a:pt x="2288" y="914"/>
                  </a:lnTo>
                  <a:lnTo>
                    <a:pt x="2288" y="895"/>
                  </a:lnTo>
                  <a:lnTo>
                    <a:pt x="2282" y="895"/>
                  </a:lnTo>
                  <a:lnTo>
                    <a:pt x="2280" y="894"/>
                  </a:lnTo>
                  <a:lnTo>
                    <a:pt x="2279" y="893"/>
                  </a:lnTo>
                  <a:lnTo>
                    <a:pt x="2279" y="890"/>
                  </a:lnTo>
                  <a:lnTo>
                    <a:pt x="2279" y="889"/>
                  </a:lnTo>
                  <a:lnTo>
                    <a:pt x="2278" y="887"/>
                  </a:lnTo>
                  <a:lnTo>
                    <a:pt x="2275" y="886"/>
                  </a:lnTo>
                  <a:lnTo>
                    <a:pt x="2270" y="886"/>
                  </a:lnTo>
                  <a:lnTo>
                    <a:pt x="2270" y="793"/>
                  </a:lnTo>
                  <a:lnTo>
                    <a:pt x="2274" y="793"/>
                  </a:lnTo>
                  <a:lnTo>
                    <a:pt x="2278" y="791"/>
                  </a:lnTo>
                  <a:lnTo>
                    <a:pt x="2284" y="788"/>
                  </a:lnTo>
                  <a:lnTo>
                    <a:pt x="2288" y="784"/>
                  </a:lnTo>
                  <a:lnTo>
                    <a:pt x="2294" y="781"/>
                  </a:lnTo>
                  <a:lnTo>
                    <a:pt x="2298" y="778"/>
                  </a:lnTo>
                  <a:lnTo>
                    <a:pt x="2303" y="775"/>
                  </a:lnTo>
                  <a:lnTo>
                    <a:pt x="2307" y="775"/>
                  </a:lnTo>
                  <a:lnTo>
                    <a:pt x="2307" y="772"/>
                  </a:lnTo>
                  <a:lnTo>
                    <a:pt x="2308" y="769"/>
                  </a:lnTo>
                  <a:lnTo>
                    <a:pt x="2310" y="765"/>
                  </a:lnTo>
                  <a:lnTo>
                    <a:pt x="2313" y="762"/>
                  </a:lnTo>
                  <a:lnTo>
                    <a:pt x="2315" y="760"/>
                  </a:lnTo>
                  <a:lnTo>
                    <a:pt x="2318" y="759"/>
                  </a:lnTo>
                  <a:lnTo>
                    <a:pt x="2322" y="757"/>
                  </a:lnTo>
                  <a:lnTo>
                    <a:pt x="2325" y="756"/>
                  </a:lnTo>
                  <a:lnTo>
                    <a:pt x="2326" y="753"/>
                  </a:lnTo>
                  <a:lnTo>
                    <a:pt x="2328" y="750"/>
                  </a:lnTo>
                  <a:lnTo>
                    <a:pt x="2332" y="746"/>
                  </a:lnTo>
                  <a:lnTo>
                    <a:pt x="2335" y="744"/>
                  </a:lnTo>
                  <a:lnTo>
                    <a:pt x="2341" y="740"/>
                  </a:lnTo>
                  <a:lnTo>
                    <a:pt x="2344" y="739"/>
                  </a:lnTo>
                  <a:lnTo>
                    <a:pt x="2344" y="711"/>
                  </a:lnTo>
                  <a:lnTo>
                    <a:pt x="2308" y="708"/>
                  </a:lnTo>
                  <a:lnTo>
                    <a:pt x="2271" y="706"/>
                  </a:lnTo>
                  <a:lnTo>
                    <a:pt x="2236" y="703"/>
                  </a:lnTo>
                  <a:lnTo>
                    <a:pt x="2205" y="701"/>
                  </a:lnTo>
                  <a:lnTo>
                    <a:pt x="2197" y="683"/>
                  </a:lnTo>
                  <a:lnTo>
                    <a:pt x="2185" y="682"/>
                  </a:lnTo>
                  <a:lnTo>
                    <a:pt x="2174" y="679"/>
                  </a:lnTo>
                  <a:lnTo>
                    <a:pt x="2163" y="676"/>
                  </a:lnTo>
                  <a:lnTo>
                    <a:pt x="2152" y="672"/>
                  </a:lnTo>
                  <a:lnTo>
                    <a:pt x="2142" y="666"/>
                  </a:lnTo>
                  <a:lnTo>
                    <a:pt x="2134" y="659"/>
                  </a:lnTo>
                  <a:lnTo>
                    <a:pt x="2127" y="653"/>
                  </a:lnTo>
                  <a:lnTo>
                    <a:pt x="2122" y="646"/>
                  </a:lnTo>
                  <a:lnTo>
                    <a:pt x="2104" y="646"/>
                  </a:lnTo>
                  <a:lnTo>
                    <a:pt x="2103" y="643"/>
                  </a:lnTo>
                  <a:lnTo>
                    <a:pt x="2101" y="640"/>
                  </a:lnTo>
                  <a:lnTo>
                    <a:pt x="2098" y="638"/>
                  </a:lnTo>
                  <a:lnTo>
                    <a:pt x="2094" y="636"/>
                  </a:lnTo>
                  <a:lnTo>
                    <a:pt x="2090" y="632"/>
                  </a:lnTo>
                  <a:lnTo>
                    <a:pt x="2088" y="629"/>
                  </a:lnTo>
                  <a:lnTo>
                    <a:pt x="2086" y="625"/>
                  </a:lnTo>
                  <a:lnTo>
                    <a:pt x="2085" y="618"/>
                  </a:lnTo>
                  <a:lnTo>
                    <a:pt x="2080" y="617"/>
                  </a:lnTo>
                  <a:lnTo>
                    <a:pt x="2075" y="615"/>
                  </a:lnTo>
                  <a:lnTo>
                    <a:pt x="2069" y="611"/>
                  </a:lnTo>
                  <a:lnTo>
                    <a:pt x="2063" y="608"/>
                  </a:lnTo>
                  <a:lnTo>
                    <a:pt x="2049" y="599"/>
                  </a:lnTo>
                  <a:lnTo>
                    <a:pt x="2039" y="590"/>
                  </a:lnTo>
                  <a:lnTo>
                    <a:pt x="2020" y="590"/>
                  </a:lnTo>
                  <a:lnTo>
                    <a:pt x="2020" y="587"/>
                  </a:lnTo>
                  <a:lnTo>
                    <a:pt x="2019" y="584"/>
                  </a:lnTo>
                  <a:lnTo>
                    <a:pt x="2018" y="583"/>
                  </a:lnTo>
                  <a:lnTo>
                    <a:pt x="2016" y="582"/>
                  </a:lnTo>
                  <a:lnTo>
                    <a:pt x="2011" y="581"/>
                  </a:lnTo>
                  <a:lnTo>
                    <a:pt x="2007" y="581"/>
                  </a:lnTo>
                  <a:lnTo>
                    <a:pt x="2001" y="581"/>
                  </a:lnTo>
                  <a:lnTo>
                    <a:pt x="1997" y="580"/>
                  </a:lnTo>
                  <a:lnTo>
                    <a:pt x="1996" y="579"/>
                  </a:lnTo>
                  <a:lnTo>
                    <a:pt x="1994" y="577"/>
                  </a:lnTo>
                  <a:lnTo>
                    <a:pt x="1993" y="574"/>
                  </a:lnTo>
                  <a:lnTo>
                    <a:pt x="1992" y="572"/>
                  </a:lnTo>
                  <a:lnTo>
                    <a:pt x="1965" y="572"/>
                  </a:lnTo>
                  <a:lnTo>
                    <a:pt x="1955" y="553"/>
                  </a:lnTo>
                  <a:lnTo>
                    <a:pt x="1929" y="553"/>
                  </a:lnTo>
                  <a:lnTo>
                    <a:pt x="1926" y="550"/>
                  </a:lnTo>
                  <a:lnTo>
                    <a:pt x="1922" y="547"/>
                  </a:lnTo>
                  <a:lnTo>
                    <a:pt x="1916" y="543"/>
                  </a:lnTo>
                  <a:lnTo>
                    <a:pt x="1908" y="541"/>
                  </a:lnTo>
                  <a:lnTo>
                    <a:pt x="1893" y="537"/>
                  </a:lnTo>
                  <a:lnTo>
                    <a:pt x="1882" y="535"/>
                  </a:lnTo>
                  <a:lnTo>
                    <a:pt x="1873" y="516"/>
                  </a:lnTo>
                  <a:lnTo>
                    <a:pt x="1865" y="513"/>
                  </a:lnTo>
                  <a:lnTo>
                    <a:pt x="1848" y="503"/>
                  </a:lnTo>
                  <a:lnTo>
                    <a:pt x="1828" y="490"/>
                  </a:lnTo>
                  <a:lnTo>
                    <a:pt x="1805" y="475"/>
                  </a:lnTo>
                  <a:lnTo>
                    <a:pt x="1762" y="446"/>
                  </a:lnTo>
                  <a:lnTo>
                    <a:pt x="1743" y="433"/>
                  </a:lnTo>
                  <a:lnTo>
                    <a:pt x="1735" y="433"/>
                  </a:lnTo>
                  <a:lnTo>
                    <a:pt x="1727" y="430"/>
                  </a:lnTo>
                  <a:lnTo>
                    <a:pt x="1716" y="426"/>
                  </a:lnTo>
                  <a:lnTo>
                    <a:pt x="1706" y="422"/>
                  </a:lnTo>
                  <a:lnTo>
                    <a:pt x="1696" y="416"/>
                  </a:lnTo>
                  <a:lnTo>
                    <a:pt x="1686" y="410"/>
                  </a:lnTo>
                  <a:lnTo>
                    <a:pt x="1677" y="404"/>
                  </a:lnTo>
                  <a:lnTo>
                    <a:pt x="1670" y="396"/>
                  </a:lnTo>
                  <a:lnTo>
                    <a:pt x="1662" y="396"/>
                  </a:lnTo>
                  <a:lnTo>
                    <a:pt x="1654" y="394"/>
                  </a:lnTo>
                  <a:lnTo>
                    <a:pt x="1646" y="390"/>
                  </a:lnTo>
                  <a:lnTo>
                    <a:pt x="1637" y="387"/>
                  </a:lnTo>
                  <a:lnTo>
                    <a:pt x="1628" y="384"/>
                  </a:lnTo>
                  <a:lnTo>
                    <a:pt x="1620" y="380"/>
                  </a:lnTo>
                  <a:lnTo>
                    <a:pt x="1612" y="379"/>
                  </a:lnTo>
                  <a:lnTo>
                    <a:pt x="1605" y="378"/>
                  </a:lnTo>
                  <a:lnTo>
                    <a:pt x="1596" y="359"/>
                  </a:lnTo>
                  <a:lnTo>
                    <a:pt x="1577" y="359"/>
                  </a:lnTo>
                  <a:lnTo>
                    <a:pt x="1571" y="353"/>
                  </a:lnTo>
                  <a:lnTo>
                    <a:pt x="1557" y="341"/>
                  </a:lnTo>
                  <a:lnTo>
                    <a:pt x="1549" y="334"/>
                  </a:lnTo>
                  <a:lnTo>
                    <a:pt x="1542" y="328"/>
                  </a:lnTo>
                  <a:lnTo>
                    <a:pt x="1536" y="324"/>
                  </a:lnTo>
                  <a:lnTo>
                    <a:pt x="1531" y="322"/>
                  </a:lnTo>
                  <a:lnTo>
                    <a:pt x="1530" y="317"/>
                  </a:lnTo>
                  <a:lnTo>
                    <a:pt x="1529" y="314"/>
                  </a:lnTo>
                  <a:lnTo>
                    <a:pt x="1528" y="313"/>
                  </a:lnTo>
                  <a:lnTo>
                    <a:pt x="1527" y="313"/>
                  </a:lnTo>
                  <a:lnTo>
                    <a:pt x="1524" y="313"/>
                  </a:lnTo>
                  <a:lnTo>
                    <a:pt x="1523" y="312"/>
                  </a:lnTo>
                  <a:lnTo>
                    <a:pt x="1522" y="309"/>
                  </a:lnTo>
                  <a:lnTo>
                    <a:pt x="1521" y="304"/>
                  </a:lnTo>
                  <a:lnTo>
                    <a:pt x="1517" y="303"/>
                  </a:lnTo>
                  <a:lnTo>
                    <a:pt x="1511" y="301"/>
                  </a:lnTo>
                  <a:lnTo>
                    <a:pt x="1507" y="297"/>
                  </a:lnTo>
                  <a:lnTo>
                    <a:pt x="1502" y="292"/>
                  </a:lnTo>
                  <a:lnTo>
                    <a:pt x="1494" y="280"/>
                  </a:lnTo>
                  <a:lnTo>
                    <a:pt x="1485" y="266"/>
                  </a:lnTo>
                  <a:lnTo>
                    <a:pt x="1479" y="251"/>
                  </a:lnTo>
                  <a:lnTo>
                    <a:pt x="1471" y="237"/>
                  </a:lnTo>
                  <a:lnTo>
                    <a:pt x="1468" y="232"/>
                  </a:lnTo>
                  <a:lnTo>
                    <a:pt x="1464" y="227"/>
                  </a:lnTo>
                  <a:lnTo>
                    <a:pt x="1461" y="223"/>
                  </a:lnTo>
                  <a:lnTo>
                    <a:pt x="1456" y="221"/>
                  </a:lnTo>
                  <a:lnTo>
                    <a:pt x="1456" y="214"/>
                  </a:lnTo>
                  <a:lnTo>
                    <a:pt x="1454" y="206"/>
                  </a:lnTo>
                  <a:lnTo>
                    <a:pt x="1451" y="197"/>
                  </a:lnTo>
                  <a:lnTo>
                    <a:pt x="1446" y="189"/>
                  </a:lnTo>
                  <a:lnTo>
                    <a:pt x="1437" y="175"/>
                  </a:lnTo>
                  <a:lnTo>
                    <a:pt x="1430" y="166"/>
                  </a:lnTo>
                  <a:lnTo>
                    <a:pt x="1430" y="138"/>
                  </a:lnTo>
                  <a:lnTo>
                    <a:pt x="1426" y="136"/>
                  </a:lnTo>
                  <a:lnTo>
                    <a:pt x="1423" y="131"/>
                  </a:lnTo>
                  <a:lnTo>
                    <a:pt x="1420" y="126"/>
                  </a:lnTo>
                  <a:lnTo>
                    <a:pt x="1416" y="118"/>
                  </a:lnTo>
                  <a:lnTo>
                    <a:pt x="1413" y="102"/>
                  </a:lnTo>
                  <a:lnTo>
                    <a:pt x="1411" y="91"/>
                  </a:lnTo>
                  <a:lnTo>
                    <a:pt x="1408" y="91"/>
                  </a:lnTo>
                  <a:lnTo>
                    <a:pt x="1407" y="89"/>
                  </a:lnTo>
                  <a:lnTo>
                    <a:pt x="1405" y="86"/>
                  </a:lnTo>
                  <a:lnTo>
                    <a:pt x="1403" y="81"/>
                  </a:lnTo>
                  <a:lnTo>
                    <a:pt x="1398" y="71"/>
                  </a:lnTo>
                  <a:lnTo>
                    <a:pt x="1394" y="58"/>
                  </a:lnTo>
                  <a:lnTo>
                    <a:pt x="1386" y="33"/>
                  </a:lnTo>
                  <a:lnTo>
                    <a:pt x="1383" y="18"/>
                  </a:lnTo>
                  <a:lnTo>
                    <a:pt x="1380" y="18"/>
                  </a:lnTo>
                  <a:lnTo>
                    <a:pt x="1377" y="16"/>
                  </a:lnTo>
                  <a:lnTo>
                    <a:pt x="1376" y="14"/>
                  </a:lnTo>
                  <a:lnTo>
                    <a:pt x="1375" y="12"/>
                  </a:lnTo>
                  <a:lnTo>
                    <a:pt x="1374" y="6"/>
                  </a:lnTo>
                  <a:lnTo>
                    <a:pt x="1374" y="0"/>
                  </a:lnTo>
                  <a:lnTo>
                    <a:pt x="1346" y="0"/>
                  </a:lnTo>
                  <a:lnTo>
                    <a:pt x="1337" y="9"/>
                  </a:lnTo>
                  <a:lnTo>
                    <a:pt x="1337" y="26"/>
                  </a:lnTo>
                  <a:lnTo>
                    <a:pt x="1328" y="37"/>
                  </a:lnTo>
                  <a:lnTo>
                    <a:pt x="1322" y="37"/>
                  </a:lnTo>
                  <a:lnTo>
                    <a:pt x="1319" y="38"/>
                  </a:lnTo>
                  <a:lnTo>
                    <a:pt x="1318" y="39"/>
                  </a:lnTo>
                  <a:lnTo>
                    <a:pt x="1318" y="41"/>
                  </a:lnTo>
                  <a:lnTo>
                    <a:pt x="1318" y="42"/>
                  </a:lnTo>
                  <a:lnTo>
                    <a:pt x="1317" y="44"/>
                  </a:lnTo>
                  <a:lnTo>
                    <a:pt x="1315" y="45"/>
                  </a:lnTo>
                  <a:lnTo>
                    <a:pt x="1309" y="45"/>
                  </a:lnTo>
                  <a:lnTo>
                    <a:pt x="1309" y="63"/>
                  </a:lnTo>
                  <a:lnTo>
                    <a:pt x="1303" y="64"/>
                  </a:lnTo>
                  <a:lnTo>
                    <a:pt x="1301" y="66"/>
                  </a:lnTo>
                  <a:lnTo>
                    <a:pt x="1300" y="67"/>
                  </a:lnTo>
                  <a:lnTo>
                    <a:pt x="1300" y="69"/>
                  </a:lnTo>
                  <a:lnTo>
                    <a:pt x="1300" y="70"/>
                  </a:lnTo>
                  <a:lnTo>
                    <a:pt x="1299" y="71"/>
                  </a:lnTo>
                  <a:lnTo>
                    <a:pt x="1296" y="72"/>
                  </a:lnTo>
                  <a:lnTo>
                    <a:pt x="1291" y="73"/>
                  </a:lnTo>
                  <a:lnTo>
                    <a:pt x="1291" y="91"/>
                  </a:lnTo>
                  <a:lnTo>
                    <a:pt x="1277" y="101"/>
                  </a:lnTo>
                  <a:lnTo>
                    <a:pt x="1263" y="110"/>
                  </a:lnTo>
                  <a:lnTo>
                    <a:pt x="1262" y="114"/>
                  </a:lnTo>
                  <a:lnTo>
                    <a:pt x="1261" y="117"/>
                  </a:lnTo>
                  <a:lnTo>
                    <a:pt x="1260" y="120"/>
                  </a:lnTo>
                  <a:lnTo>
                    <a:pt x="1258" y="124"/>
                  </a:lnTo>
                  <a:lnTo>
                    <a:pt x="1251" y="131"/>
                  </a:lnTo>
                  <a:lnTo>
                    <a:pt x="1244" y="139"/>
                  </a:lnTo>
                  <a:lnTo>
                    <a:pt x="1238" y="147"/>
                  </a:lnTo>
                  <a:lnTo>
                    <a:pt x="1232" y="156"/>
                  </a:lnTo>
                  <a:lnTo>
                    <a:pt x="1230" y="160"/>
                  </a:lnTo>
                  <a:lnTo>
                    <a:pt x="1228" y="165"/>
                  </a:lnTo>
                  <a:lnTo>
                    <a:pt x="1226" y="169"/>
                  </a:lnTo>
                  <a:lnTo>
                    <a:pt x="1226" y="175"/>
                  </a:lnTo>
                  <a:lnTo>
                    <a:pt x="1207" y="184"/>
                  </a:lnTo>
                  <a:lnTo>
                    <a:pt x="1207" y="203"/>
                  </a:lnTo>
                  <a:lnTo>
                    <a:pt x="1202" y="203"/>
                  </a:lnTo>
                  <a:lnTo>
                    <a:pt x="1200" y="204"/>
                  </a:lnTo>
                  <a:lnTo>
                    <a:pt x="1199" y="205"/>
                  </a:lnTo>
                  <a:lnTo>
                    <a:pt x="1199" y="207"/>
                  </a:lnTo>
                  <a:lnTo>
                    <a:pt x="1199" y="208"/>
                  </a:lnTo>
                  <a:lnTo>
                    <a:pt x="1197" y="211"/>
                  </a:lnTo>
                  <a:lnTo>
                    <a:pt x="1194" y="212"/>
                  </a:lnTo>
                  <a:lnTo>
                    <a:pt x="1190" y="212"/>
                  </a:lnTo>
                  <a:lnTo>
                    <a:pt x="1190" y="331"/>
                  </a:lnTo>
                  <a:lnTo>
                    <a:pt x="1187" y="332"/>
                  </a:lnTo>
                  <a:lnTo>
                    <a:pt x="1185" y="334"/>
                  </a:lnTo>
                  <a:lnTo>
                    <a:pt x="1183" y="339"/>
                  </a:lnTo>
                  <a:lnTo>
                    <a:pt x="1181" y="343"/>
                  </a:lnTo>
                  <a:lnTo>
                    <a:pt x="1175" y="355"/>
                  </a:lnTo>
                  <a:lnTo>
                    <a:pt x="1168" y="369"/>
                  </a:lnTo>
                  <a:lnTo>
                    <a:pt x="1161" y="382"/>
                  </a:lnTo>
                  <a:lnTo>
                    <a:pt x="1153" y="394"/>
                  </a:lnTo>
                  <a:lnTo>
                    <a:pt x="1148" y="399"/>
                  </a:lnTo>
                  <a:lnTo>
                    <a:pt x="1144" y="403"/>
                  </a:lnTo>
                  <a:lnTo>
                    <a:pt x="1138" y="405"/>
                  </a:lnTo>
                  <a:lnTo>
                    <a:pt x="1134" y="406"/>
                  </a:lnTo>
                  <a:lnTo>
                    <a:pt x="1125" y="424"/>
                  </a:lnTo>
                  <a:lnTo>
                    <a:pt x="1092" y="424"/>
                  </a:lnTo>
                  <a:lnTo>
                    <a:pt x="1056" y="424"/>
                  </a:lnTo>
                  <a:lnTo>
                    <a:pt x="1018" y="424"/>
                  </a:lnTo>
                  <a:lnTo>
                    <a:pt x="985" y="424"/>
                  </a:lnTo>
                  <a:lnTo>
                    <a:pt x="976" y="415"/>
                  </a:lnTo>
                  <a:lnTo>
                    <a:pt x="967" y="406"/>
                  </a:lnTo>
                  <a:lnTo>
                    <a:pt x="966" y="399"/>
                  </a:lnTo>
                  <a:lnTo>
                    <a:pt x="964" y="394"/>
                  </a:lnTo>
                  <a:lnTo>
                    <a:pt x="962" y="388"/>
                  </a:lnTo>
                  <a:lnTo>
                    <a:pt x="959" y="382"/>
                  </a:lnTo>
                  <a:lnTo>
                    <a:pt x="955" y="377"/>
                  </a:lnTo>
                  <a:lnTo>
                    <a:pt x="952" y="371"/>
                  </a:lnTo>
                  <a:lnTo>
                    <a:pt x="950" y="366"/>
                  </a:lnTo>
                  <a:lnTo>
                    <a:pt x="948" y="359"/>
                  </a:lnTo>
                  <a:lnTo>
                    <a:pt x="922" y="331"/>
                  </a:lnTo>
                  <a:lnTo>
                    <a:pt x="912" y="341"/>
                  </a:lnTo>
                  <a:lnTo>
                    <a:pt x="906" y="341"/>
                  </a:lnTo>
                  <a:lnTo>
                    <a:pt x="904" y="342"/>
                  </a:lnTo>
                  <a:lnTo>
                    <a:pt x="903" y="343"/>
                  </a:lnTo>
                  <a:lnTo>
                    <a:pt x="903" y="346"/>
                  </a:lnTo>
                  <a:lnTo>
                    <a:pt x="903" y="347"/>
                  </a:lnTo>
                  <a:lnTo>
                    <a:pt x="902" y="349"/>
                  </a:lnTo>
                  <a:lnTo>
                    <a:pt x="898" y="350"/>
                  </a:lnTo>
                  <a:lnTo>
                    <a:pt x="894" y="350"/>
                  </a:lnTo>
                  <a:lnTo>
                    <a:pt x="892" y="358"/>
                  </a:lnTo>
                  <a:lnTo>
                    <a:pt x="888" y="368"/>
                  </a:lnTo>
                  <a:lnTo>
                    <a:pt x="885" y="371"/>
                  </a:lnTo>
                  <a:lnTo>
                    <a:pt x="881" y="375"/>
                  </a:lnTo>
                  <a:lnTo>
                    <a:pt x="878" y="377"/>
                  </a:lnTo>
                  <a:lnTo>
                    <a:pt x="875" y="378"/>
                  </a:lnTo>
                  <a:lnTo>
                    <a:pt x="875" y="415"/>
                  </a:lnTo>
                  <a:lnTo>
                    <a:pt x="870" y="426"/>
                  </a:lnTo>
                  <a:lnTo>
                    <a:pt x="861" y="452"/>
                  </a:lnTo>
                  <a:lnTo>
                    <a:pt x="851" y="477"/>
                  </a:lnTo>
                  <a:lnTo>
                    <a:pt x="847" y="489"/>
                  </a:lnTo>
                  <a:lnTo>
                    <a:pt x="838" y="497"/>
                  </a:lnTo>
                  <a:lnTo>
                    <a:pt x="829" y="507"/>
                  </a:lnTo>
                  <a:lnTo>
                    <a:pt x="815" y="512"/>
                  </a:lnTo>
                  <a:lnTo>
                    <a:pt x="801" y="516"/>
                  </a:lnTo>
                  <a:lnTo>
                    <a:pt x="801" y="519"/>
                  </a:lnTo>
                  <a:lnTo>
                    <a:pt x="800" y="521"/>
                  </a:lnTo>
                  <a:lnTo>
                    <a:pt x="798" y="523"/>
                  </a:lnTo>
                  <a:lnTo>
                    <a:pt x="796" y="525"/>
                  </a:lnTo>
                  <a:lnTo>
                    <a:pt x="788" y="529"/>
                  </a:lnTo>
                  <a:lnTo>
                    <a:pt x="779" y="531"/>
                  </a:lnTo>
                  <a:lnTo>
                    <a:pt x="769" y="533"/>
                  </a:lnTo>
                  <a:lnTo>
                    <a:pt x="756" y="534"/>
                  </a:lnTo>
                  <a:lnTo>
                    <a:pt x="743" y="535"/>
                  </a:lnTo>
                  <a:lnTo>
                    <a:pt x="730" y="537"/>
                  </a:lnTo>
                  <a:lnTo>
                    <a:pt x="676" y="535"/>
                  </a:lnTo>
                  <a:lnTo>
                    <a:pt x="644" y="535"/>
                  </a:lnTo>
                  <a:lnTo>
                    <a:pt x="643" y="533"/>
                  </a:lnTo>
                  <a:lnTo>
                    <a:pt x="638" y="532"/>
                  </a:lnTo>
                  <a:lnTo>
                    <a:pt x="630" y="531"/>
                  </a:lnTo>
                  <a:lnTo>
                    <a:pt x="620" y="530"/>
                  </a:lnTo>
                  <a:lnTo>
                    <a:pt x="596" y="528"/>
                  </a:lnTo>
                  <a:lnTo>
                    <a:pt x="568" y="526"/>
                  </a:lnTo>
                  <a:lnTo>
                    <a:pt x="512" y="525"/>
                  </a:lnTo>
                  <a:lnTo>
                    <a:pt x="477" y="525"/>
                  </a:lnTo>
                  <a:lnTo>
                    <a:pt x="477" y="529"/>
                  </a:lnTo>
                  <a:lnTo>
                    <a:pt x="476" y="531"/>
                  </a:lnTo>
                  <a:lnTo>
                    <a:pt x="474" y="533"/>
                  </a:lnTo>
                  <a:lnTo>
                    <a:pt x="472" y="534"/>
                  </a:lnTo>
                  <a:lnTo>
                    <a:pt x="466" y="534"/>
                  </a:lnTo>
                  <a:lnTo>
                    <a:pt x="460" y="535"/>
                  </a:lnTo>
                  <a:lnTo>
                    <a:pt x="458" y="539"/>
                  </a:lnTo>
                  <a:lnTo>
                    <a:pt x="456" y="542"/>
                  </a:lnTo>
                  <a:lnTo>
                    <a:pt x="453" y="544"/>
                  </a:lnTo>
                  <a:lnTo>
                    <a:pt x="449" y="548"/>
                  </a:lnTo>
                  <a:lnTo>
                    <a:pt x="444" y="552"/>
                  </a:lnTo>
                  <a:lnTo>
                    <a:pt x="441" y="553"/>
                  </a:lnTo>
                  <a:lnTo>
                    <a:pt x="441" y="572"/>
                  </a:lnTo>
                  <a:lnTo>
                    <a:pt x="435" y="572"/>
                  </a:lnTo>
                  <a:lnTo>
                    <a:pt x="433" y="573"/>
                  </a:lnTo>
                  <a:lnTo>
                    <a:pt x="432" y="574"/>
                  </a:lnTo>
                  <a:lnTo>
                    <a:pt x="432" y="577"/>
                  </a:lnTo>
                  <a:lnTo>
                    <a:pt x="432" y="578"/>
                  </a:lnTo>
                  <a:lnTo>
                    <a:pt x="431" y="580"/>
                  </a:lnTo>
                  <a:lnTo>
                    <a:pt x="427" y="581"/>
                  </a:lnTo>
                  <a:lnTo>
                    <a:pt x="423" y="581"/>
                  </a:lnTo>
                  <a:lnTo>
                    <a:pt x="423" y="599"/>
                  </a:lnTo>
                  <a:lnTo>
                    <a:pt x="413" y="609"/>
                  </a:lnTo>
                  <a:lnTo>
                    <a:pt x="395" y="607"/>
                  </a:lnTo>
                  <a:lnTo>
                    <a:pt x="372" y="605"/>
                  </a:lnTo>
                  <a:lnTo>
                    <a:pt x="352" y="601"/>
                  </a:lnTo>
                  <a:lnTo>
                    <a:pt x="339" y="599"/>
                  </a:lnTo>
                  <a:lnTo>
                    <a:pt x="339" y="596"/>
                  </a:lnTo>
                  <a:lnTo>
                    <a:pt x="338" y="592"/>
                  </a:lnTo>
                  <a:lnTo>
                    <a:pt x="336" y="590"/>
                  </a:lnTo>
                  <a:lnTo>
                    <a:pt x="333" y="587"/>
                  </a:lnTo>
                  <a:lnTo>
                    <a:pt x="330" y="584"/>
                  </a:lnTo>
                  <a:lnTo>
                    <a:pt x="328" y="582"/>
                  </a:lnTo>
                  <a:lnTo>
                    <a:pt x="324" y="581"/>
                  </a:lnTo>
                  <a:lnTo>
                    <a:pt x="321" y="581"/>
                  </a:lnTo>
                  <a:lnTo>
                    <a:pt x="311" y="572"/>
                  </a:lnTo>
                  <a:lnTo>
                    <a:pt x="302" y="562"/>
                  </a:lnTo>
                  <a:lnTo>
                    <a:pt x="302" y="544"/>
                  </a:lnTo>
                  <a:lnTo>
                    <a:pt x="299" y="543"/>
                  </a:lnTo>
                  <a:lnTo>
                    <a:pt x="295" y="542"/>
                  </a:lnTo>
                  <a:lnTo>
                    <a:pt x="292" y="541"/>
                  </a:lnTo>
                  <a:lnTo>
                    <a:pt x="290" y="539"/>
                  </a:lnTo>
                  <a:lnTo>
                    <a:pt x="288" y="535"/>
                  </a:lnTo>
                  <a:lnTo>
                    <a:pt x="285" y="532"/>
                  </a:lnTo>
                  <a:lnTo>
                    <a:pt x="284" y="529"/>
                  </a:lnTo>
                  <a:lnTo>
                    <a:pt x="284" y="525"/>
                  </a:lnTo>
                  <a:lnTo>
                    <a:pt x="274" y="516"/>
                  </a:lnTo>
                  <a:lnTo>
                    <a:pt x="265" y="507"/>
                  </a:lnTo>
                  <a:lnTo>
                    <a:pt x="216" y="507"/>
                  </a:lnTo>
                  <a:lnTo>
                    <a:pt x="220" y="511"/>
                  </a:lnTo>
                  <a:lnTo>
                    <a:pt x="225" y="516"/>
                  </a:lnTo>
                  <a:lnTo>
                    <a:pt x="225" y="532"/>
                  </a:lnTo>
                  <a:lnTo>
                    <a:pt x="225" y="548"/>
                  </a:lnTo>
                  <a:lnTo>
                    <a:pt x="213" y="548"/>
                  </a:lnTo>
                  <a:lnTo>
                    <a:pt x="213" y="550"/>
                  </a:lnTo>
                  <a:lnTo>
                    <a:pt x="212" y="551"/>
                  </a:lnTo>
                  <a:lnTo>
                    <a:pt x="211" y="552"/>
                  </a:lnTo>
                  <a:lnTo>
                    <a:pt x="209" y="553"/>
                  </a:lnTo>
                  <a:lnTo>
                    <a:pt x="205" y="554"/>
                  </a:lnTo>
                  <a:lnTo>
                    <a:pt x="201" y="554"/>
                  </a:lnTo>
                  <a:lnTo>
                    <a:pt x="199" y="557"/>
                  </a:lnTo>
                  <a:lnTo>
                    <a:pt x="196" y="559"/>
                  </a:lnTo>
                  <a:lnTo>
                    <a:pt x="193" y="561"/>
                  </a:lnTo>
                  <a:lnTo>
                    <a:pt x="187" y="562"/>
                  </a:lnTo>
                  <a:lnTo>
                    <a:pt x="177" y="566"/>
                  </a:lnTo>
                  <a:lnTo>
                    <a:pt x="169" y="567"/>
                  </a:lnTo>
                  <a:lnTo>
                    <a:pt x="32" y="579"/>
                  </a:lnTo>
                  <a:lnTo>
                    <a:pt x="32" y="591"/>
                  </a:lnTo>
                  <a:lnTo>
                    <a:pt x="30" y="592"/>
                  </a:lnTo>
                  <a:lnTo>
                    <a:pt x="28" y="592"/>
                  </a:lnTo>
                  <a:lnTo>
                    <a:pt x="26" y="593"/>
                  </a:lnTo>
                  <a:lnTo>
                    <a:pt x="26" y="596"/>
                  </a:lnTo>
                  <a:lnTo>
                    <a:pt x="25" y="600"/>
                  </a:lnTo>
                  <a:lnTo>
                    <a:pt x="25" y="605"/>
                  </a:lnTo>
                  <a:lnTo>
                    <a:pt x="24" y="610"/>
                  </a:lnTo>
                  <a:lnTo>
                    <a:pt x="21" y="628"/>
                  </a:lnTo>
                  <a:lnTo>
                    <a:pt x="16" y="654"/>
                  </a:lnTo>
                  <a:lnTo>
                    <a:pt x="11" y="683"/>
                  </a:lnTo>
                  <a:lnTo>
                    <a:pt x="5" y="714"/>
                  </a:lnTo>
                  <a:lnTo>
                    <a:pt x="2" y="744"/>
                  </a:lnTo>
                  <a:lnTo>
                    <a:pt x="1" y="757"/>
                  </a:lnTo>
                  <a:lnTo>
                    <a:pt x="0" y="769"/>
                  </a:lnTo>
                  <a:lnTo>
                    <a:pt x="0" y="779"/>
                  </a:lnTo>
                  <a:lnTo>
                    <a:pt x="1" y="785"/>
                  </a:lnTo>
                  <a:lnTo>
                    <a:pt x="13" y="832"/>
                  </a:lnTo>
                  <a:lnTo>
                    <a:pt x="23" y="866"/>
                  </a:lnTo>
                  <a:lnTo>
                    <a:pt x="28" y="880"/>
                  </a:lnTo>
                  <a:lnTo>
                    <a:pt x="30" y="891"/>
                  </a:lnTo>
                  <a:lnTo>
                    <a:pt x="32" y="903"/>
                  </a:lnTo>
                  <a:lnTo>
                    <a:pt x="31" y="913"/>
                  </a:lnTo>
                  <a:close/>
                </a:path>
              </a:pathLst>
            </a:custGeom>
            <a:solidFill>
              <a:srgbClr val="D9D9D9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5" name="Freeform 51"/>
            <p:cNvSpPr>
              <a:spLocks noChangeAspect="1"/>
            </p:cNvSpPr>
            <p:nvPr/>
          </p:nvSpPr>
          <p:spPr bwMode="gray">
            <a:xfrm rot="355651">
              <a:off x="6241836" y="2455863"/>
              <a:ext cx="348068" cy="238472"/>
            </a:xfrm>
            <a:custGeom>
              <a:avLst/>
              <a:gdLst/>
              <a:ahLst/>
              <a:cxnLst>
                <a:cxn ang="0">
                  <a:pos x="374" y="550"/>
                </a:cxn>
                <a:cxn ang="0">
                  <a:pos x="429" y="586"/>
                </a:cxn>
                <a:cxn ang="0">
                  <a:pos x="494" y="607"/>
                </a:cxn>
                <a:cxn ang="0">
                  <a:pos x="601" y="585"/>
                </a:cxn>
                <a:cxn ang="0">
                  <a:pos x="644" y="539"/>
                </a:cxn>
                <a:cxn ang="0">
                  <a:pos x="694" y="454"/>
                </a:cxn>
                <a:cxn ang="0">
                  <a:pos x="759" y="406"/>
                </a:cxn>
                <a:cxn ang="0">
                  <a:pos x="827" y="481"/>
                </a:cxn>
                <a:cxn ang="0">
                  <a:pos x="911" y="488"/>
                </a:cxn>
                <a:cxn ang="0">
                  <a:pos x="948" y="450"/>
                </a:cxn>
                <a:cxn ang="0">
                  <a:pos x="980" y="381"/>
                </a:cxn>
                <a:cxn ang="0">
                  <a:pos x="1017" y="238"/>
                </a:cxn>
                <a:cxn ang="0">
                  <a:pos x="1038" y="112"/>
                </a:cxn>
                <a:cxn ang="0">
                  <a:pos x="1044" y="47"/>
                </a:cxn>
                <a:cxn ang="0">
                  <a:pos x="1113" y="0"/>
                </a:cxn>
                <a:cxn ang="0">
                  <a:pos x="1296" y="31"/>
                </a:cxn>
                <a:cxn ang="0">
                  <a:pos x="1247" y="134"/>
                </a:cxn>
                <a:cxn ang="0">
                  <a:pos x="1170" y="213"/>
                </a:cxn>
                <a:cxn ang="0">
                  <a:pos x="1171" y="334"/>
                </a:cxn>
                <a:cxn ang="0">
                  <a:pos x="1209" y="384"/>
                </a:cxn>
                <a:cxn ang="0">
                  <a:pos x="1372" y="480"/>
                </a:cxn>
                <a:cxn ang="0">
                  <a:pos x="1453" y="510"/>
                </a:cxn>
                <a:cxn ang="0">
                  <a:pos x="1604" y="534"/>
                </a:cxn>
                <a:cxn ang="0">
                  <a:pos x="1664" y="563"/>
                </a:cxn>
                <a:cxn ang="0">
                  <a:pos x="1721" y="630"/>
                </a:cxn>
                <a:cxn ang="0">
                  <a:pos x="1773" y="682"/>
                </a:cxn>
                <a:cxn ang="0">
                  <a:pos x="1826" y="723"/>
                </a:cxn>
                <a:cxn ang="0">
                  <a:pos x="1897" y="797"/>
                </a:cxn>
                <a:cxn ang="0">
                  <a:pos x="1847" y="899"/>
                </a:cxn>
                <a:cxn ang="0">
                  <a:pos x="1825" y="931"/>
                </a:cxn>
                <a:cxn ang="0">
                  <a:pos x="1776" y="993"/>
                </a:cxn>
                <a:cxn ang="0">
                  <a:pos x="1724" y="1067"/>
                </a:cxn>
                <a:cxn ang="0">
                  <a:pos x="1693" y="1231"/>
                </a:cxn>
                <a:cxn ang="0">
                  <a:pos x="1501" y="1277"/>
                </a:cxn>
                <a:cxn ang="0">
                  <a:pos x="1431" y="1203"/>
                </a:cxn>
                <a:cxn ang="0">
                  <a:pos x="1403" y="1239"/>
                </a:cxn>
                <a:cxn ang="0">
                  <a:pos x="1325" y="1383"/>
                </a:cxn>
                <a:cxn ang="0">
                  <a:pos x="1163" y="1394"/>
                </a:cxn>
                <a:cxn ang="0">
                  <a:pos x="985" y="1397"/>
                </a:cxn>
                <a:cxn ang="0">
                  <a:pos x="957" y="1440"/>
                </a:cxn>
                <a:cxn ang="0">
                  <a:pos x="861" y="1452"/>
                </a:cxn>
                <a:cxn ang="0">
                  <a:pos x="815" y="1401"/>
                </a:cxn>
                <a:cxn ang="0">
                  <a:pos x="675" y="1356"/>
                </a:cxn>
                <a:cxn ang="0">
                  <a:pos x="573" y="1315"/>
                </a:cxn>
                <a:cxn ang="0">
                  <a:pos x="529" y="1297"/>
                </a:cxn>
                <a:cxn ang="0">
                  <a:pos x="482" y="1276"/>
                </a:cxn>
                <a:cxn ang="0">
                  <a:pos x="350" y="1297"/>
                </a:cxn>
                <a:cxn ang="0">
                  <a:pos x="268" y="1246"/>
                </a:cxn>
                <a:cxn ang="0">
                  <a:pos x="247" y="1195"/>
                </a:cxn>
                <a:cxn ang="0">
                  <a:pos x="219" y="1059"/>
                </a:cxn>
                <a:cxn ang="0">
                  <a:pos x="152" y="999"/>
                </a:cxn>
                <a:cxn ang="0">
                  <a:pos x="73" y="1027"/>
                </a:cxn>
                <a:cxn ang="0">
                  <a:pos x="0" y="1010"/>
                </a:cxn>
                <a:cxn ang="0">
                  <a:pos x="12" y="905"/>
                </a:cxn>
                <a:cxn ang="0">
                  <a:pos x="67" y="858"/>
                </a:cxn>
                <a:cxn ang="0">
                  <a:pos x="102" y="846"/>
                </a:cxn>
                <a:cxn ang="0">
                  <a:pos x="143" y="819"/>
                </a:cxn>
                <a:cxn ang="0">
                  <a:pos x="175" y="691"/>
                </a:cxn>
                <a:cxn ang="0">
                  <a:pos x="214" y="566"/>
                </a:cxn>
                <a:cxn ang="0">
                  <a:pos x="250" y="542"/>
                </a:cxn>
                <a:cxn ang="0">
                  <a:pos x="294" y="522"/>
                </a:cxn>
              </a:cxnLst>
              <a:rect l="0" t="0" r="r" b="b"/>
              <a:pathLst>
                <a:path w="1901" h="1471">
                  <a:moveTo>
                    <a:pt x="295" y="518"/>
                  </a:moveTo>
                  <a:lnTo>
                    <a:pt x="299" y="518"/>
                  </a:lnTo>
                  <a:lnTo>
                    <a:pt x="304" y="518"/>
                  </a:lnTo>
                  <a:lnTo>
                    <a:pt x="317" y="526"/>
                  </a:lnTo>
                  <a:lnTo>
                    <a:pt x="329" y="534"/>
                  </a:lnTo>
                  <a:lnTo>
                    <a:pt x="338" y="536"/>
                  </a:lnTo>
                  <a:lnTo>
                    <a:pt x="348" y="539"/>
                  </a:lnTo>
                  <a:lnTo>
                    <a:pt x="358" y="542"/>
                  </a:lnTo>
                  <a:lnTo>
                    <a:pt x="367" y="545"/>
                  </a:lnTo>
                  <a:lnTo>
                    <a:pt x="367" y="548"/>
                  </a:lnTo>
                  <a:lnTo>
                    <a:pt x="371" y="549"/>
                  </a:lnTo>
                  <a:lnTo>
                    <a:pt x="374" y="550"/>
                  </a:lnTo>
                  <a:lnTo>
                    <a:pt x="377" y="550"/>
                  </a:lnTo>
                  <a:lnTo>
                    <a:pt x="383" y="555"/>
                  </a:lnTo>
                  <a:lnTo>
                    <a:pt x="385" y="560"/>
                  </a:lnTo>
                  <a:lnTo>
                    <a:pt x="388" y="566"/>
                  </a:lnTo>
                  <a:lnTo>
                    <a:pt x="398" y="566"/>
                  </a:lnTo>
                  <a:lnTo>
                    <a:pt x="401" y="569"/>
                  </a:lnTo>
                  <a:lnTo>
                    <a:pt x="404" y="574"/>
                  </a:lnTo>
                  <a:lnTo>
                    <a:pt x="410" y="578"/>
                  </a:lnTo>
                  <a:lnTo>
                    <a:pt x="414" y="582"/>
                  </a:lnTo>
                  <a:lnTo>
                    <a:pt x="425" y="582"/>
                  </a:lnTo>
                  <a:lnTo>
                    <a:pt x="426" y="584"/>
                  </a:lnTo>
                  <a:lnTo>
                    <a:pt x="429" y="586"/>
                  </a:lnTo>
                  <a:lnTo>
                    <a:pt x="433" y="587"/>
                  </a:lnTo>
                  <a:lnTo>
                    <a:pt x="439" y="589"/>
                  </a:lnTo>
                  <a:lnTo>
                    <a:pt x="450" y="592"/>
                  </a:lnTo>
                  <a:lnTo>
                    <a:pt x="457" y="593"/>
                  </a:lnTo>
                  <a:lnTo>
                    <a:pt x="458" y="595"/>
                  </a:lnTo>
                  <a:lnTo>
                    <a:pt x="460" y="597"/>
                  </a:lnTo>
                  <a:lnTo>
                    <a:pt x="463" y="597"/>
                  </a:lnTo>
                  <a:lnTo>
                    <a:pt x="468" y="597"/>
                  </a:lnTo>
                  <a:lnTo>
                    <a:pt x="470" y="599"/>
                  </a:lnTo>
                  <a:lnTo>
                    <a:pt x="475" y="603"/>
                  </a:lnTo>
                  <a:lnTo>
                    <a:pt x="484" y="605"/>
                  </a:lnTo>
                  <a:lnTo>
                    <a:pt x="494" y="607"/>
                  </a:lnTo>
                  <a:lnTo>
                    <a:pt x="516" y="612"/>
                  </a:lnTo>
                  <a:lnTo>
                    <a:pt x="530" y="613"/>
                  </a:lnTo>
                  <a:lnTo>
                    <a:pt x="540" y="613"/>
                  </a:lnTo>
                  <a:lnTo>
                    <a:pt x="550" y="611"/>
                  </a:lnTo>
                  <a:lnTo>
                    <a:pt x="559" y="606"/>
                  </a:lnTo>
                  <a:lnTo>
                    <a:pt x="568" y="603"/>
                  </a:lnTo>
                  <a:lnTo>
                    <a:pt x="584" y="596"/>
                  </a:lnTo>
                  <a:lnTo>
                    <a:pt x="594" y="593"/>
                  </a:lnTo>
                  <a:lnTo>
                    <a:pt x="595" y="590"/>
                  </a:lnTo>
                  <a:lnTo>
                    <a:pt x="596" y="588"/>
                  </a:lnTo>
                  <a:lnTo>
                    <a:pt x="597" y="586"/>
                  </a:lnTo>
                  <a:lnTo>
                    <a:pt x="601" y="585"/>
                  </a:lnTo>
                  <a:lnTo>
                    <a:pt x="605" y="583"/>
                  </a:lnTo>
                  <a:lnTo>
                    <a:pt x="609" y="582"/>
                  </a:lnTo>
                  <a:lnTo>
                    <a:pt x="609" y="572"/>
                  </a:lnTo>
                  <a:lnTo>
                    <a:pt x="613" y="570"/>
                  </a:lnTo>
                  <a:lnTo>
                    <a:pt x="615" y="568"/>
                  </a:lnTo>
                  <a:lnTo>
                    <a:pt x="615" y="565"/>
                  </a:lnTo>
                  <a:lnTo>
                    <a:pt x="615" y="560"/>
                  </a:lnTo>
                  <a:lnTo>
                    <a:pt x="621" y="555"/>
                  </a:lnTo>
                  <a:lnTo>
                    <a:pt x="626" y="550"/>
                  </a:lnTo>
                  <a:lnTo>
                    <a:pt x="631" y="545"/>
                  </a:lnTo>
                  <a:lnTo>
                    <a:pt x="636" y="539"/>
                  </a:lnTo>
                  <a:lnTo>
                    <a:pt x="644" y="539"/>
                  </a:lnTo>
                  <a:lnTo>
                    <a:pt x="652" y="539"/>
                  </a:lnTo>
                  <a:lnTo>
                    <a:pt x="657" y="529"/>
                  </a:lnTo>
                  <a:lnTo>
                    <a:pt x="667" y="524"/>
                  </a:lnTo>
                  <a:lnTo>
                    <a:pt x="673" y="518"/>
                  </a:lnTo>
                  <a:lnTo>
                    <a:pt x="673" y="502"/>
                  </a:lnTo>
                  <a:lnTo>
                    <a:pt x="679" y="492"/>
                  </a:lnTo>
                  <a:lnTo>
                    <a:pt x="682" y="491"/>
                  </a:lnTo>
                  <a:lnTo>
                    <a:pt x="685" y="488"/>
                  </a:lnTo>
                  <a:lnTo>
                    <a:pt x="689" y="483"/>
                  </a:lnTo>
                  <a:lnTo>
                    <a:pt x="691" y="478"/>
                  </a:lnTo>
                  <a:lnTo>
                    <a:pt x="693" y="465"/>
                  </a:lnTo>
                  <a:lnTo>
                    <a:pt x="694" y="454"/>
                  </a:lnTo>
                  <a:lnTo>
                    <a:pt x="698" y="454"/>
                  </a:lnTo>
                  <a:lnTo>
                    <a:pt x="701" y="452"/>
                  </a:lnTo>
                  <a:lnTo>
                    <a:pt x="704" y="450"/>
                  </a:lnTo>
                  <a:lnTo>
                    <a:pt x="707" y="447"/>
                  </a:lnTo>
                  <a:lnTo>
                    <a:pt x="711" y="441"/>
                  </a:lnTo>
                  <a:lnTo>
                    <a:pt x="715" y="439"/>
                  </a:lnTo>
                  <a:lnTo>
                    <a:pt x="715" y="429"/>
                  </a:lnTo>
                  <a:lnTo>
                    <a:pt x="727" y="429"/>
                  </a:lnTo>
                  <a:lnTo>
                    <a:pt x="731" y="417"/>
                  </a:lnTo>
                  <a:lnTo>
                    <a:pt x="742" y="417"/>
                  </a:lnTo>
                  <a:lnTo>
                    <a:pt x="747" y="407"/>
                  </a:lnTo>
                  <a:lnTo>
                    <a:pt x="759" y="406"/>
                  </a:lnTo>
                  <a:lnTo>
                    <a:pt x="771" y="404"/>
                  </a:lnTo>
                  <a:lnTo>
                    <a:pt x="782" y="403"/>
                  </a:lnTo>
                  <a:lnTo>
                    <a:pt x="795" y="402"/>
                  </a:lnTo>
                  <a:lnTo>
                    <a:pt x="799" y="406"/>
                  </a:lnTo>
                  <a:lnTo>
                    <a:pt x="803" y="412"/>
                  </a:lnTo>
                  <a:lnTo>
                    <a:pt x="807" y="416"/>
                  </a:lnTo>
                  <a:lnTo>
                    <a:pt x="810" y="417"/>
                  </a:lnTo>
                  <a:lnTo>
                    <a:pt x="816" y="433"/>
                  </a:lnTo>
                  <a:lnTo>
                    <a:pt x="822" y="444"/>
                  </a:lnTo>
                  <a:lnTo>
                    <a:pt x="822" y="465"/>
                  </a:lnTo>
                  <a:lnTo>
                    <a:pt x="824" y="473"/>
                  </a:lnTo>
                  <a:lnTo>
                    <a:pt x="827" y="481"/>
                  </a:lnTo>
                  <a:lnTo>
                    <a:pt x="835" y="483"/>
                  </a:lnTo>
                  <a:lnTo>
                    <a:pt x="843" y="487"/>
                  </a:lnTo>
                  <a:lnTo>
                    <a:pt x="845" y="494"/>
                  </a:lnTo>
                  <a:lnTo>
                    <a:pt x="847" y="502"/>
                  </a:lnTo>
                  <a:lnTo>
                    <a:pt x="860" y="502"/>
                  </a:lnTo>
                  <a:lnTo>
                    <a:pt x="871" y="501"/>
                  </a:lnTo>
                  <a:lnTo>
                    <a:pt x="876" y="500"/>
                  </a:lnTo>
                  <a:lnTo>
                    <a:pt x="881" y="498"/>
                  </a:lnTo>
                  <a:lnTo>
                    <a:pt x="886" y="496"/>
                  </a:lnTo>
                  <a:lnTo>
                    <a:pt x="890" y="492"/>
                  </a:lnTo>
                  <a:lnTo>
                    <a:pt x="906" y="492"/>
                  </a:lnTo>
                  <a:lnTo>
                    <a:pt x="911" y="488"/>
                  </a:lnTo>
                  <a:lnTo>
                    <a:pt x="919" y="483"/>
                  </a:lnTo>
                  <a:lnTo>
                    <a:pt x="922" y="481"/>
                  </a:lnTo>
                  <a:lnTo>
                    <a:pt x="924" y="478"/>
                  </a:lnTo>
                  <a:lnTo>
                    <a:pt x="926" y="474"/>
                  </a:lnTo>
                  <a:lnTo>
                    <a:pt x="926" y="471"/>
                  </a:lnTo>
                  <a:lnTo>
                    <a:pt x="938" y="465"/>
                  </a:lnTo>
                  <a:lnTo>
                    <a:pt x="939" y="461"/>
                  </a:lnTo>
                  <a:lnTo>
                    <a:pt x="941" y="455"/>
                  </a:lnTo>
                  <a:lnTo>
                    <a:pt x="942" y="453"/>
                  </a:lnTo>
                  <a:lnTo>
                    <a:pt x="944" y="451"/>
                  </a:lnTo>
                  <a:lnTo>
                    <a:pt x="947" y="450"/>
                  </a:lnTo>
                  <a:lnTo>
                    <a:pt x="948" y="450"/>
                  </a:lnTo>
                  <a:lnTo>
                    <a:pt x="948" y="439"/>
                  </a:lnTo>
                  <a:lnTo>
                    <a:pt x="952" y="434"/>
                  </a:lnTo>
                  <a:lnTo>
                    <a:pt x="957" y="429"/>
                  </a:lnTo>
                  <a:lnTo>
                    <a:pt x="960" y="425"/>
                  </a:lnTo>
                  <a:lnTo>
                    <a:pt x="964" y="423"/>
                  </a:lnTo>
                  <a:lnTo>
                    <a:pt x="964" y="407"/>
                  </a:lnTo>
                  <a:lnTo>
                    <a:pt x="966" y="401"/>
                  </a:lnTo>
                  <a:lnTo>
                    <a:pt x="970" y="392"/>
                  </a:lnTo>
                  <a:lnTo>
                    <a:pt x="972" y="387"/>
                  </a:lnTo>
                  <a:lnTo>
                    <a:pt x="976" y="384"/>
                  </a:lnTo>
                  <a:lnTo>
                    <a:pt x="978" y="382"/>
                  </a:lnTo>
                  <a:lnTo>
                    <a:pt x="980" y="381"/>
                  </a:lnTo>
                  <a:lnTo>
                    <a:pt x="982" y="367"/>
                  </a:lnTo>
                  <a:lnTo>
                    <a:pt x="986" y="354"/>
                  </a:lnTo>
                  <a:lnTo>
                    <a:pt x="995" y="349"/>
                  </a:lnTo>
                  <a:lnTo>
                    <a:pt x="1001" y="344"/>
                  </a:lnTo>
                  <a:lnTo>
                    <a:pt x="1002" y="325"/>
                  </a:lnTo>
                  <a:lnTo>
                    <a:pt x="1006" y="300"/>
                  </a:lnTo>
                  <a:lnTo>
                    <a:pt x="1010" y="274"/>
                  </a:lnTo>
                  <a:lnTo>
                    <a:pt x="1011" y="249"/>
                  </a:lnTo>
                  <a:lnTo>
                    <a:pt x="1015" y="248"/>
                  </a:lnTo>
                  <a:lnTo>
                    <a:pt x="1016" y="246"/>
                  </a:lnTo>
                  <a:lnTo>
                    <a:pt x="1017" y="242"/>
                  </a:lnTo>
                  <a:lnTo>
                    <a:pt x="1017" y="238"/>
                  </a:lnTo>
                  <a:lnTo>
                    <a:pt x="1027" y="228"/>
                  </a:lnTo>
                  <a:lnTo>
                    <a:pt x="1038" y="217"/>
                  </a:lnTo>
                  <a:lnTo>
                    <a:pt x="1038" y="201"/>
                  </a:lnTo>
                  <a:lnTo>
                    <a:pt x="1048" y="191"/>
                  </a:lnTo>
                  <a:lnTo>
                    <a:pt x="1048" y="174"/>
                  </a:lnTo>
                  <a:lnTo>
                    <a:pt x="1048" y="156"/>
                  </a:lnTo>
                  <a:lnTo>
                    <a:pt x="1048" y="138"/>
                  </a:lnTo>
                  <a:lnTo>
                    <a:pt x="1048" y="122"/>
                  </a:lnTo>
                  <a:lnTo>
                    <a:pt x="1048" y="121"/>
                  </a:lnTo>
                  <a:lnTo>
                    <a:pt x="1045" y="116"/>
                  </a:lnTo>
                  <a:lnTo>
                    <a:pt x="1041" y="113"/>
                  </a:lnTo>
                  <a:lnTo>
                    <a:pt x="1038" y="112"/>
                  </a:lnTo>
                  <a:lnTo>
                    <a:pt x="1038" y="95"/>
                  </a:lnTo>
                  <a:lnTo>
                    <a:pt x="1036" y="95"/>
                  </a:lnTo>
                  <a:lnTo>
                    <a:pt x="1035" y="94"/>
                  </a:lnTo>
                  <a:lnTo>
                    <a:pt x="1034" y="92"/>
                  </a:lnTo>
                  <a:lnTo>
                    <a:pt x="1034" y="89"/>
                  </a:lnTo>
                  <a:lnTo>
                    <a:pt x="1034" y="82"/>
                  </a:lnTo>
                  <a:lnTo>
                    <a:pt x="1035" y="75"/>
                  </a:lnTo>
                  <a:lnTo>
                    <a:pt x="1037" y="67"/>
                  </a:lnTo>
                  <a:lnTo>
                    <a:pt x="1039" y="59"/>
                  </a:lnTo>
                  <a:lnTo>
                    <a:pt x="1041" y="55"/>
                  </a:lnTo>
                  <a:lnTo>
                    <a:pt x="1044" y="54"/>
                  </a:lnTo>
                  <a:lnTo>
                    <a:pt x="1044" y="47"/>
                  </a:lnTo>
                  <a:lnTo>
                    <a:pt x="1047" y="41"/>
                  </a:lnTo>
                  <a:lnTo>
                    <a:pt x="1050" y="36"/>
                  </a:lnTo>
                  <a:lnTo>
                    <a:pt x="1054" y="30"/>
                  </a:lnTo>
                  <a:lnTo>
                    <a:pt x="1058" y="25"/>
                  </a:lnTo>
                  <a:lnTo>
                    <a:pt x="1062" y="20"/>
                  </a:lnTo>
                  <a:lnTo>
                    <a:pt x="1064" y="15"/>
                  </a:lnTo>
                  <a:lnTo>
                    <a:pt x="1065" y="11"/>
                  </a:lnTo>
                  <a:lnTo>
                    <a:pt x="1075" y="6"/>
                  </a:lnTo>
                  <a:lnTo>
                    <a:pt x="1081" y="0"/>
                  </a:lnTo>
                  <a:lnTo>
                    <a:pt x="1089" y="0"/>
                  </a:lnTo>
                  <a:lnTo>
                    <a:pt x="1102" y="0"/>
                  </a:lnTo>
                  <a:lnTo>
                    <a:pt x="1113" y="0"/>
                  </a:lnTo>
                  <a:lnTo>
                    <a:pt x="1123" y="0"/>
                  </a:lnTo>
                  <a:lnTo>
                    <a:pt x="1133" y="9"/>
                  </a:lnTo>
                  <a:lnTo>
                    <a:pt x="1144" y="16"/>
                  </a:lnTo>
                  <a:lnTo>
                    <a:pt x="1156" y="21"/>
                  </a:lnTo>
                  <a:lnTo>
                    <a:pt x="1169" y="25"/>
                  </a:lnTo>
                  <a:lnTo>
                    <a:pt x="1182" y="27"/>
                  </a:lnTo>
                  <a:lnTo>
                    <a:pt x="1196" y="29"/>
                  </a:lnTo>
                  <a:lnTo>
                    <a:pt x="1210" y="29"/>
                  </a:lnTo>
                  <a:lnTo>
                    <a:pt x="1225" y="29"/>
                  </a:lnTo>
                  <a:lnTo>
                    <a:pt x="1254" y="29"/>
                  </a:lnTo>
                  <a:lnTo>
                    <a:pt x="1281" y="30"/>
                  </a:lnTo>
                  <a:lnTo>
                    <a:pt x="1296" y="31"/>
                  </a:lnTo>
                  <a:lnTo>
                    <a:pt x="1309" y="34"/>
                  </a:lnTo>
                  <a:lnTo>
                    <a:pt x="1322" y="38"/>
                  </a:lnTo>
                  <a:lnTo>
                    <a:pt x="1334" y="42"/>
                  </a:lnTo>
                  <a:lnTo>
                    <a:pt x="1334" y="58"/>
                  </a:lnTo>
                  <a:lnTo>
                    <a:pt x="1321" y="68"/>
                  </a:lnTo>
                  <a:lnTo>
                    <a:pt x="1296" y="90"/>
                  </a:lnTo>
                  <a:lnTo>
                    <a:pt x="1281" y="103"/>
                  </a:lnTo>
                  <a:lnTo>
                    <a:pt x="1268" y="114"/>
                  </a:lnTo>
                  <a:lnTo>
                    <a:pt x="1257" y="123"/>
                  </a:lnTo>
                  <a:lnTo>
                    <a:pt x="1249" y="127"/>
                  </a:lnTo>
                  <a:lnTo>
                    <a:pt x="1249" y="131"/>
                  </a:lnTo>
                  <a:lnTo>
                    <a:pt x="1247" y="134"/>
                  </a:lnTo>
                  <a:lnTo>
                    <a:pt x="1245" y="137"/>
                  </a:lnTo>
                  <a:lnTo>
                    <a:pt x="1241" y="140"/>
                  </a:lnTo>
                  <a:lnTo>
                    <a:pt x="1236" y="144"/>
                  </a:lnTo>
                  <a:lnTo>
                    <a:pt x="1233" y="149"/>
                  </a:lnTo>
                  <a:lnTo>
                    <a:pt x="1223" y="154"/>
                  </a:lnTo>
                  <a:lnTo>
                    <a:pt x="1212" y="159"/>
                  </a:lnTo>
                  <a:lnTo>
                    <a:pt x="1202" y="164"/>
                  </a:lnTo>
                  <a:lnTo>
                    <a:pt x="1194" y="178"/>
                  </a:lnTo>
                  <a:lnTo>
                    <a:pt x="1185" y="195"/>
                  </a:lnTo>
                  <a:lnTo>
                    <a:pt x="1175" y="201"/>
                  </a:lnTo>
                  <a:lnTo>
                    <a:pt x="1173" y="207"/>
                  </a:lnTo>
                  <a:lnTo>
                    <a:pt x="1170" y="213"/>
                  </a:lnTo>
                  <a:lnTo>
                    <a:pt x="1166" y="217"/>
                  </a:lnTo>
                  <a:lnTo>
                    <a:pt x="1164" y="220"/>
                  </a:lnTo>
                  <a:lnTo>
                    <a:pt x="1162" y="221"/>
                  </a:lnTo>
                  <a:lnTo>
                    <a:pt x="1160" y="222"/>
                  </a:lnTo>
                  <a:lnTo>
                    <a:pt x="1159" y="230"/>
                  </a:lnTo>
                  <a:lnTo>
                    <a:pt x="1156" y="238"/>
                  </a:lnTo>
                  <a:lnTo>
                    <a:pt x="1153" y="243"/>
                  </a:lnTo>
                  <a:lnTo>
                    <a:pt x="1149" y="249"/>
                  </a:lnTo>
                  <a:lnTo>
                    <a:pt x="1149" y="291"/>
                  </a:lnTo>
                  <a:lnTo>
                    <a:pt x="1153" y="298"/>
                  </a:lnTo>
                  <a:lnTo>
                    <a:pt x="1162" y="316"/>
                  </a:lnTo>
                  <a:lnTo>
                    <a:pt x="1171" y="334"/>
                  </a:lnTo>
                  <a:lnTo>
                    <a:pt x="1175" y="344"/>
                  </a:lnTo>
                  <a:lnTo>
                    <a:pt x="1179" y="345"/>
                  </a:lnTo>
                  <a:lnTo>
                    <a:pt x="1181" y="349"/>
                  </a:lnTo>
                  <a:lnTo>
                    <a:pt x="1183" y="351"/>
                  </a:lnTo>
                  <a:lnTo>
                    <a:pt x="1185" y="353"/>
                  </a:lnTo>
                  <a:lnTo>
                    <a:pt x="1188" y="354"/>
                  </a:lnTo>
                  <a:lnTo>
                    <a:pt x="1191" y="354"/>
                  </a:lnTo>
                  <a:lnTo>
                    <a:pt x="1192" y="361"/>
                  </a:lnTo>
                  <a:lnTo>
                    <a:pt x="1196" y="366"/>
                  </a:lnTo>
                  <a:lnTo>
                    <a:pt x="1200" y="372"/>
                  </a:lnTo>
                  <a:lnTo>
                    <a:pt x="1204" y="378"/>
                  </a:lnTo>
                  <a:lnTo>
                    <a:pt x="1209" y="384"/>
                  </a:lnTo>
                  <a:lnTo>
                    <a:pt x="1213" y="390"/>
                  </a:lnTo>
                  <a:lnTo>
                    <a:pt x="1217" y="396"/>
                  </a:lnTo>
                  <a:lnTo>
                    <a:pt x="1218" y="402"/>
                  </a:lnTo>
                  <a:lnTo>
                    <a:pt x="1276" y="460"/>
                  </a:lnTo>
                  <a:lnTo>
                    <a:pt x="1286" y="460"/>
                  </a:lnTo>
                  <a:lnTo>
                    <a:pt x="1293" y="464"/>
                  </a:lnTo>
                  <a:lnTo>
                    <a:pt x="1303" y="468"/>
                  </a:lnTo>
                  <a:lnTo>
                    <a:pt x="1314" y="470"/>
                  </a:lnTo>
                  <a:lnTo>
                    <a:pt x="1324" y="471"/>
                  </a:lnTo>
                  <a:lnTo>
                    <a:pt x="1335" y="474"/>
                  </a:lnTo>
                  <a:lnTo>
                    <a:pt x="1353" y="478"/>
                  </a:lnTo>
                  <a:lnTo>
                    <a:pt x="1372" y="480"/>
                  </a:lnTo>
                  <a:lnTo>
                    <a:pt x="1386" y="481"/>
                  </a:lnTo>
                  <a:lnTo>
                    <a:pt x="1392" y="484"/>
                  </a:lnTo>
                  <a:lnTo>
                    <a:pt x="1398" y="488"/>
                  </a:lnTo>
                  <a:lnTo>
                    <a:pt x="1404" y="491"/>
                  </a:lnTo>
                  <a:lnTo>
                    <a:pt x="1411" y="494"/>
                  </a:lnTo>
                  <a:lnTo>
                    <a:pt x="1418" y="498"/>
                  </a:lnTo>
                  <a:lnTo>
                    <a:pt x="1424" y="500"/>
                  </a:lnTo>
                  <a:lnTo>
                    <a:pt x="1430" y="503"/>
                  </a:lnTo>
                  <a:lnTo>
                    <a:pt x="1434" y="508"/>
                  </a:lnTo>
                  <a:lnTo>
                    <a:pt x="1442" y="508"/>
                  </a:lnTo>
                  <a:lnTo>
                    <a:pt x="1450" y="509"/>
                  </a:lnTo>
                  <a:lnTo>
                    <a:pt x="1453" y="510"/>
                  </a:lnTo>
                  <a:lnTo>
                    <a:pt x="1456" y="512"/>
                  </a:lnTo>
                  <a:lnTo>
                    <a:pt x="1459" y="515"/>
                  </a:lnTo>
                  <a:lnTo>
                    <a:pt x="1461" y="518"/>
                  </a:lnTo>
                  <a:lnTo>
                    <a:pt x="1477" y="518"/>
                  </a:lnTo>
                  <a:lnTo>
                    <a:pt x="1481" y="522"/>
                  </a:lnTo>
                  <a:lnTo>
                    <a:pt x="1487" y="525"/>
                  </a:lnTo>
                  <a:lnTo>
                    <a:pt x="1494" y="528"/>
                  </a:lnTo>
                  <a:lnTo>
                    <a:pt x="1501" y="529"/>
                  </a:lnTo>
                  <a:lnTo>
                    <a:pt x="1518" y="532"/>
                  </a:lnTo>
                  <a:lnTo>
                    <a:pt x="1536" y="534"/>
                  </a:lnTo>
                  <a:lnTo>
                    <a:pt x="1573" y="535"/>
                  </a:lnTo>
                  <a:lnTo>
                    <a:pt x="1604" y="534"/>
                  </a:lnTo>
                  <a:lnTo>
                    <a:pt x="1604" y="532"/>
                  </a:lnTo>
                  <a:lnTo>
                    <a:pt x="1605" y="531"/>
                  </a:lnTo>
                  <a:lnTo>
                    <a:pt x="1606" y="530"/>
                  </a:lnTo>
                  <a:lnTo>
                    <a:pt x="1607" y="530"/>
                  </a:lnTo>
                  <a:lnTo>
                    <a:pt x="1612" y="531"/>
                  </a:lnTo>
                  <a:lnTo>
                    <a:pt x="1616" y="532"/>
                  </a:lnTo>
                  <a:lnTo>
                    <a:pt x="1626" y="537"/>
                  </a:lnTo>
                  <a:lnTo>
                    <a:pt x="1630" y="539"/>
                  </a:lnTo>
                  <a:lnTo>
                    <a:pt x="1645" y="545"/>
                  </a:lnTo>
                  <a:lnTo>
                    <a:pt x="1650" y="550"/>
                  </a:lnTo>
                  <a:lnTo>
                    <a:pt x="1659" y="558"/>
                  </a:lnTo>
                  <a:lnTo>
                    <a:pt x="1664" y="563"/>
                  </a:lnTo>
                  <a:lnTo>
                    <a:pt x="1668" y="568"/>
                  </a:lnTo>
                  <a:lnTo>
                    <a:pt x="1671" y="573"/>
                  </a:lnTo>
                  <a:lnTo>
                    <a:pt x="1672" y="576"/>
                  </a:lnTo>
                  <a:lnTo>
                    <a:pt x="1679" y="579"/>
                  </a:lnTo>
                  <a:lnTo>
                    <a:pt x="1688" y="587"/>
                  </a:lnTo>
                  <a:lnTo>
                    <a:pt x="1696" y="594"/>
                  </a:lnTo>
                  <a:lnTo>
                    <a:pt x="1699" y="597"/>
                  </a:lnTo>
                  <a:lnTo>
                    <a:pt x="1705" y="603"/>
                  </a:lnTo>
                  <a:lnTo>
                    <a:pt x="1709" y="613"/>
                  </a:lnTo>
                  <a:lnTo>
                    <a:pt x="1715" y="624"/>
                  </a:lnTo>
                  <a:lnTo>
                    <a:pt x="1718" y="626"/>
                  </a:lnTo>
                  <a:lnTo>
                    <a:pt x="1721" y="630"/>
                  </a:lnTo>
                  <a:lnTo>
                    <a:pt x="1725" y="635"/>
                  </a:lnTo>
                  <a:lnTo>
                    <a:pt x="1725" y="640"/>
                  </a:lnTo>
                  <a:lnTo>
                    <a:pt x="1732" y="644"/>
                  </a:lnTo>
                  <a:lnTo>
                    <a:pt x="1739" y="649"/>
                  </a:lnTo>
                  <a:lnTo>
                    <a:pt x="1743" y="651"/>
                  </a:lnTo>
                  <a:lnTo>
                    <a:pt x="1745" y="654"/>
                  </a:lnTo>
                  <a:lnTo>
                    <a:pt x="1746" y="657"/>
                  </a:lnTo>
                  <a:lnTo>
                    <a:pt x="1746" y="661"/>
                  </a:lnTo>
                  <a:lnTo>
                    <a:pt x="1757" y="672"/>
                  </a:lnTo>
                  <a:lnTo>
                    <a:pt x="1763" y="674"/>
                  </a:lnTo>
                  <a:lnTo>
                    <a:pt x="1768" y="678"/>
                  </a:lnTo>
                  <a:lnTo>
                    <a:pt x="1773" y="682"/>
                  </a:lnTo>
                  <a:lnTo>
                    <a:pt x="1778" y="688"/>
                  </a:lnTo>
                  <a:lnTo>
                    <a:pt x="1783" y="692"/>
                  </a:lnTo>
                  <a:lnTo>
                    <a:pt x="1788" y="697"/>
                  </a:lnTo>
                  <a:lnTo>
                    <a:pt x="1794" y="701"/>
                  </a:lnTo>
                  <a:lnTo>
                    <a:pt x="1799" y="703"/>
                  </a:lnTo>
                  <a:lnTo>
                    <a:pt x="1801" y="705"/>
                  </a:lnTo>
                  <a:lnTo>
                    <a:pt x="1803" y="709"/>
                  </a:lnTo>
                  <a:lnTo>
                    <a:pt x="1806" y="712"/>
                  </a:lnTo>
                  <a:lnTo>
                    <a:pt x="1811" y="715"/>
                  </a:lnTo>
                  <a:lnTo>
                    <a:pt x="1816" y="719"/>
                  </a:lnTo>
                  <a:lnTo>
                    <a:pt x="1822" y="722"/>
                  </a:lnTo>
                  <a:lnTo>
                    <a:pt x="1826" y="723"/>
                  </a:lnTo>
                  <a:lnTo>
                    <a:pt x="1831" y="724"/>
                  </a:lnTo>
                  <a:lnTo>
                    <a:pt x="1836" y="733"/>
                  </a:lnTo>
                  <a:lnTo>
                    <a:pt x="1850" y="748"/>
                  </a:lnTo>
                  <a:lnTo>
                    <a:pt x="1864" y="763"/>
                  </a:lnTo>
                  <a:lnTo>
                    <a:pt x="1873" y="772"/>
                  </a:lnTo>
                  <a:lnTo>
                    <a:pt x="1879" y="774"/>
                  </a:lnTo>
                  <a:lnTo>
                    <a:pt x="1882" y="776"/>
                  </a:lnTo>
                  <a:lnTo>
                    <a:pt x="1885" y="780"/>
                  </a:lnTo>
                  <a:lnTo>
                    <a:pt x="1889" y="785"/>
                  </a:lnTo>
                  <a:lnTo>
                    <a:pt x="1891" y="790"/>
                  </a:lnTo>
                  <a:lnTo>
                    <a:pt x="1893" y="794"/>
                  </a:lnTo>
                  <a:lnTo>
                    <a:pt x="1897" y="797"/>
                  </a:lnTo>
                  <a:lnTo>
                    <a:pt x="1900" y="798"/>
                  </a:lnTo>
                  <a:lnTo>
                    <a:pt x="1900" y="818"/>
                  </a:lnTo>
                  <a:lnTo>
                    <a:pt x="1900" y="837"/>
                  </a:lnTo>
                  <a:lnTo>
                    <a:pt x="1900" y="856"/>
                  </a:lnTo>
                  <a:lnTo>
                    <a:pt x="1901" y="876"/>
                  </a:lnTo>
                  <a:lnTo>
                    <a:pt x="1899" y="869"/>
                  </a:lnTo>
                  <a:lnTo>
                    <a:pt x="1899" y="862"/>
                  </a:lnTo>
                  <a:lnTo>
                    <a:pt x="1871" y="862"/>
                  </a:lnTo>
                  <a:lnTo>
                    <a:pt x="1862" y="871"/>
                  </a:lnTo>
                  <a:lnTo>
                    <a:pt x="1862" y="888"/>
                  </a:lnTo>
                  <a:lnTo>
                    <a:pt x="1853" y="899"/>
                  </a:lnTo>
                  <a:lnTo>
                    <a:pt x="1847" y="899"/>
                  </a:lnTo>
                  <a:lnTo>
                    <a:pt x="1844" y="900"/>
                  </a:lnTo>
                  <a:lnTo>
                    <a:pt x="1843" y="901"/>
                  </a:lnTo>
                  <a:lnTo>
                    <a:pt x="1843" y="903"/>
                  </a:lnTo>
                  <a:lnTo>
                    <a:pt x="1843" y="904"/>
                  </a:lnTo>
                  <a:lnTo>
                    <a:pt x="1842" y="906"/>
                  </a:lnTo>
                  <a:lnTo>
                    <a:pt x="1840" y="907"/>
                  </a:lnTo>
                  <a:lnTo>
                    <a:pt x="1834" y="907"/>
                  </a:lnTo>
                  <a:lnTo>
                    <a:pt x="1834" y="925"/>
                  </a:lnTo>
                  <a:lnTo>
                    <a:pt x="1828" y="926"/>
                  </a:lnTo>
                  <a:lnTo>
                    <a:pt x="1826" y="928"/>
                  </a:lnTo>
                  <a:lnTo>
                    <a:pt x="1825" y="929"/>
                  </a:lnTo>
                  <a:lnTo>
                    <a:pt x="1825" y="931"/>
                  </a:lnTo>
                  <a:lnTo>
                    <a:pt x="1825" y="932"/>
                  </a:lnTo>
                  <a:lnTo>
                    <a:pt x="1824" y="933"/>
                  </a:lnTo>
                  <a:lnTo>
                    <a:pt x="1821" y="934"/>
                  </a:lnTo>
                  <a:lnTo>
                    <a:pt x="1816" y="935"/>
                  </a:lnTo>
                  <a:lnTo>
                    <a:pt x="1816" y="953"/>
                  </a:lnTo>
                  <a:lnTo>
                    <a:pt x="1802" y="963"/>
                  </a:lnTo>
                  <a:lnTo>
                    <a:pt x="1788" y="972"/>
                  </a:lnTo>
                  <a:lnTo>
                    <a:pt x="1787" y="976"/>
                  </a:lnTo>
                  <a:lnTo>
                    <a:pt x="1786" y="979"/>
                  </a:lnTo>
                  <a:lnTo>
                    <a:pt x="1785" y="982"/>
                  </a:lnTo>
                  <a:lnTo>
                    <a:pt x="1783" y="986"/>
                  </a:lnTo>
                  <a:lnTo>
                    <a:pt x="1776" y="993"/>
                  </a:lnTo>
                  <a:lnTo>
                    <a:pt x="1769" y="1001"/>
                  </a:lnTo>
                  <a:lnTo>
                    <a:pt x="1763" y="1009"/>
                  </a:lnTo>
                  <a:lnTo>
                    <a:pt x="1757" y="1018"/>
                  </a:lnTo>
                  <a:lnTo>
                    <a:pt x="1755" y="1022"/>
                  </a:lnTo>
                  <a:lnTo>
                    <a:pt x="1753" y="1027"/>
                  </a:lnTo>
                  <a:lnTo>
                    <a:pt x="1751" y="1031"/>
                  </a:lnTo>
                  <a:lnTo>
                    <a:pt x="1751" y="1037"/>
                  </a:lnTo>
                  <a:lnTo>
                    <a:pt x="1732" y="1046"/>
                  </a:lnTo>
                  <a:lnTo>
                    <a:pt x="1732" y="1065"/>
                  </a:lnTo>
                  <a:lnTo>
                    <a:pt x="1727" y="1065"/>
                  </a:lnTo>
                  <a:lnTo>
                    <a:pt x="1725" y="1066"/>
                  </a:lnTo>
                  <a:lnTo>
                    <a:pt x="1724" y="1067"/>
                  </a:lnTo>
                  <a:lnTo>
                    <a:pt x="1724" y="1069"/>
                  </a:lnTo>
                  <a:lnTo>
                    <a:pt x="1724" y="1070"/>
                  </a:lnTo>
                  <a:lnTo>
                    <a:pt x="1722" y="1073"/>
                  </a:lnTo>
                  <a:lnTo>
                    <a:pt x="1719" y="1074"/>
                  </a:lnTo>
                  <a:lnTo>
                    <a:pt x="1715" y="1074"/>
                  </a:lnTo>
                  <a:lnTo>
                    <a:pt x="1715" y="1193"/>
                  </a:lnTo>
                  <a:lnTo>
                    <a:pt x="1712" y="1194"/>
                  </a:lnTo>
                  <a:lnTo>
                    <a:pt x="1710" y="1196"/>
                  </a:lnTo>
                  <a:lnTo>
                    <a:pt x="1708" y="1201"/>
                  </a:lnTo>
                  <a:lnTo>
                    <a:pt x="1706" y="1205"/>
                  </a:lnTo>
                  <a:lnTo>
                    <a:pt x="1700" y="1217"/>
                  </a:lnTo>
                  <a:lnTo>
                    <a:pt x="1693" y="1231"/>
                  </a:lnTo>
                  <a:lnTo>
                    <a:pt x="1686" y="1244"/>
                  </a:lnTo>
                  <a:lnTo>
                    <a:pt x="1678" y="1256"/>
                  </a:lnTo>
                  <a:lnTo>
                    <a:pt x="1673" y="1261"/>
                  </a:lnTo>
                  <a:lnTo>
                    <a:pt x="1669" y="1265"/>
                  </a:lnTo>
                  <a:lnTo>
                    <a:pt x="1663" y="1267"/>
                  </a:lnTo>
                  <a:lnTo>
                    <a:pt x="1659" y="1268"/>
                  </a:lnTo>
                  <a:lnTo>
                    <a:pt x="1650" y="1286"/>
                  </a:lnTo>
                  <a:lnTo>
                    <a:pt x="1617" y="1286"/>
                  </a:lnTo>
                  <a:lnTo>
                    <a:pt x="1581" y="1286"/>
                  </a:lnTo>
                  <a:lnTo>
                    <a:pt x="1543" y="1286"/>
                  </a:lnTo>
                  <a:lnTo>
                    <a:pt x="1510" y="1286"/>
                  </a:lnTo>
                  <a:lnTo>
                    <a:pt x="1501" y="1277"/>
                  </a:lnTo>
                  <a:lnTo>
                    <a:pt x="1492" y="1268"/>
                  </a:lnTo>
                  <a:lnTo>
                    <a:pt x="1491" y="1261"/>
                  </a:lnTo>
                  <a:lnTo>
                    <a:pt x="1489" y="1256"/>
                  </a:lnTo>
                  <a:lnTo>
                    <a:pt x="1487" y="1250"/>
                  </a:lnTo>
                  <a:lnTo>
                    <a:pt x="1484" y="1244"/>
                  </a:lnTo>
                  <a:lnTo>
                    <a:pt x="1480" y="1239"/>
                  </a:lnTo>
                  <a:lnTo>
                    <a:pt x="1477" y="1233"/>
                  </a:lnTo>
                  <a:lnTo>
                    <a:pt x="1475" y="1228"/>
                  </a:lnTo>
                  <a:lnTo>
                    <a:pt x="1473" y="1221"/>
                  </a:lnTo>
                  <a:lnTo>
                    <a:pt x="1447" y="1193"/>
                  </a:lnTo>
                  <a:lnTo>
                    <a:pt x="1437" y="1203"/>
                  </a:lnTo>
                  <a:lnTo>
                    <a:pt x="1431" y="1203"/>
                  </a:lnTo>
                  <a:lnTo>
                    <a:pt x="1429" y="1204"/>
                  </a:lnTo>
                  <a:lnTo>
                    <a:pt x="1428" y="1205"/>
                  </a:lnTo>
                  <a:lnTo>
                    <a:pt x="1428" y="1208"/>
                  </a:lnTo>
                  <a:lnTo>
                    <a:pt x="1428" y="1209"/>
                  </a:lnTo>
                  <a:lnTo>
                    <a:pt x="1427" y="1211"/>
                  </a:lnTo>
                  <a:lnTo>
                    <a:pt x="1423" y="1212"/>
                  </a:lnTo>
                  <a:lnTo>
                    <a:pt x="1419" y="1212"/>
                  </a:lnTo>
                  <a:lnTo>
                    <a:pt x="1417" y="1220"/>
                  </a:lnTo>
                  <a:lnTo>
                    <a:pt x="1413" y="1230"/>
                  </a:lnTo>
                  <a:lnTo>
                    <a:pt x="1410" y="1233"/>
                  </a:lnTo>
                  <a:lnTo>
                    <a:pt x="1406" y="1237"/>
                  </a:lnTo>
                  <a:lnTo>
                    <a:pt x="1403" y="1239"/>
                  </a:lnTo>
                  <a:lnTo>
                    <a:pt x="1400" y="1240"/>
                  </a:lnTo>
                  <a:lnTo>
                    <a:pt x="1400" y="1277"/>
                  </a:lnTo>
                  <a:lnTo>
                    <a:pt x="1395" y="1288"/>
                  </a:lnTo>
                  <a:lnTo>
                    <a:pt x="1386" y="1314"/>
                  </a:lnTo>
                  <a:lnTo>
                    <a:pt x="1376" y="1339"/>
                  </a:lnTo>
                  <a:lnTo>
                    <a:pt x="1372" y="1351"/>
                  </a:lnTo>
                  <a:lnTo>
                    <a:pt x="1363" y="1359"/>
                  </a:lnTo>
                  <a:lnTo>
                    <a:pt x="1354" y="1369"/>
                  </a:lnTo>
                  <a:lnTo>
                    <a:pt x="1340" y="1374"/>
                  </a:lnTo>
                  <a:lnTo>
                    <a:pt x="1326" y="1378"/>
                  </a:lnTo>
                  <a:lnTo>
                    <a:pt x="1326" y="1381"/>
                  </a:lnTo>
                  <a:lnTo>
                    <a:pt x="1325" y="1383"/>
                  </a:lnTo>
                  <a:lnTo>
                    <a:pt x="1323" y="1385"/>
                  </a:lnTo>
                  <a:lnTo>
                    <a:pt x="1321" y="1387"/>
                  </a:lnTo>
                  <a:lnTo>
                    <a:pt x="1313" y="1391"/>
                  </a:lnTo>
                  <a:lnTo>
                    <a:pt x="1304" y="1393"/>
                  </a:lnTo>
                  <a:lnTo>
                    <a:pt x="1294" y="1395"/>
                  </a:lnTo>
                  <a:lnTo>
                    <a:pt x="1281" y="1396"/>
                  </a:lnTo>
                  <a:lnTo>
                    <a:pt x="1268" y="1397"/>
                  </a:lnTo>
                  <a:lnTo>
                    <a:pt x="1255" y="1399"/>
                  </a:lnTo>
                  <a:lnTo>
                    <a:pt x="1201" y="1397"/>
                  </a:lnTo>
                  <a:lnTo>
                    <a:pt x="1169" y="1397"/>
                  </a:lnTo>
                  <a:lnTo>
                    <a:pt x="1168" y="1395"/>
                  </a:lnTo>
                  <a:lnTo>
                    <a:pt x="1163" y="1394"/>
                  </a:lnTo>
                  <a:lnTo>
                    <a:pt x="1155" y="1393"/>
                  </a:lnTo>
                  <a:lnTo>
                    <a:pt x="1145" y="1392"/>
                  </a:lnTo>
                  <a:lnTo>
                    <a:pt x="1121" y="1390"/>
                  </a:lnTo>
                  <a:lnTo>
                    <a:pt x="1093" y="1388"/>
                  </a:lnTo>
                  <a:lnTo>
                    <a:pt x="1037" y="1387"/>
                  </a:lnTo>
                  <a:lnTo>
                    <a:pt x="1002" y="1387"/>
                  </a:lnTo>
                  <a:lnTo>
                    <a:pt x="1002" y="1391"/>
                  </a:lnTo>
                  <a:lnTo>
                    <a:pt x="1001" y="1393"/>
                  </a:lnTo>
                  <a:lnTo>
                    <a:pt x="999" y="1395"/>
                  </a:lnTo>
                  <a:lnTo>
                    <a:pt x="997" y="1396"/>
                  </a:lnTo>
                  <a:lnTo>
                    <a:pt x="991" y="1396"/>
                  </a:lnTo>
                  <a:lnTo>
                    <a:pt x="985" y="1397"/>
                  </a:lnTo>
                  <a:lnTo>
                    <a:pt x="983" y="1401"/>
                  </a:lnTo>
                  <a:lnTo>
                    <a:pt x="981" y="1404"/>
                  </a:lnTo>
                  <a:lnTo>
                    <a:pt x="978" y="1406"/>
                  </a:lnTo>
                  <a:lnTo>
                    <a:pt x="974" y="1410"/>
                  </a:lnTo>
                  <a:lnTo>
                    <a:pt x="969" y="1414"/>
                  </a:lnTo>
                  <a:lnTo>
                    <a:pt x="966" y="1415"/>
                  </a:lnTo>
                  <a:lnTo>
                    <a:pt x="966" y="1434"/>
                  </a:lnTo>
                  <a:lnTo>
                    <a:pt x="960" y="1434"/>
                  </a:lnTo>
                  <a:lnTo>
                    <a:pt x="958" y="1435"/>
                  </a:lnTo>
                  <a:lnTo>
                    <a:pt x="957" y="1436"/>
                  </a:lnTo>
                  <a:lnTo>
                    <a:pt x="957" y="1439"/>
                  </a:lnTo>
                  <a:lnTo>
                    <a:pt x="957" y="1440"/>
                  </a:lnTo>
                  <a:lnTo>
                    <a:pt x="956" y="1442"/>
                  </a:lnTo>
                  <a:lnTo>
                    <a:pt x="952" y="1443"/>
                  </a:lnTo>
                  <a:lnTo>
                    <a:pt x="948" y="1443"/>
                  </a:lnTo>
                  <a:lnTo>
                    <a:pt x="948" y="1461"/>
                  </a:lnTo>
                  <a:lnTo>
                    <a:pt x="938" y="1471"/>
                  </a:lnTo>
                  <a:lnTo>
                    <a:pt x="920" y="1469"/>
                  </a:lnTo>
                  <a:lnTo>
                    <a:pt x="897" y="1467"/>
                  </a:lnTo>
                  <a:lnTo>
                    <a:pt x="877" y="1463"/>
                  </a:lnTo>
                  <a:lnTo>
                    <a:pt x="864" y="1461"/>
                  </a:lnTo>
                  <a:lnTo>
                    <a:pt x="864" y="1458"/>
                  </a:lnTo>
                  <a:lnTo>
                    <a:pt x="863" y="1454"/>
                  </a:lnTo>
                  <a:lnTo>
                    <a:pt x="861" y="1452"/>
                  </a:lnTo>
                  <a:lnTo>
                    <a:pt x="858" y="1449"/>
                  </a:lnTo>
                  <a:lnTo>
                    <a:pt x="855" y="1446"/>
                  </a:lnTo>
                  <a:lnTo>
                    <a:pt x="853" y="1444"/>
                  </a:lnTo>
                  <a:lnTo>
                    <a:pt x="849" y="1443"/>
                  </a:lnTo>
                  <a:lnTo>
                    <a:pt x="846" y="1443"/>
                  </a:lnTo>
                  <a:lnTo>
                    <a:pt x="836" y="1434"/>
                  </a:lnTo>
                  <a:lnTo>
                    <a:pt x="827" y="1424"/>
                  </a:lnTo>
                  <a:lnTo>
                    <a:pt x="827" y="1406"/>
                  </a:lnTo>
                  <a:lnTo>
                    <a:pt x="824" y="1405"/>
                  </a:lnTo>
                  <a:lnTo>
                    <a:pt x="820" y="1404"/>
                  </a:lnTo>
                  <a:lnTo>
                    <a:pt x="817" y="1403"/>
                  </a:lnTo>
                  <a:lnTo>
                    <a:pt x="815" y="1401"/>
                  </a:lnTo>
                  <a:lnTo>
                    <a:pt x="813" y="1397"/>
                  </a:lnTo>
                  <a:lnTo>
                    <a:pt x="810" y="1394"/>
                  </a:lnTo>
                  <a:lnTo>
                    <a:pt x="809" y="1391"/>
                  </a:lnTo>
                  <a:lnTo>
                    <a:pt x="809" y="1387"/>
                  </a:lnTo>
                  <a:lnTo>
                    <a:pt x="799" y="1378"/>
                  </a:lnTo>
                  <a:lnTo>
                    <a:pt x="790" y="1369"/>
                  </a:lnTo>
                  <a:lnTo>
                    <a:pt x="741" y="1369"/>
                  </a:lnTo>
                  <a:lnTo>
                    <a:pt x="738" y="1366"/>
                  </a:lnTo>
                  <a:lnTo>
                    <a:pt x="732" y="1359"/>
                  </a:lnTo>
                  <a:lnTo>
                    <a:pt x="717" y="1359"/>
                  </a:lnTo>
                  <a:lnTo>
                    <a:pt x="698" y="1358"/>
                  </a:lnTo>
                  <a:lnTo>
                    <a:pt x="675" y="1356"/>
                  </a:lnTo>
                  <a:lnTo>
                    <a:pt x="653" y="1353"/>
                  </a:lnTo>
                  <a:lnTo>
                    <a:pt x="642" y="1351"/>
                  </a:lnTo>
                  <a:lnTo>
                    <a:pt x="631" y="1348"/>
                  </a:lnTo>
                  <a:lnTo>
                    <a:pt x="621" y="1345"/>
                  </a:lnTo>
                  <a:lnTo>
                    <a:pt x="612" y="1342"/>
                  </a:lnTo>
                  <a:lnTo>
                    <a:pt x="603" y="1337"/>
                  </a:lnTo>
                  <a:lnTo>
                    <a:pt x="596" y="1333"/>
                  </a:lnTo>
                  <a:lnTo>
                    <a:pt x="592" y="1328"/>
                  </a:lnTo>
                  <a:lnTo>
                    <a:pt x="588" y="1323"/>
                  </a:lnTo>
                  <a:lnTo>
                    <a:pt x="582" y="1316"/>
                  </a:lnTo>
                  <a:lnTo>
                    <a:pt x="577" y="1316"/>
                  </a:lnTo>
                  <a:lnTo>
                    <a:pt x="573" y="1315"/>
                  </a:lnTo>
                  <a:lnTo>
                    <a:pt x="571" y="1315"/>
                  </a:lnTo>
                  <a:lnTo>
                    <a:pt x="570" y="1314"/>
                  </a:lnTo>
                  <a:lnTo>
                    <a:pt x="569" y="1311"/>
                  </a:lnTo>
                  <a:lnTo>
                    <a:pt x="569" y="1310"/>
                  </a:lnTo>
                  <a:lnTo>
                    <a:pt x="560" y="1309"/>
                  </a:lnTo>
                  <a:lnTo>
                    <a:pt x="553" y="1306"/>
                  </a:lnTo>
                  <a:lnTo>
                    <a:pt x="549" y="1304"/>
                  </a:lnTo>
                  <a:lnTo>
                    <a:pt x="546" y="1301"/>
                  </a:lnTo>
                  <a:lnTo>
                    <a:pt x="545" y="1299"/>
                  </a:lnTo>
                  <a:lnTo>
                    <a:pt x="545" y="1297"/>
                  </a:lnTo>
                  <a:lnTo>
                    <a:pt x="536" y="1297"/>
                  </a:lnTo>
                  <a:lnTo>
                    <a:pt x="529" y="1297"/>
                  </a:lnTo>
                  <a:lnTo>
                    <a:pt x="523" y="1295"/>
                  </a:lnTo>
                  <a:lnTo>
                    <a:pt x="519" y="1291"/>
                  </a:lnTo>
                  <a:lnTo>
                    <a:pt x="512" y="1290"/>
                  </a:lnTo>
                  <a:lnTo>
                    <a:pt x="505" y="1287"/>
                  </a:lnTo>
                  <a:lnTo>
                    <a:pt x="500" y="1286"/>
                  </a:lnTo>
                  <a:lnTo>
                    <a:pt x="497" y="1284"/>
                  </a:lnTo>
                  <a:lnTo>
                    <a:pt x="494" y="1281"/>
                  </a:lnTo>
                  <a:lnTo>
                    <a:pt x="494" y="1279"/>
                  </a:lnTo>
                  <a:lnTo>
                    <a:pt x="490" y="1278"/>
                  </a:lnTo>
                  <a:lnTo>
                    <a:pt x="486" y="1278"/>
                  </a:lnTo>
                  <a:lnTo>
                    <a:pt x="484" y="1277"/>
                  </a:lnTo>
                  <a:lnTo>
                    <a:pt x="482" y="1276"/>
                  </a:lnTo>
                  <a:lnTo>
                    <a:pt x="482" y="1275"/>
                  </a:lnTo>
                  <a:lnTo>
                    <a:pt x="481" y="1272"/>
                  </a:lnTo>
                  <a:lnTo>
                    <a:pt x="459" y="1272"/>
                  </a:lnTo>
                  <a:lnTo>
                    <a:pt x="421" y="1274"/>
                  </a:lnTo>
                  <a:lnTo>
                    <a:pt x="402" y="1276"/>
                  </a:lnTo>
                  <a:lnTo>
                    <a:pt x="385" y="1278"/>
                  </a:lnTo>
                  <a:lnTo>
                    <a:pt x="378" y="1279"/>
                  </a:lnTo>
                  <a:lnTo>
                    <a:pt x="374" y="1280"/>
                  </a:lnTo>
                  <a:lnTo>
                    <a:pt x="371" y="1282"/>
                  </a:lnTo>
                  <a:lnTo>
                    <a:pt x="369" y="1285"/>
                  </a:lnTo>
                  <a:lnTo>
                    <a:pt x="356" y="1285"/>
                  </a:lnTo>
                  <a:lnTo>
                    <a:pt x="350" y="1297"/>
                  </a:lnTo>
                  <a:lnTo>
                    <a:pt x="340" y="1297"/>
                  </a:lnTo>
                  <a:lnTo>
                    <a:pt x="328" y="1297"/>
                  </a:lnTo>
                  <a:lnTo>
                    <a:pt x="317" y="1297"/>
                  </a:lnTo>
                  <a:lnTo>
                    <a:pt x="307" y="1297"/>
                  </a:lnTo>
                  <a:lnTo>
                    <a:pt x="300" y="1291"/>
                  </a:lnTo>
                  <a:lnTo>
                    <a:pt x="294" y="1285"/>
                  </a:lnTo>
                  <a:lnTo>
                    <a:pt x="288" y="1279"/>
                  </a:lnTo>
                  <a:lnTo>
                    <a:pt x="281" y="1272"/>
                  </a:lnTo>
                  <a:lnTo>
                    <a:pt x="279" y="1265"/>
                  </a:lnTo>
                  <a:lnTo>
                    <a:pt x="275" y="1255"/>
                  </a:lnTo>
                  <a:lnTo>
                    <a:pt x="271" y="1249"/>
                  </a:lnTo>
                  <a:lnTo>
                    <a:pt x="268" y="1246"/>
                  </a:lnTo>
                  <a:lnTo>
                    <a:pt x="266" y="1242"/>
                  </a:lnTo>
                  <a:lnTo>
                    <a:pt x="262" y="1241"/>
                  </a:lnTo>
                  <a:lnTo>
                    <a:pt x="262" y="1236"/>
                  </a:lnTo>
                  <a:lnTo>
                    <a:pt x="262" y="1229"/>
                  </a:lnTo>
                  <a:lnTo>
                    <a:pt x="261" y="1227"/>
                  </a:lnTo>
                  <a:lnTo>
                    <a:pt x="260" y="1224"/>
                  </a:lnTo>
                  <a:lnTo>
                    <a:pt x="259" y="1223"/>
                  </a:lnTo>
                  <a:lnTo>
                    <a:pt x="257" y="1222"/>
                  </a:lnTo>
                  <a:lnTo>
                    <a:pt x="257" y="1203"/>
                  </a:lnTo>
                  <a:lnTo>
                    <a:pt x="252" y="1202"/>
                  </a:lnTo>
                  <a:lnTo>
                    <a:pt x="249" y="1200"/>
                  </a:lnTo>
                  <a:lnTo>
                    <a:pt x="247" y="1195"/>
                  </a:lnTo>
                  <a:lnTo>
                    <a:pt x="244" y="1191"/>
                  </a:lnTo>
                  <a:lnTo>
                    <a:pt x="243" y="1186"/>
                  </a:lnTo>
                  <a:lnTo>
                    <a:pt x="241" y="1182"/>
                  </a:lnTo>
                  <a:lnTo>
                    <a:pt x="240" y="1180"/>
                  </a:lnTo>
                  <a:lnTo>
                    <a:pt x="238" y="1179"/>
                  </a:lnTo>
                  <a:lnTo>
                    <a:pt x="235" y="1159"/>
                  </a:lnTo>
                  <a:lnTo>
                    <a:pt x="231" y="1127"/>
                  </a:lnTo>
                  <a:lnTo>
                    <a:pt x="228" y="1112"/>
                  </a:lnTo>
                  <a:lnTo>
                    <a:pt x="224" y="1097"/>
                  </a:lnTo>
                  <a:lnTo>
                    <a:pt x="222" y="1088"/>
                  </a:lnTo>
                  <a:lnTo>
                    <a:pt x="219" y="1085"/>
                  </a:lnTo>
                  <a:lnTo>
                    <a:pt x="219" y="1059"/>
                  </a:lnTo>
                  <a:lnTo>
                    <a:pt x="217" y="1058"/>
                  </a:lnTo>
                  <a:lnTo>
                    <a:pt x="212" y="1053"/>
                  </a:lnTo>
                  <a:lnTo>
                    <a:pt x="209" y="1046"/>
                  </a:lnTo>
                  <a:lnTo>
                    <a:pt x="204" y="1037"/>
                  </a:lnTo>
                  <a:lnTo>
                    <a:pt x="196" y="1020"/>
                  </a:lnTo>
                  <a:lnTo>
                    <a:pt x="194" y="1010"/>
                  </a:lnTo>
                  <a:lnTo>
                    <a:pt x="190" y="1009"/>
                  </a:lnTo>
                  <a:lnTo>
                    <a:pt x="185" y="1006"/>
                  </a:lnTo>
                  <a:lnTo>
                    <a:pt x="183" y="1002"/>
                  </a:lnTo>
                  <a:lnTo>
                    <a:pt x="182" y="997"/>
                  </a:lnTo>
                  <a:lnTo>
                    <a:pt x="169" y="998"/>
                  </a:lnTo>
                  <a:lnTo>
                    <a:pt x="152" y="999"/>
                  </a:lnTo>
                  <a:lnTo>
                    <a:pt x="144" y="1000"/>
                  </a:lnTo>
                  <a:lnTo>
                    <a:pt x="137" y="1002"/>
                  </a:lnTo>
                  <a:lnTo>
                    <a:pt x="135" y="1003"/>
                  </a:lnTo>
                  <a:lnTo>
                    <a:pt x="133" y="1006"/>
                  </a:lnTo>
                  <a:lnTo>
                    <a:pt x="132" y="1008"/>
                  </a:lnTo>
                  <a:lnTo>
                    <a:pt x="132" y="1010"/>
                  </a:lnTo>
                  <a:lnTo>
                    <a:pt x="121" y="1011"/>
                  </a:lnTo>
                  <a:lnTo>
                    <a:pt x="109" y="1012"/>
                  </a:lnTo>
                  <a:lnTo>
                    <a:pt x="98" y="1015"/>
                  </a:lnTo>
                  <a:lnTo>
                    <a:pt x="88" y="1016"/>
                  </a:lnTo>
                  <a:lnTo>
                    <a:pt x="80" y="1022"/>
                  </a:lnTo>
                  <a:lnTo>
                    <a:pt x="73" y="1027"/>
                  </a:lnTo>
                  <a:lnTo>
                    <a:pt x="65" y="1030"/>
                  </a:lnTo>
                  <a:lnTo>
                    <a:pt x="56" y="1032"/>
                  </a:lnTo>
                  <a:lnTo>
                    <a:pt x="38" y="1035"/>
                  </a:lnTo>
                  <a:lnTo>
                    <a:pt x="19" y="1035"/>
                  </a:lnTo>
                  <a:lnTo>
                    <a:pt x="12" y="1028"/>
                  </a:lnTo>
                  <a:lnTo>
                    <a:pt x="7" y="1022"/>
                  </a:lnTo>
                  <a:lnTo>
                    <a:pt x="7" y="1018"/>
                  </a:lnTo>
                  <a:lnTo>
                    <a:pt x="6" y="1013"/>
                  </a:lnTo>
                  <a:lnTo>
                    <a:pt x="4" y="1012"/>
                  </a:lnTo>
                  <a:lnTo>
                    <a:pt x="3" y="1011"/>
                  </a:lnTo>
                  <a:lnTo>
                    <a:pt x="2" y="1010"/>
                  </a:lnTo>
                  <a:lnTo>
                    <a:pt x="0" y="1010"/>
                  </a:lnTo>
                  <a:lnTo>
                    <a:pt x="0" y="992"/>
                  </a:lnTo>
                  <a:lnTo>
                    <a:pt x="1" y="968"/>
                  </a:lnTo>
                  <a:lnTo>
                    <a:pt x="1" y="955"/>
                  </a:lnTo>
                  <a:lnTo>
                    <a:pt x="2" y="944"/>
                  </a:lnTo>
                  <a:lnTo>
                    <a:pt x="4" y="938"/>
                  </a:lnTo>
                  <a:lnTo>
                    <a:pt x="7" y="934"/>
                  </a:lnTo>
                  <a:lnTo>
                    <a:pt x="7" y="910"/>
                  </a:lnTo>
                  <a:lnTo>
                    <a:pt x="10" y="910"/>
                  </a:lnTo>
                  <a:lnTo>
                    <a:pt x="12" y="909"/>
                  </a:lnTo>
                  <a:lnTo>
                    <a:pt x="12" y="907"/>
                  </a:lnTo>
                  <a:lnTo>
                    <a:pt x="12" y="906"/>
                  </a:lnTo>
                  <a:lnTo>
                    <a:pt x="12" y="905"/>
                  </a:lnTo>
                  <a:lnTo>
                    <a:pt x="13" y="904"/>
                  </a:lnTo>
                  <a:lnTo>
                    <a:pt x="16" y="904"/>
                  </a:lnTo>
                  <a:lnTo>
                    <a:pt x="19" y="903"/>
                  </a:lnTo>
                  <a:lnTo>
                    <a:pt x="22" y="896"/>
                  </a:lnTo>
                  <a:lnTo>
                    <a:pt x="29" y="887"/>
                  </a:lnTo>
                  <a:lnTo>
                    <a:pt x="37" y="878"/>
                  </a:lnTo>
                  <a:lnTo>
                    <a:pt x="43" y="872"/>
                  </a:lnTo>
                  <a:lnTo>
                    <a:pt x="57" y="872"/>
                  </a:lnTo>
                  <a:lnTo>
                    <a:pt x="57" y="859"/>
                  </a:lnTo>
                  <a:lnTo>
                    <a:pt x="61" y="859"/>
                  </a:lnTo>
                  <a:lnTo>
                    <a:pt x="65" y="858"/>
                  </a:lnTo>
                  <a:lnTo>
                    <a:pt x="67" y="858"/>
                  </a:lnTo>
                  <a:lnTo>
                    <a:pt x="68" y="857"/>
                  </a:lnTo>
                  <a:lnTo>
                    <a:pt x="68" y="855"/>
                  </a:lnTo>
                  <a:lnTo>
                    <a:pt x="69" y="854"/>
                  </a:lnTo>
                  <a:lnTo>
                    <a:pt x="75" y="853"/>
                  </a:lnTo>
                  <a:lnTo>
                    <a:pt x="80" y="853"/>
                  </a:lnTo>
                  <a:lnTo>
                    <a:pt x="84" y="852"/>
                  </a:lnTo>
                  <a:lnTo>
                    <a:pt x="86" y="851"/>
                  </a:lnTo>
                  <a:lnTo>
                    <a:pt x="87" y="849"/>
                  </a:lnTo>
                  <a:lnTo>
                    <a:pt x="88" y="847"/>
                  </a:lnTo>
                  <a:lnTo>
                    <a:pt x="94" y="847"/>
                  </a:lnTo>
                  <a:lnTo>
                    <a:pt x="99" y="846"/>
                  </a:lnTo>
                  <a:lnTo>
                    <a:pt x="102" y="846"/>
                  </a:lnTo>
                  <a:lnTo>
                    <a:pt x="105" y="845"/>
                  </a:lnTo>
                  <a:lnTo>
                    <a:pt x="106" y="843"/>
                  </a:lnTo>
                  <a:lnTo>
                    <a:pt x="106" y="840"/>
                  </a:lnTo>
                  <a:lnTo>
                    <a:pt x="125" y="840"/>
                  </a:lnTo>
                  <a:lnTo>
                    <a:pt x="127" y="837"/>
                  </a:lnTo>
                  <a:lnTo>
                    <a:pt x="132" y="834"/>
                  </a:lnTo>
                  <a:lnTo>
                    <a:pt x="134" y="832"/>
                  </a:lnTo>
                  <a:lnTo>
                    <a:pt x="136" y="829"/>
                  </a:lnTo>
                  <a:lnTo>
                    <a:pt x="137" y="826"/>
                  </a:lnTo>
                  <a:lnTo>
                    <a:pt x="137" y="823"/>
                  </a:lnTo>
                  <a:lnTo>
                    <a:pt x="141" y="822"/>
                  </a:lnTo>
                  <a:lnTo>
                    <a:pt x="143" y="819"/>
                  </a:lnTo>
                  <a:lnTo>
                    <a:pt x="146" y="816"/>
                  </a:lnTo>
                  <a:lnTo>
                    <a:pt x="150" y="811"/>
                  </a:lnTo>
                  <a:lnTo>
                    <a:pt x="154" y="804"/>
                  </a:lnTo>
                  <a:lnTo>
                    <a:pt x="156" y="797"/>
                  </a:lnTo>
                  <a:lnTo>
                    <a:pt x="161" y="796"/>
                  </a:lnTo>
                  <a:lnTo>
                    <a:pt x="166" y="794"/>
                  </a:lnTo>
                  <a:lnTo>
                    <a:pt x="171" y="789"/>
                  </a:lnTo>
                  <a:lnTo>
                    <a:pt x="175" y="785"/>
                  </a:lnTo>
                  <a:lnTo>
                    <a:pt x="175" y="762"/>
                  </a:lnTo>
                  <a:lnTo>
                    <a:pt x="175" y="740"/>
                  </a:lnTo>
                  <a:lnTo>
                    <a:pt x="175" y="715"/>
                  </a:lnTo>
                  <a:lnTo>
                    <a:pt x="175" y="691"/>
                  </a:lnTo>
                  <a:lnTo>
                    <a:pt x="175" y="666"/>
                  </a:lnTo>
                  <a:lnTo>
                    <a:pt x="175" y="642"/>
                  </a:lnTo>
                  <a:lnTo>
                    <a:pt x="175" y="619"/>
                  </a:lnTo>
                  <a:lnTo>
                    <a:pt x="175" y="597"/>
                  </a:lnTo>
                  <a:lnTo>
                    <a:pt x="187" y="597"/>
                  </a:lnTo>
                  <a:lnTo>
                    <a:pt x="187" y="585"/>
                  </a:lnTo>
                  <a:lnTo>
                    <a:pt x="194" y="578"/>
                  </a:lnTo>
                  <a:lnTo>
                    <a:pt x="200" y="572"/>
                  </a:lnTo>
                  <a:lnTo>
                    <a:pt x="213" y="572"/>
                  </a:lnTo>
                  <a:lnTo>
                    <a:pt x="213" y="568"/>
                  </a:lnTo>
                  <a:lnTo>
                    <a:pt x="213" y="567"/>
                  </a:lnTo>
                  <a:lnTo>
                    <a:pt x="214" y="566"/>
                  </a:lnTo>
                  <a:lnTo>
                    <a:pt x="215" y="566"/>
                  </a:lnTo>
                  <a:lnTo>
                    <a:pt x="217" y="566"/>
                  </a:lnTo>
                  <a:lnTo>
                    <a:pt x="218" y="565"/>
                  </a:lnTo>
                  <a:lnTo>
                    <a:pt x="219" y="564"/>
                  </a:lnTo>
                  <a:lnTo>
                    <a:pt x="219" y="559"/>
                  </a:lnTo>
                  <a:lnTo>
                    <a:pt x="225" y="554"/>
                  </a:lnTo>
                  <a:lnTo>
                    <a:pt x="231" y="547"/>
                  </a:lnTo>
                  <a:lnTo>
                    <a:pt x="237" y="547"/>
                  </a:lnTo>
                  <a:lnTo>
                    <a:pt x="243" y="546"/>
                  </a:lnTo>
                  <a:lnTo>
                    <a:pt x="246" y="546"/>
                  </a:lnTo>
                  <a:lnTo>
                    <a:pt x="248" y="545"/>
                  </a:lnTo>
                  <a:lnTo>
                    <a:pt x="250" y="542"/>
                  </a:lnTo>
                  <a:lnTo>
                    <a:pt x="250" y="540"/>
                  </a:lnTo>
                  <a:lnTo>
                    <a:pt x="269" y="540"/>
                  </a:lnTo>
                  <a:lnTo>
                    <a:pt x="269" y="537"/>
                  </a:lnTo>
                  <a:lnTo>
                    <a:pt x="270" y="536"/>
                  </a:lnTo>
                  <a:lnTo>
                    <a:pt x="271" y="535"/>
                  </a:lnTo>
                  <a:lnTo>
                    <a:pt x="272" y="535"/>
                  </a:lnTo>
                  <a:lnTo>
                    <a:pt x="273" y="535"/>
                  </a:lnTo>
                  <a:lnTo>
                    <a:pt x="275" y="534"/>
                  </a:lnTo>
                  <a:lnTo>
                    <a:pt x="275" y="532"/>
                  </a:lnTo>
                  <a:lnTo>
                    <a:pt x="276" y="528"/>
                  </a:lnTo>
                  <a:lnTo>
                    <a:pt x="281" y="522"/>
                  </a:lnTo>
                  <a:lnTo>
                    <a:pt x="294" y="522"/>
                  </a:lnTo>
                  <a:lnTo>
                    <a:pt x="295" y="519"/>
                  </a:lnTo>
                  <a:lnTo>
                    <a:pt x="295" y="51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6" name="Freeform 52"/>
            <p:cNvSpPr>
              <a:spLocks noChangeAspect="1"/>
            </p:cNvSpPr>
            <p:nvPr/>
          </p:nvSpPr>
          <p:spPr bwMode="gray">
            <a:xfrm rot="355651">
              <a:off x="6476702" y="2795588"/>
              <a:ext cx="499356" cy="299155"/>
            </a:xfrm>
            <a:custGeom>
              <a:avLst/>
              <a:gdLst/>
              <a:ahLst/>
              <a:cxnLst>
                <a:cxn ang="0">
                  <a:pos x="136" y="824"/>
                </a:cxn>
                <a:cxn ang="0">
                  <a:pos x="344" y="882"/>
                </a:cxn>
                <a:cxn ang="0">
                  <a:pos x="416" y="935"/>
                </a:cxn>
                <a:cxn ang="0">
                  <a:pos x="484" y="1013"/>
                </a:cxn>
                <a:cxn ang="0">
                  <a:pos x="513" y="1196"/>
                </a:cxn>
                <a:cxn ang="0">
                  <a:pos x="491" y="1239"/>
                </a:cxn>
                <a:cxn ang="0">
                  <a:pos x="449" y="1317"/>
                </a:cxn>
                <a:cxn ang="0">
                  <a:pos x="542" y="1358"/>
                </a:cxn>
                <a:cxn ang="0">
                  <a:pos x="576" y="1445"/>
                </a:cxn>
                <a:cxn ang="0">
                  <a:pos x="599" y="1498"/>
                </a:cxn>
                <a:cxn ang="0">
                  <a:pos x="639" y="1586"/>
                </a:cxn>
                <a:cxn ang="0">
                  <a:pos x="739" y="1637"/>
                </a:cxn>
                <a:cxn ang="0">
                  <a:pos x="974" y="1698"/>
                </a:cxn>
                <a:cxn ang="0">
                  <a:pos x="1091" y="1815"/>
                </a:cxn>
                <a:cxn ang="0">
                  <a:pos x="1200" y="1840"/>
                </a:cxn>
                <a:cxn ang="0">
                  <a:pos x="1253" y="1775"/>
                </a:cxn>
                <a:cxn ang="0">
                  <a:pos x="1263" y="1613"/>
                </a:cxn>
                <a:cxn ang="0">
                  <a:pos x="1211" y="1575"/>
                </a:cxn>
                <a:cxn ang="0">
                  <a:pos x="1198" y="1567"/>
                </a:cxn>
                <a:cxn ang="0">
                  <a:pos x="934" y="1538"/>
                </a:cxn>
                <a:cxn ang="0">
                  <a:pos x="838" y="1425"/>
                </a:cxn>
                <a:cxn ang="0">
                  <a:pos x="768" y="1313"/>
                </a:cxn>
                <a:cxn ang="0">
                  <a:pos x="729" y="1263"/>
                </a:cxn>
                <a:cxn ang="0">
                  <a:pos x="696" y="1179"/>
                </a:cxn>
                <a:cxn ang="0">
                  <a:pos x="697" y="863"/>
                </a:cxn>
                <a:cxn ang="0">
                  <a:pos x="839" y="889"/>
                </a:cxn>
                <a:cxn ang="0">
                  <a:pos x="907" y="940"/>
                </a:cxn>
                <a:cxn ang="0">
                  <a:pos x="1117" y="975"/>
                </a:cxn>
                <a:cxn ang="0">
                  <a:pos x="1237" y="1096"/>
                </a:cxn>
                <a:cxn ang="0">
                  <a:pos x="1324" y="1228"/>
                </a:cxn>
                <a:cxn ang="0">
                  <a:pos x="1359" y="1373"/>
                </a:cxn>
                <a:cxn ang="0">
                  <a:pos x="1418" y="1496"/>
                </a:cxn>
                <a:cxn ang="0">
                  <a:pos x="1622" y="1707"/>
                </a:cxn>
                <a:cxn ang="0">
                  <a:pos x="1793" y="1756"/>
                </a:cxn>
                <a:cxn ang="0">
                  <a:pos x="1821" y="1259"/>
                </a:cxn>
                <a:cxn ang="0">
                  <a:pos x="1768" y="1189"/>
                </a:cxn>
                <a:cxn ang="0">
                  <a:pos x="1579" y="1122"/>
                </a:cxn>
                <a:cxn ang="0">
                  <a:pos x="1440" y="1035"/>
                </a:cxn>
                <a:cxn ang="0">
                  <a:pos x="1359" y="969"/>
                </a:cxn>
                <a:cxn ang="0">
                  <a:pos x="1280" y="882"/>
                </a:cxn>
                <a:cxn ang="0">
                  <a:pos x="1443" y="701"/>
                </a:cxn>
                <a:cxn ang="0">
                  <a:pos x="1674" y="686"/>
                </a:cxn>
                <a:cxn ang="0">
                  <a:pos x="1846" y="839"/>
                </a:cxn>
                <a:cxn ang="0">
                  <a:pos x="2098" y="949"/>
                </a:cxn>
                <a:cxn ang="0">
                  <a:pos x="2164" y="980"/>
                </a:cxn>
                <a:cxn ang="0">
                  <a:pos x="2267" y="1191"/>
                </a:cxn>
                <a:cxn ang="0">
                  <a:pos x="2355" y="1236"/>
                </a:cxn>
                <a:cxn ang="0">
                  <a:pos x="2750" y="1207"/>
                </a:cxn>
                <a:cxn ang="0">
                  <a:pos x="2654" y="1066"/>
                </a:cxn>
                <a:cxn ang="0">
                  <a:pos x="2603" y="997"/>
                </a:cxn>
                <a:cxn ang="0">
                  <a:pos x="2393" y="853"/>
                </a:cxn>
                <a:cxn ang="0">
                  <a:pos x="2248" y="752"/>
                </a:cxn>
                <a:cxn ang="0">
                  <a:pos x="2098" y="692"/>
                </a:cxn>
                <a:cxn ang="0">
                  <a:pos x="1946" y="580"/>
                </a:cxn>
                <a:cxn ang="0">
                  <a:pos x="1763" y="504"/>
                </a:cxn>
                <a:cxn ang="0">
                  <a:pos x="1703" y="375"/>
                </a:cxn>
                <a:cxn ang="0">
                  <a:pos x="1577" y="187"/>
                </a:cxn>
                <a:cxn ang="0">
                  <a:pos x="1407" y="28"/>
                </a:cxn>
                <a:cxn ang="0">
                  <a:pos x="1058" y="90"/>
                </a:cxn>
                <a:cxn ang="0">
                  <a:pos x="387" y="334"/>
                </a:cxn>
                <a:cxn ang="0">
                  <a:pos x="296" y="425"/>
                </a:cxn>
                <a:cxn ang="0">
                  <a:pos x="243" y="594"/>
                </a:cxn>
                <a:cxn ang="0">
                  <a:pos x="38" y="604"/>
                </a:cxn>
              </a:cxnLst>
              <a:rect l="0" t="0" r="r" b="b"/>
              <a:pathLst>
                <a:path w="2750" h="1840">
                  <a:moveTo>
                    <a:pt x="4" y="717"/>
                  </a:moveTo>
                  <a:lnTo>
                    <a:pt x="24" y="723"/>
                  </a:lnTo>
                  <a:lnTo>
                    <a:pt x="47" y="726"/>
                  </a:lnTo>
                  <a:lnTo>
                    <a:pt x="70" y="729"/>
                  </a:lnTo>
                  <a:lnTo>
                    <a:pt x="83" y="730"/>
                  </a:lnTo>
                  <a:lnTo>
                    <a:pt x="85" y="738"/>
                  </a:lnTo>
                  <a:lnTo>
                    <a:pt x="92" y="750"/>
                  </a:lnTo>
                  <a:lnTo>
                    <a:pt x="96" y="756"/>
                  </a:lnTo>
                  <a:lnTo>
                    <a:pt x="100" y="760"/>
                  </a:lnTo>
                  <a:lnTo>
                    <a:pt x="103" y="764"/>
                  </a:lnTo>
                  <a:lnTo>
                    <a:pt x="106" y="766"/>
                  </a:lnTo>
                  <a:lnTo>
                    <a:pt x="106" y="777"/>
                  </a:lnTo>
                  <a:lnTo>
                    <a:pt x="109" y="778"/>
                  </a:lnTo>
                  <a:lnTo>
                    <a:pt x="110" y="783"/>
                  </a:lnTo>
                  <a:lnTo>
                    <a:pt x="112" y="788"/>
                  </a:lnTo>
                  <a:lnTo>
                    <a:pt x="114" y="795"/>
                  </a:lnTo>
                  <a:lnTo>
                    <a:pt x="117" y="808"/>
                  </a:lnTo>
                  <a:lnTo>
                    <a:pt x="118" y="817"/>
                  </a:lnTo>
                  <a:lnTo>
                    <a:pt x="129" y="817"/>
                  </a:lnTo>
                  <a:lnTo>
                    <a:pt x="136" y="824"/>
                  </a:lnTo>
                  <a:lnTo>
                    <a:pt x="136" y="835"/>
                  </a:lnTo>
                  <a:lnTo>
                    <a:pt x="141" y="841"/>
                  </a:lnTo>
                  <a:lnTo>
                    <a:pt x="154" y="843"/>
                  </a:lnTo>
                  <a:lnTo>
                    <a:pt x="171" y="846"/>
                  </a:lnTo>
                  <a:lnTo>
                    <a:pt x="179" y="849"/>
                  </a:lnTo>
                  <a:lnTo>
                    <a:pt x="188" y="851"/>
                  </a:lnTo>
                  <a:lnTo>
                    <a:pt x="196" y="852"/>
                  </a:lnTo>
                  <a:lnTo>
                    <a:pt x="205" y="853"/>
                  </a:lnTo>
                  <a:lnTo>
                    <a:pt x="205" y="851"/>
                  </a:lnTo>
                  <a:lnTo>
                    <a:pt x="206" y="849"/>
                  </a:lnTo>
                  <a:lnTo>
                    <a:pt x="208" y="848"/>
                  </a:lnTo>
                  <a:lnTo>
                    <a:pt x="210" y="848"/>
                  </a:lnTo>
                  <a:lnTo>
                    <a:pt x="217" y="846"/>
                  </a:lnTo>
                  <a:lnTo>
                    <a:pt x="226" y="846"/>
                  </a:lnTo>
                  <a:lnTo>
                    <a:pt x="247" y="850"/>
                  </a:lnTo>
                  <a:lnTo>
                    <a:pt x="273" y="856"/>
                  </a:lnTo>
                  <a:lnTo>
                    <a:pt x="297" y="864"/>
                  </a:lnTo>
                  <a:lnTo>
                    <a:pt x="320" y="871"/>
                  </a:lnTo>
                  <a:lnTo>
                    <a:pt x="336" y="878"/>
                  </a:lnTo>
                  <a:lnTo>
                    <a:pt x="344" y="882"/>
                  </a:lnTo>
                  <a:lnTo>
                    <a:pt x="349" y="882"/>
                  </a:lnTo>
                  <a:lnTo>
                    <a:pt x="352" y="882"/>
                  </a:lnTo>
                  <a:lnTo>
                    <a:pt x="354" y="883"/>
                  </a:lnTo>
                  <a:lnTo>
                    <a:pt x="355" y="884"/>
                  </a:lnTo>
                  <a:lnTo>
                    <a:pt x="355" y="885"/>
                  </a:lnTo>
                  <a:lnTo>
                    <a:pt x="355" y="888"/>
                  </a:lnTo>
                  <a:lnTo>
                    <a:pt x="373" y="888"/>
                  </a:lnTo>
                  <a:lnTo>
                    <a:pt x="379" y="893"/>
                  </a:lnTo>
                  <a:lnTo>
                    <a:pt x="380" y="898"/>
                  </a:lnTo>
                  <a:lnTo>
                    <a:pt x="383" y="901"/>
                  </a:lnTo>
                  <a:lnTo>
                    <a:pt x="388" y="904"/>
                  </a:lnTo>
                  <a:lnTo>
                    <a:pt x="393" y="909"/>
                  </a:lnTo>
                  <a:lnTo>
                    <a:pt x="399" y="912"/>
                  </a:lnTo>
                  <a:lnTo>
                    <a:pt x="403" y="917"/>
                  </a:lnTo>
                  <a:lnTo>
                    <a:pt x="407" y="922"/>
                  </a:lnTo>
                  <a:lnTo>
                    <a:pt x="408" y="928"/>
                  </a:lnTo>
                  <a:lnTo>
                    <a:pt x="410" y="929"/>
                  </a:lnTo>
                  <a:lnTo>
                    <a:pt x="412" y="930"/>
                  </a:lnTo>
                  <a:lnTo>
                    <a:pt x="415" y="932"/>
                  </a:lnTo>
                  <a:lnTo>
                    <a:pt x="416" y="935"/>
                  </a:lnTo>
                  <a:lnTo>
                    <a:pt x="419" y="940"/>
                  </a:lnTo>
                  <a:lnTo>
                    <a:pt x="420" y="946"/>
                  </a:lnTo>
                  <a:lnTo>
                    <a:pt x="424" y="947"/>
                  </a:lnTo>
                  <a:lnTo>
                    <a:pt x="427" y="951"/>
                  </a:lnTo>
                  <a:lnTo>
                    <a:pt x="428" y="954"/>
                  </a:lnTo>
                  <a:lnTo>
                    <a:pt x="430" y="956"/>
                  </a:lnTo>
                  <a:lnTo>
                    <a:pt x="434" y="957"/>
                  </a:lnTo>
                  <a:lnTo>
                    <a:pt x="437" y="957"/>
                  </a:lnTo>
                  <a:lnTo>
                    <a:pt x="437" y="969"/>
                  </a:lnTo>
                  <a:lnTo>
                    <a:pt x="440" y="969"/>
                  </a:lnTo>
                  <a:lnTo>
                    <a:pt x="443" y="969"/>
                  </a:lnTo>
                  <a:lnTo>
                    <a:pt x="443" y="970"/>
                  </a:lnTo>
                  <a:lnTo>
                    <a:pt x="444" y="971"/>
                  </a:lnTo>
                  <a:lnTo>
                    <a:pt x="444" y="973"/>
                  </a:lnTo>
                  <a:lnTo>
                    <a:pt x="444" y="974"/>
                  </a:lnTo>
                  <a:lnTo>
                    <a:pt x="446" y="975"/>
                  </a:lnTo>
                  <a:lnTo>
                    <a:pt x="449" y="975"/>
                  </a:lnTo>
                  <a:lnTo>
                    <a:pt x="473" y="980"/>
                  </a:lnTo>
                  <a:lnTo>
                    <a:pt x="484" y="992"/>
                  </a:lnTo>
                  <a:lnTo>
                    <a:pt x="484" y="1013"/>
                  </a:lnTo>
                  <a:lnTo>
                    <a:pt x="484" y="1036"/>
                  </a:lnTo>
                  <a:lnTo>
                    <a:pt x="484" y="1058"/>
                  </a:lnTo>
                  <a:lnTo>
                    <a:pt x="484" y="1080"/>
                  </a:lnTo>
                  <a:lnTo>
                    <a:pt x="486" y="1081"/>
                  </a:lnTo>
                  <a:lnTo>
                    <a:pt x="489" y="1085"/>
                  </a:lnTo>
                  <a:lnTo>
                    <a:pt x="492" y="1093"/>
                  </a:lnTo>
                  <a:lnTo>
                    <a:pt x="495" y="1101"/>
                  </a:lnTo>
                  <a:lnTo>
                    <a:pt x="499" y="1119"/>
                  </a:lnTo>
                  <a:lnTo>
                    <a:pt x="502" y="1131"/>
                  </a:lnTo>
                  <a:lnTo>
                    <a:pt x="503" y="1132"/>
                  </a:lnTo>
                  <a:lnTo>
                    <a:pt x="505" y="1133"/>
                  </a:lnTo>
                  <a:lnTo>
                    <a:pt x="505" y="1135"/>
                  </a:lnTo>
                  <a:lnTo>
                    <a:pt x="506" y="1138"/>
                  </a:lnTo>
                  <a:lnTo>
                    <a:pt x="507" y="1143"/>
                  </a:lnTo>
                  <a:lnTo>
                    <a:pt x="507" y="1149"/>
                  </a:lnTo>
                  <a:lnTo>
                    <a:pt x="508" y="1151"/>
                  </a:lnTo>
                  <a:lnTo>
                    <a:pt x="511" y="1157"/>
                  </a:lnTo>
                  <a:lnTo>
                    <a:pt x="512" y="1166"/>
                  </a:lnTo>
                  <a:lnTo>
                    <a:pt x="512" y="1176"/>
                  </a:lnTo>
                  <a:lnTo>
                    <a:pt x="513" y="1196"/>
                  </a:lnTo>
                  <a:lnTo>
                    <a:pt x="513" y="1207"/>
                  </a:lnTo>
                  <a:lnTo>
                    <a:pt x="511" y="1207"/>
                  </a:lnTo>
                  <a:lnTo>
                    <a:pt x="509" y="1208"/>
                  </a:lnTo>
                  <a:lnTo>
                    <a:pt x="508" y="1209"/>
                  </a:lnTo>
                  <a:lnTo>
                    <a:pt x="507" y="1210"/>
                  </a:lnTo>
                  <a:lnTo>
                    <a:pt x="507" y="1215"/>
                  </a:lnTo>
                  <a:lnTo>
                    <a:pt x="507" y="1218"/>
                  </a:lnTo>
                  <a:lnTo>
                    <a:pt x="504" y="1219"/>
                  </a:lnTo>
                  <a:lnTo>
                    <a:pt x="502" y="1219"/>
                  </a:lnTo>
                  <a:lnTo>
                    <a:pt x="502" y="1220"/>
                  </a:lnTo>
                  <a:lnTo>
                    <a:pt x="502" y="1221"/>
                  </a:lnTo>
                  <a:lnTo>
                    <a:pt x="501" y="1223"/>
                  </a:lnTo>
                  <a:lnTo>
                    <a:pt x="501" y="1224"/>
                  </a:lnTo>
                  <a:lnTo>
                    <a:pt x="498" y="1224"/>
                  </a:lnTo>
                  <a:lnTo>
                    <a:pt x="495" y="1225"/>
                  </a:lnTo>
                  <a:lnTo>
                    <a:pt x="495" y="1236"/>
                  </a:lnTo>
                  <a:lnTo>
                    <a:pt x="494" y="1236"/>
                  </a:lnTo>
                  <a:lnTo>
                    <a:pt x="492" y="1237"/>
                  </a:lnTo>
                  <a:lnTo>
                    <a:pt x="491" y="1238"/>
                  </a:lnTo>
                  <a:lnTo>
                    <a:pt x="491" y="1239"/>
                  </a:lnTo>
                  <a:lnTo>
                    <a:pt x="489" y="1244"/>
                  </a:lnTo>
                  <a:lnTo>
                    <a:pt x="489" y="1247"/>
                  </a:lnTo>
                  <a:lnTo>
                    <a:pt x="486" y="1248"/>
                  </a:lnTo>
                  <a:lnTo>
                    <a:pt x="485" y="1248"/>
                  </a:lnTo>
                  <a:lnTo>
                    <a:pt x="484" y="1249"/>
                  </a:lnTo>
                  <a:lnTo>
                    <a:pt x="484" y="1250"/>
                  </a:lnTo>
                  <a:lnTo>
                    <a:pt x="484" y="1252"/>
                  </a:lnTo>
                  <a:lnTo>
                    <a:pt x="483" y="1253"/>
                  </a:lnTo>
                  <a:lnTo>
                    <a:pt x="482" y="1253"/>
                  </a:lnTo>
                  <a:lnTo>
                    <a:pt x="478" y="1254"/>
                  </a:lnTo>
                  <a:lnTo>
                    <a:pt x="478" y="1265"/>
                  </a:lnTo>
                  <a:lnTo>
                    <a:pt x="473" y="1271"/>
                  </a:lnTo>
                  <a:lnTo>
                    <a:pt x="466" y="1276"/>
                  </a:lnTo>
                  <a:lnTo>
                    <a:pt x="463" y="1277"/>
                  </a:lnTo>
                  <a:lnTo>
                    <a:pt x="459" y="1278"/>
                  </a:lnTo>
                  <a:lnTo>
                    <a:pt x="457" y="1281"/>
                  </a:lnTo>
                  <a:lnTo>
                    <a:pt x="456" y="1283"/>
                  </a:lnTo>
                  <a:lnTo>
                    <a:pt x="453" y="1286"/>
                  </a:lnTo>
                  <a:lnTo>
                    <a:pt x="449" y="1288"/>
                  </a:lnTo>
                  <a:lnTo>
                    <a:pt x="449" y="1317"/>
                  </a:lnTo>
                  <a:lnTo>
                    <a:pt x="460" y="1323"/>
                  </a:lnTo>
                  <a:lnTo>
                    <a:pt x="464" y="1327"/>
                  </a:lnTo>
                  <a:lnTo>
                    <a:pt x="467" y="1330"/>
                  </a:lnTo>
                  <a:lnTo>
                    <a:pt x="472" y="1332"/>
                  </a:lnTo>
                  <a:lnTo>
                    <a:pt x="476" y="1333"/>
                  </a:lnTo>
                  <a:lnTo>
                    <a:pt x="486" y="1334"/>
                  </a:lnTo>
                  <a:lnTo>
                    <a:pt x="495" y="1335"/>
                  </a:lnTo>
                  <a:lnTo>
                    <a:pt x="496" y="1336"/>
                  </a:lnTo>
                  <a:lnTo>
                    <a:pt x="498" y="1339"/>
                  </a:lnTo>
                  <a:lnTo>
                    <a:pt x="502" y="1339"/>
                  </a:lnTo>
                  <a:lnTo>
                    <a:pt x="505" y="1340"/>
                  </a:lnTo>
                  <a:lnTo>
                    <a:pt x="513" y="1341"/>
                  </a:lnTo>
                  <a:lnTo>
                    <a:pt x="518" y="1341"/>
                  </a:lnTo>
                  <a:lnTo>
                    <a:pt x="520" y="1344"/>
                  </a:lnTo>
                  <a:lnTo>
                    <a:pt x="521" y="1348"/>
                  </a:lnTo>
                  <a:lnTo>
                    <a:pt x="523" y="1350"/>
                  </a:lnTo>
                  <a:lnTo>
                    <a:pt x="525" y="1351"/>
                  </a:lnTo>
                  <a:lnTo>
                    <a:pt x="531" y="1352"/>
                  </a:lnTo>
                  <a:lnTo>
                    <a:pt x="536" y="1352"/>
                  </a:lnTo>
                  <a:lnTo>
                    <a:pt x="542" y="1358"/>
                  </a:lnTo>
                  <a:lnTo>
                    <a:pt x="547" y="1364"/>
                  </a:lnTo>
                  <a:lnTo>
                    <a:pt x="547" y="1375"/>
                  </a:lnTo>
                  <a:lnTo>
                    <a:pt x="550" y="1377"/>
                  </a:lnTo>
                  <a:lnTo>
                    <a:pt x="552" y="1379"/>
                  </a:lnTo>
                  <a:lnTo>
                    <a:pt x="554" y="1383"/>
                  </a:lnTo>
                  <a:lnTo>
                    <a:pt x="555" y="1388"/>
                  </a:lnTo>
                  <a:lnTo>
                    <a:pt x="559" y="1398"/>
                  </a:lnTo>
                  <a:lnTo>
                    <a:pt x="560" y="1404"/>
                  </a:lnTo>
                  <a:lnTo>
                    <a:pt x="561" y="1404"/>
                  </a:lnTo>
                  <a:lnTo>
                    <a:pt x="563" y="1407"/>
                  </a:lnTo>
                  <a:lnTo>
                    <a:pt x="564" y="1409"/>
                  </a:lnTo>
                  <a:lnTo>
                    <a:pt x="564" y="1411"/>
                  </a:lnTo>
                  <a:lnTo>
                    <a:pt x="565" y="1417"/>
                  </a:lnTo>
                  <a:lnTo>
                    <a:pt x="565" y="1422"/>
                  </a:lnTo>
                  <a:lnTo>
                    <a:pt x="568" y="1422"/>
                  </a:lnTo>
                  <a:lnTo>
                    <a:pt x="570" y="1425"/>
                  </a:lnTo>
                  <a:lnTo>
                    <a:pt x="571" y="1428"/>
                  </a:lnTo>
                  <a:lnTo>
                    <a:pt x="573" y="1431"/>
                  </a:lnTo>
                  <a:lnTo>
                    <a:pt x="575" y="1439"/>
                  </a:lnTo>
                  <a:lnTo>
                    <a:pt x="576" y="1445"/>
                  </a:lnTo>
                  <a:lnTo>
                    <a:pt x="579" y="1446"/>
                  </a:lnTo>
                  <a:lnTo>
                    <a:pt x="580" y="1448"/>
                  </a:lnTo>
                  <a:lnTo>
                    <a:pt x="581" y="1451"/>
                  </a:lnTo>
                  <a:lnTo>
                    <a:pt x="582" y="1455"/>
                  </a:lnTo>
                  <a:lnTo>
                    <a:pt x="582" y="1462"/>
                  </a:lnTo>
                  <a:lnTo>
                    <a:pt x="582" y="1468"/>
                  </a:lnTo>
                  <a:lnTo>
                    <a:pt x="584" y="1469"/>
                  </a:lnTo>
                  <a:lnTo>
                    <a:pt x="585" y="1470"/>
                  </a:lnTo>
                  <a:lnTo>
                    <a:pt x="587" y="1473"/>
                  </a:lnTo>
                  <a:lnTo>
                    <a:pt x="588" y="1475"/>
                  </a:lnTo>
                  <a:lnTo>
                    <a:pt x="589" y="1480"/>
                  </a:lnTo>
                  <a:lnTo>
                    <a:pt x="589" y="1486"/>
                  </a:lnTo>
                  <a:lnTo>
                    <a:pt x="590" y="1486"/>
                  </a:lnTo>
                  <a:lnTo>
                    <a:pt x="592" y="1487"/>
                  </a:lnTo>
                  <a:lnTo>
                    <a:pt x="593" y="1488"/>
                  </a:lnTo>
                  <a:lnTo>
                    <a:pt x="593" y="1489"/>
                  </a:lnTo>
                  <a:lnTo>
                    <a:pt x="594" y="1493"/>
                  </a:lnTo>
                  <a:lnTo>
                    <a:pt x="594" y="1497"/>
                  </a:lnTo>
                  <a:lnTo>
                    <a:pt x="598" y="1497"/>
                  </a:lnTo>
                  <a:lnTo>
                    <a:pt x="599" y="1498"/>
                  </a:lnTo>
                  <a:lnTo>
                    <a:pt x="600" y="1499"/>
                  </a:lnTo>
                  <a:lnTo>
                    <a:pt x="600" y="1500"/>
                  </a:lnTo>
                  <a:lnTo>
                    <a:pt x="600" y="1502"/>
                  </a:lnTo>
                  <a:lnTo>
                    <a:pt x="601" y="1503"/>
                  </a:lnTo>
                  <a:lnTo>
                    <a:pt x="602" y="1503"/>
                  </a:lnTo>
                  <a:lnTo>
                    <a:pt x="605" y="1503"/>
                  </a:lnTo>
                  <a:lnTo>
                    <a:pt x="607" y="1512"/>
                  </a:lnTo>
                  <a:lnTo>
                    <a:pt x="609" y="1521"/>
                  </a:lnTo>
                  <a:lnTo>
                    <a:pt x="611" y="1529"/>
                  </a:lnTo>
                  <a:lnTo>
                    <a:pt x="614" y="1537"/>
                  </a:lnTo>
                  <a:lnTo>
                    <a:pt x="618" y="1545"/>
                  </a:lnTo>
                  <a:lnTo>
                    <a:pt x="620" y="1553"/>
                  </a:lnTo>
                  <a:lnTo>
                    <a:pt x="622" y="1561"/>
                  </a:lnTo>
                  <a:lnTo>
                    <a:pt x="623" y="1567"/>
                  </a:lnTo>
                  <a:lnTo>
                    <a:pt x="626" y="1567"/>
                  </a:lnTo>
                  <a:lnTo>
                    <a:pt x="628" y="1570"/>
                  </a:lnTo>
                  <a:lnTo>
                    <a:pt x="631" y="1573"/>
                  </a:lnTo>
                  <a:lnTo>
                    <a:pt x="635" y="1577"/>
                  </a:lnTo>
                  <a:lnTo>
                    <a:pt x="637" y="1582"/>
                  </a:lnTo>
                  <a:lnTo>
                    <a:pt x="639" y="1586"/>
                  </a:lnTo>
                  <a:lnTo>
                    <a:pt x="640" y="1592"/>
                  </a:lnTo>
                  <a:lnTo>
                    <a:pt x="640" y="1596"/>
                  </a:lnTo>
                  <a:lnTo>
                    <a:pt x="645" y="1598"/>
                  </a:lnTo>
                  <a:lnTo>
                    <a:pt x="649" y="1600"/>
                  </a:lnTo>
                  <a:lnTo>
                    <a:pt x="653" y="1603"/>
                  </a:lnTo>
                  <a:lnTo>
                    <a:pt x="658" y="1608"/>
                  </a:lnTo>
                  <a:lnTo>
                    <a:pt x="662" y="1612"/>
                  </a:lnTo>
                  <a:lnTo>
                    <a:pt x="667" y="1615"/>
                  </a:lnTo>
                  <a:lnTo>
                    <a:pt x="671" y="1619"/>
                  </a:lnTo>
                  <a:lnTo>
                    <a:pt x="676" y="1620"/>
                  </a:lnTo>
                  <a:lnTo>
                    <a:pt x="676" y="1624"/>
                  </a:lnTo>
                  <a:lnTo>
                    <a:pt x="678" y="1628"/>
                  </a:lnTo>
                  <a:lnTo>
                    <a:pt x="680" y="1631"/>
                  </a:lnTo>
                  <a:lnTo>
                    <a:pt x="685" y="1633"/>
                  </a:lnTo>
                  <a:lnTo>
                    <a:pt x="689" y="1635"/>
                  </a:lnTo>
                  <a:lnTo>
                    <a:pt x="694" y="1637"/>
                  </a:lnTo>
                  <a:lnTo>
                    <a:pt x="700" y="1638"/>
                  </a:lnTo>
                  <a:lnTo>
                    <a:pt x="707" y="1639"/>
                  </a:lnTo>
                  <a:lnTo>
                    <a:pt x="723" y="1639"/>
                  </a:lnTo>
                  <a:lnTo>
                    <a:pt x="739" y="1637"/>
                  </a:lnTo>
                  <a:lnTo>
                    <a:pt x="758" y="1635"/>
                  </a:lnTo>
                  <a:lnTo>
                    <a:pt x="777" y="1632"/>
                  </a:lnTo>
                  <a:lnTo>
                    <a:pt x="814" y="1628"/>
                  </a:lnTo>
                  <a:lnTo>
                    <a:pt x="847" y="1624"/>
                  </a:lnTo>
                  <a:lnTo>
                    <a:pt x="860" y="1624"/>
                  </a:lnTo>
                  <a:lnTo>
                    <a:pt x="870" y="1627"/>
                  </a:lnTo>
                  <a:lnTo>
                    <a:pt x="873" y="1628"/>
                  </a:lnTo>
                  <a:lnTo>
                    <a:pt x="877" y="1630"/>
                  </a:lnTo>
                  <a:lnTo>
                    <a:pt x="878" y="1633"/>
                  </a:lnTo>
                  <a:lnTo>
                    <a:pt x="879" y="1637"/>
                  </a:lnTo>
                  <a:lnTo>
                    <a:pt x="890" y="1637"/>
                  </a:lnTo>
                  <a:lnTo>
                    <a:pt x="902" y="1649"/>
                  </a:lnTo>
                  <a:lnTo>
                    <a:pt x="914" y="1649"/>
                  </a:lnTo>
                  <a:lnTo>
                    <a:pt x="914" y="1660"/>
                  </a:lnTo>
                  <a:lnTo>
                    <a:pt x="919" y="1666"/>
                  </a:lnTo>
                  <a:lnTo>
                    <a:pt x="931" y="1666"/>
                  </a:lnTo>
                  <a:lnTo>
                    <a:pt x="943" y="1678"/>
                  </a:lnTo>
                  <a:lnTo>
                    <a:pt x="954" y="1689"/>
                  </a:lnTo>
                  <a:lnTo>
                    <a:pt x="966" y="1689"/>
                  </a:lnTo>
                  <a:lnTo>
                    <a:pt x="974" y="1698"/>
                  </a:lnTo>
                  <a:lnTo>
                    <a:pt x="992" y="1718"/>
                  </a:lnTo>
                  <a:lnTo>
                    <a:pt x="1010" y="1738"/>
                  </a:lnTo>
                  <a:lnTo>
                    <a:pt x="1019" y="1747"/>
                  </a:lnTo>
                  <a:lnTo>
                    <a:pt x="1024" y="1753"/>
                  </a:lnTo>
                  <a:lnTo>
                    <a:pt x="1030" y="1758"/>
                  </a:lnTo>
                  <a:lnTo>
                    <a:pt x="1031" y="1763"/>
                  </a:lnTo>
                  <a:lnTo>
                    <a:pt x="1033" y="1767"/>
                  </a:lnTo>
                  <a:lnTo>
                    <a:pt x="1038" y="1769"/>
                  </a:lnTo>
                  <a:lnTo>
                    <a:pt x="1042" y="1771"/>
                  </a:lnTo>
                  <a:lnTo>
                    <a:pt x="1042" y="1775"/>
                  </a:lnTo>
                  <a:lnTo>
                    <a:pt x="1044" y="1779"/>
                  </a:lnTo>
                  <a:lnTo>
                    <a:pt x="1046" y="1783"/>
                  </a:lnTo>
                  <a:lnTo>
                    <a:pt x="1050" y="1787"/>
                  </a:lnTo>
                  <a:lnTo>
                    <a:pt x="1056" y="1794"/>
                  </a:lnTo>
                  <a:lnTo>
                    <a:pt x="1059" y="1800"/>
                  </a:lnTo>
                  <a:lnTo>
                    <a:pt x="1065" y="1801"/>
                  </a:lnTo>
                  <a:lnTo>
                    <a:pt x="1072" y="1803"/>
                  </a:lnTo>
                  <a:lnTo>
                    <a:pt x="1079" y="1806"/>
                  </a:lnTo>
                  <a:lnTo>
                    <a:pt x="1086" y="1811"/>
                  </a:lnTo>
                  <a:lnTo>
                    <a:pt x="1091" y="1815"/>
                  </a:lnTo>
                  <a:lnTo>
                    <a:pt x="1098" y="1819"/>
                  </a:lnTo>
                  <a:lnTo>
                    <a:pt x="1104" y="1822"/>
                  </a:lnTo>
                  <a:lnTo>
                    <a:pt x="1111" y="1823"/>
                  </a:lnTo>
                  <a:lnTo>
                    <a:pt x="1112" y="1824"/>
                  </a:lnTo>
                  <a:lnTo>
                    <a:pt x="1115" y="1826"/>
                  </a:lnTo>
                  <a:lnTo>
                    <a:pt x="1119" y="1827"/>
                  </a:lnTo>
                  <a:lnTo>
                    <a:pt x="1123" y="1827"/>
                  </a:lnTo>
                  <a:lnTo>
                    <a:pt x="1134" y="1829"/>
                  </a:lnTo>
                  <a:lnTo>
                    <a:pt x="1140" y="1829"/>
                  </a:lnTo>
                  <a:lnTo>
                    <a:pt x="1140" y="1831"/>
                  </a:lnTo>
                  <a:lnTo>
                    <a:pt x="1141" y="1832"/>
                  </a:lnTo>
                  <a:lnTo>
                    <a:pt x="1142" y="1833"/>
                  </a:lnTo>
                  <a:lnTo>
                    <a:pt x="1144" y="1833"/>
                  </a:lnTo>
                  <a:lnTo>
                    <a:pt x="1148" y="1834"/>
                  </a:lnTo>
                  <a:lnTo>
                    <a:pt x="1151" y="1834"/>
                  </a:lnTo>
                  <a:lnTo>
                    <a:pt x="1154" y="1836"/>
                  </a:lnTo>
                  <a:lnTo>
                    <a:pt x="1160" y="1837"/>
                  </a:lnTo>
                  <a:lnTo>
                    <a:pt x="1169" y="1839"/>
                  </a:lnTo>
                  <a:lnTo>
                    <a:pt x="1179" y="1840"/>
                  </a:lnTo>
                  <a:lnTo>
                    <a:pt x="1200" y="1840"/>
                  </a:lnTo>
                  <a:lnTo>
                    <a:pt x="1216" y="1840"/>
                  </a:lnTo>
                  <a:lnTo>
                    <a:pt x="1216" y="1829"/>
                  </a:lnTo>
                  <a:lnTo>
                    <a:pt x="1219" y="1829"/>
                  </a:lnTo>
                  <a:lnTo>
                    <a:pt x="1221" y="1827"/>
                  </a:lnTo>
                  <a:lnTo>
                    <a:pt x="1222" y="1826"/>
                  </a:lnTo>
                  <a:lnTo>
                    <a:pt x="1222" y="1825"/>
                  </a:lnTo>
                  <a:lnTo>
                    <a:pt x="1222" y="1824"/>
                  </a:lnTo>
                  <a:lnTo>
                    <a:pt x="1223" y="1824"/>
                  </a:lnTo>
                  <a:lnTo>
                    <a:pt x="1224" y="1823"/>
                  </a:lnTo>
                  <a:lnTo>
                    <a:pt x="1227" y="1823"/>
                  </a:lnTo>
                  <a:lnTo>
                    <a:pt x="1228" y="1816"/>
                  </a:lnTo>
                  <a:lnTo>
                    <a:pt x="1231" y="1811"/>
                  </a:lnTo>
                  <a:lnTo>
                    <a:pt x="1233" y="1805"/>
                  </a:lnTo>
                  <a:lnTo>
                    <a:pt x="1236" y="1801"/>
                  </a:lnTo>
                  <a:lnTo>
                    <a:pt x="1240" y="1795"/>
                  </a:lnTo>
                  <a:lnTo>
                    <a:pt x="1242" y="1791"/>
                  </a:lnTo>
                  <a:lnTo>
                    <a:pt x="1244" y="1786"/>
                  </a:lnTo>
                  <a:lnTo>
                    <a:pt x="1245" y="1782"/>
                  </a:lnTo>
                  <a:lnTo>
                    <a:pt x="1248" y="1781"/>
                  </a:lnTo>
                  <a:lnTo>
                    <a:pt x="1253" y="1775"/>
                  </a:lnTo>
                  <a:lnTo>
                    <a:pt x="1259" y="1768"/>
                  </a:lnTo>
                  <a:lnTo>
                    <a:pt x="1264" y="1760"/>
                  </a:lnTo>
                  <a:lnTo>
                    <a:pt x="1275" y="1745"/>
                  </a:lnTo>
                  <a:lnTo>
                    <a:pt x="1280" y="1736"/>
                  </a:lnTo>
                  <a:lnTo>
                    <a:pt x="1284" y="1735"/>
                  </a:lnTo>
                  <a:lnTo>
                    <a:pt x="1289" y="1731"/>
                  </a:lnTo>
                  <a:lnTo>
                    <a:pt x="1293" y="1728"/>
                  </a:lnTo>
                  <a:lnTo>
                    <a:pt x="1298" y="1724"/>
                  </a:lnTo>
                  <a:lnTo>
                    <a:pt x="1269" y="1689"/>
                  </a:lnTo>
                  <a:lnTo>
                    <a:pt x="1274" y="1687"/>
                  </a:lnTo>
                  <a:lnTo>
                    <a:pt x="1282" y="1680"/>
                  </a:lnTo>
                  <a:lnTo>
                    <a:pt x="1289" y="1675"/>
                  </a:lnTo>
                  <a:lnTo>
                    <a:pt x="1291" y="1671"/>
                  </a:lnTo>
                  <a:lnTo>
                    <a:pt x="1290" y="1662"/>
                  </a:lnTo>
                  <a:lnTo>
                    <a:pt x="1286" y="1653"/>
                  </a:lnTo>
                  <a:lnTo>
                    <a:pt x="1282" y="1644"/>
                  </a:lnTo>
                  <a:lnTo>
                    <a:pt x="1276" y="1635"/>
                  </a:lnTo>
                  <a:lnTo>
                    <a:pt x="1272" y="1627"/>
                  </a:lnTo>
                  <a:lnTo>
                    <a:pt x="1266" y="1620"/>
                  </a:lnTo>
                  <a:lnTo>
                    <a:pt x="1263" y="1613"/>
                  </a:lnTo>
                  <a:lnTo>
                    <a:pt x="1262" y="1608"/>
                  </a:lnTo>
                  <a:lnTo>
                    <a:pt x="1251" y="1608"/>
                  </a:lnTo>
                  <a:lnTo>
                    <a:pt x="1250" y="1604"/>
                  </a:lnTo>
                  <a:lnTo>
                    <a:pt x="1248" y="1601"/>
                  </a:lnTo>
                  <a:lnTo>
                    <a:pt x="1247" y="1599"/>
                  </a:lnTo>
                  <a:lnTo>
                    <a:pt x="1245" y="1596"/>
                  </a:lnTo>
                  <a:lnTo>
                    <a:pt x="1241" y="1594"/>
                  </a:lnTo>
                  <a:lnTo>
                    <a:pt x="1238" y="1591"/>
                  </a:lnTo>
                  <a:lnTo>
                    <a:pt x="1227" y="1587"/>
                  </a:lnTo>
                  <a:lnTo>
                    <a:pt x="1216" y="1584"/>
                  </a:lnTo>
                  <a:lnTo>
                    <a:pt x="1215" y="1581"/>
                  </a:lnTo>
                  <a:lnTo>
                    <a:pt x="1215" y="1580"/>
                  </a:lnTo>
                  <a:lnTo>
                    <a:pt x="1214" y="1579"/>
                  </a:lnTo>
                  <a:lnTo>
                    <a:pt x="1213" y="1579"/>
                  </a:lnTo>
                  <a:lnTo>
                    <a:pt x="1212" y="1579"/>
                  </a:lnTo>
                  <a:lnTo>
                    <a:pt x="1211" y="1577"/>
                  </a:lnTo>
                  <a:lnTo>
                    <a:pt x="1211" y="1576"/>
                  </a:lnTo>
                  <a:lnTo>
                    <a:pt x="1209" y="1573"/>
                  </a:lnTo>
                  <a:lnTo>
                    <a:pt x="1209" y="1574"/>
                  </a:lnTo>
                  <a:lnTo>
                    <a:pt x="1211" y="1575"/>
                  </a:lnTo>
                  <a:lnTo>
                    <a:pt x="1213" y="1579"/>
                  </a:lnTo>
                  <a:lnTo>
                    <a:pt x="1216" y="1582"/>
                  </a:lnTo>
                  <a:lnTo>
                    <a:pt x="1218" y="1585"/>
                  </a:lnTo>
                  <a:lnTo>
                    <a:pt x="1222" y="1587"/>
                  </a:lnTo>
                  <a:lnTo>
                    <a:pt x="1223" y="1590"/>
                  </a:lnTo>
                  <a:lnTo>
                    <a:pt x="1222" y="1591"/>
                  </a:lnTo>
                  <a:lnTo>
                    <a:pt x="1222" y="1587"/>
                  </a:lnTo>
                  <a:lnTo>
                    <a:pt x="1221" y="1585"/>
                  </a:lnTo>
                  <a:lnTo>
                    <a:pt x="1219" y="1584"/>
                  </a:lnTo>
                  <a:lnTo>
                    <a:pt x="1218" y="1584"/>
                  </a:lnTo>
                  <a:lnTo>
                    <a:pt x="1217" y="1584"/>
                  </a:lnTo>
                  <a:lnTo>
                    <a:pt x="1216" y="1584"/>
                  </a:lnTo>
                  <a:lnTo>
                    <a:pt x="1216" y="1582"/>
                  </a:lnTo>
                  <a:lnTo>
                    <a:pt x="1216" y="1579"/>
                  </a:lnTo>
                  <a:lnTo>
                    <a:pt x="1211" y="1579"/>
                  </a:lnTo>
                  <a:lnTo>
                    <a:pt x="1205" y="1577"/>
                  </a:lnTo>
                  <a:lnTo>
                    <a:pt x="1203" y="1576"/>
                  </a:lnTo>
                  <a:lnTo>
                    <a:pt x="1200" y="1574"/>
                  </a:lnTo>
                  <a:lnTo>
                    <a:pt x="1198" y="1571"/>
                  </a:lnTo>
                  <a:lnTo>
                    <a:pt x="1198" y="1567"/>
                  </a:lnTo>
                  <a:lnTo>
                    <a:pt x="1187" y="1567"/>
                  </a:lnTo>
                  <a:lnTo>
                    <a:pt x="1186" y="1564"/>
                  </a:lnTo>
                  <a:lnTo>
                    <a:pt x="1184" y="1562"/>
                  </a:lnTo>
                  <a:lnTo>
                    <a:pt x="1182" y="1562"/>
                  </a:lnTo>
                  <a:lnTo>
                    <a:pt x="1178" y="1561"/>
                  </a:lnTo>
                  <a:lnTo>
                    <a:pt x="1175" y="1561"/>
                  </a:lnTo>
                  <a:lnTo>
                    <a:pt x="1171" y="1561"/>
                  </a:lnTo>
                  <a:lnTo>
                    <a:pt x="1170" y="1558"/>
                  </a:lnTo>
                  <a:lnTo>
                    <a:pt x="1169" y="1555"/>
                  </a:lnTo>
                  <a:lnTo>
                    <a:pt x="1154" y="1554"/>
                  </a:lnTo>
                  <a:lnTo>
                    <a:pt x="1136" y="1552"/>
                  </a:lnTo>
                  <a:lnTo>
                    <a:pt x="1128" y="1550"/>
                  </a:lnTo>
                  <a:lnTo>
                    <a:pt x="1120" y="1548"/>
                  </a:lnTo>
                  <a:lnTo>
                    <a:pt x="1115" y="1546"/>
                  </a:lnTo>
                  <a:lnTo>
                    <a:pt x="1111" y="1544"/>
                  </a:lnTo>
                  <a:lnTo>
                    <a:pt x="937" y="1544"/>
                  </a:lnTo>
                  <a:lnTo>
                    <a:pt x="937" y="1542"/>
                  </a:lnTo>
                  <a:lnTo>
                    <a:pt x="936" y="1541"/>
                  </a:lnTo>
                  <a:lnTo>
                    <a:pt x="935" y="1540"/>
                  </a:lnTo>
                  <a:lnTo>
                    <a:pt x="934" y="1538"/>
                  </a:lnTo>
                  <a:lnTo>
                    <a:pt x="929" y="1538"/>
                  </a:lnTo>
                  <a:lnTo>
                    <a:pt x="925" y="1538"/>
                  </a:lnTo>
                  <a:lnTo>
                    <a:pt x="919" y="1532"/>
                  </a:lnTo>
                  <a:lnTo>
                    <a:pt x="919" y="1529"/>
                  </a:lnTo>
                  <a:lnTo>
                    <a:pt x="917" y="1527"/>
                  </a:lnTo>
                  <a:lnTo>
                    <a:pt x="914" y="1524"/>
                  </a:lnTo>
                  <a:lnTo>
                    <a:pt x="910" y="1522"/>
                  </a:lnTo>
                  <a:lnTo>
                    <a:pt x="902" y="1517"/>
                  </a:lnTo>
                  <a:lnTo>
                    <a:pt x="896" y="1515"/>
                  </a:lnTo>
                  <a:lnTo>
                    <a:pt x="890" y="1509"/>
                  </a:lnTo>
                  <a:lnTo>
                    <a:pt x="889" y="1505"/>
                  </a:lnTo>
                  <a:lnTo>
                    <a:pt x="887" y="1500"/>
                  </a:lnTo>
                  <a:lnTo>
                    <a:pt x="883" y="1498"/>
                  </a:lnTo>
                  <a:lnTo>
                    <a:pt x="879" y="1497"/>
                  </a:lnTo>
                  <a:lnTo>
                    <a:pt x="873" y="1487"/>
                  </a:lnTo>
                  <a:lnTo>
                    <a:pt x="861" y="1469"/>
                  </a:lnTo>
                  <a:lnTo>
                    <a:pt x="849" y="1452"/>
                  </a:lnTo>
                  <a:lnTo>
                    <a:pt x="844" y="1445"/>
                  </a:lnTo>
                  <a:lnTo>
                    <a:pt x="838" y="1433"/>
                  </a:lnTo>
                  <a:lnTo>
                    <a:pt x="838" y="1425"/>
                  </a:lnTo>
                  <a:lnTo>
                    <a:pt x="835" y="1416"/>
                  </a:lnTo>
                  <a:lnTo>
                    <a:pt x="833" y="1408"/>
                  </a:lnTo>
                  <a:lnTo>
                    <a:pt x="832" y="1399"/>
                  </a:lnTo>
                  <a:lnTo>
                    <a:pt x="828" y="1394"/>
                  </a:lnTo>
                  <a:lnTo>
                    <a:pt x="821" y="1387"/>
                  </a:lnTo>
                  <a:lnTo>
                    <a:pt x="814" y="1375"/>
                  </a:lnTo>
                  <a:lnTo>
                    <a:pt x="806" y="1364"/>
                  </a:lnTo>
                  <a:lnTo>
                    <a:pt x="799" y="1353"/>
                  </a:lnTo>
                  <a:lnTo>
                    <a:pt x="792" y="1344"/>
                  </a:lnTo>
                  <a:lnTo>
                    <a:pt x="789" y="1340"/>
                  </a:lnTo>
                  <a:lnTo>
                    <a:pt x="785" y="1337"/>
                  </a:lnTo>
                  <a:lnTo>
                    <a:pt x="782" y="1335"/>
                  </a:lnTo>
                  <a:lnTo>
                    <a:pt x="780" y="1335"/>
                  </a:lnTo>
                  <a:lnTo>
                    <a:pt x="780" y="1323"/>
                  </a:lnTo>
                  <a:lnTo>
                    <a:pt x="774" y="1317"/>
                  </a:lnTo>
                  <a:lnTo>
                    <a:pt x="771" y="1317"/>
                  </a:lnTo>
                  <a:lnTo>
                    <a:pt x="770" y="1316"/>
                  </a:lnTo>
                  <a:lnTo>
                    <a:pt x="768" y="1315"/>
                  </a:lnTo>
                  <a:lnTo>
                    <a:pt x="768" y="1314"/>
                  </a:lnTo>
                  <a:lnTo>
                    <a:pt x="768" y="1313"/>
                  </a:lnTo>
                  <a:lnTo>
                    <a:pt x="767" y="1313"/>
                  </a:lnTo>
                  <a:lnTo>
                    <a:pt x="766" y="1312"/>
                  </a:lnTo>
                  <a:lnTo>
                    <a:pt x="763" y="1312"/>
                  </a:lnTo>
                  <a:lnTo>
                    <a:pt x="761" y="1305"/>
                  </a:lnTo>
                  <a:lnTo>
                    <a:pt x="756" y="1297"/>
                  </a:lnTo>
                  <a:lnTo>
                    <a:pt x="753" y="1294"/>
                  </a:lnTo>
                  <a:lnTo>
                    <a:pt x="751" y="1291"/>
                  </a:lnTo>
                  <a:lnTo>
                    <a:pt x="747" y="1290"/>
                  </a:lnTo>
                  <a:lnTo>
                    <a:pt x="745" y="1288"/>
                  </a:lnTo>
                  <a:lnTo>
                    <a:pt x="745" y="1276"/>
                  </a:lnTo>
                  <a:lnTo>
                    <a:pt x="742" y="1276"/>
                  </a:lnTo>
                  <a:lnTo>
                    <a:pt x="741" y="1276"/>
                  </a:lnTo>
                  <a:lnTo>
                    <a:pt x="739" y="1275"/>
                  </a:lnTo>
                  <a:lnTo>
                    <a:pt x="739" y="1274"/>
                  </a:lnTo>
                  <a:lnTo>
                    <a:pt x="739" y="1273"/>
                  </a:lnTo>
                  <a:lnTo>
                    <a:pt x="738" y="1272"/>
                  </a:lnTo>
                  <a:lnTo>
                    <a:pt x="737" y="1272"/>
                  </a:lnTo>
                  <a:lnTo>
                    <a:pt x="734" y="1271"/>
                  </a:lnTo>
                  <a:lnTo>
                    <a:pt x="733" y="1266"/>
                  </a:lnTo>
                  <a:lnTo>
                    <a:pt x="729" y="1263"/>
                  </a:lnTo>
                  <a:lnTo>
                    <a:pt x="726" y="1260"/>
                  </a:lnTo>
                  <a:lnTo>
                    <a:pt x="722" y="1259"/>
                  </a:lnTo>
                  <a:lnTo>
                    <a:pt x="722" y="1247"/>
                  </a:lnTo>
                  <a:lnTo>
                    <a:pt x="720" y="1247"/>
                  </a:lnTo>
                  <a:lnTo>
                    <a:pt x="718" y="1247"/>
                  </a:lnTo>
                  <a:lnTo>
                    <a:pt x="717" y="1246"/>
                  </a:lnTo>
                  <a:lnTo>
                    <a:pt x="717" y="1244"/>
                  </a:lnTo>
                  <a:lnTo>
                    <a:pt x="716" y="1240"/>
                  </a:lnTo>
                  <a:lnTo>
                    <a:pt x="716" y="1236"/>
                  </a:lnTo>
                  <a:lnTo>
                    <a:pt x="713" y="1235"/>
                  </a:lnTo>
                  <a:lnTo>
                    <a:pt x="710" y="1234"/>
                  </a:lnTo>
                  <a:lnTo>
                    <a:pt x="709" y="1230"/>
                  </a:lnTo>
                  <a:lnTo>
                    <a:pt x="707" y="1227"/>
                  </a:lnTo>
                  <a:lnTo>
                    <a:pt x="706" y="1218"/>
                  </a:lnTo>
                  <a:lnTo>
                    <a:pt x="705" y="1207"/>
                  </a:lnTo>
                  <a:lnTo>
                    <a:pt x="704" y="1197"/>
                  </a:lnTo>
                  <a:lnTo>
                    <a:pt x="701" y="1187"/>
                  </a:lnTo>
                  <a:lnTo>
                    <a:pt x="700" y="1183"/>
                  </a:lnTo>
                  <a:lnTo>
                    <a:pt x="698" y="1180"/>
                  </a:lnTo>
                  <a:lnTo>
                    <a:pt x="696" y="1179"/>
                  </a:lnTo>
                  <a:lnTo>
                    <a:pt x="693" y="1178"/>
                  </a:lnTo>
                  <a:lnTo>
                    <a:pt x="693" y="1160"/>
                  </a:lnTo>
                  <a:lnTo>
                    <a:pt x="691" y="1157"/>
                  </a:lnTo>
                  <a:lnTo>
                    <a:pt x="686" y="1149"/>
                  </a:lnTo>
                  <a:lnTo>
                    <a:pt x="684" y="1144"/>
                  </a:lnTo>
                  <a:lnTo>
                    <a:pt x="680" y="1141"/>
                  </a:lnTo>
                  <a:lnTo>
                    <a:pt x="678" y="1138"/>
                  </a:lnTo>
                  <a:lnTo>
                    <a:pt x="676" y="1138"/>
                  </a:lnTo>
                  <a:lnTo>
                    <a:pt x="669" y="893"/>
                  </a:lnTo>
                  <a:lnTo>
                    <a:pt x="671" y="893"/>
                  </a:lnTo>
                  <a:lnTo>
                    <a:pt x="672" y="891"/>
                  </a:lnTo>
                  <a:lnTo>
                    <a:pt x="674" y="889"/>
                  </a:lnTo>
                  <a:lnTo>
                    <a:pt x="675" y="887"/>
                  </a:lnTo>
                  <a:lnTo>
                    <a:pt x="676" y="881"/>
                  </a:lnTo>
                  <a:lnTo>
                    <a:pt x="676" y="875"/>
                  </a:lnTo>
                  <a:lnTo>
                    <a:pt x="681" y="870"/>
                  </a:lnTo>
                  <a:lnTo>
                    <a:pt x="687" y="869"/>
                  </a:lnTo>
                  <a:lnTo>
                    <a:pt x="693" y="867"/>
                  </a:lnTo>
                  <a:lnTo>
                    <a:pt x="695" y="864"/>
                  </a:lnTo>
                  <a:lnTo>
                    <a:pt x="697" y="863"/>
                  </a:lnTo>
                  <a:lnTo>
                    <a:pt x="698" y="861"/>
                  </a:lnTo>
                  <a:lnTo>
                    <a:pt x="699" y="859"/>
                  </a:lnTo>
                  <a:lnTo>
                    <a:pt x="716" y="859"/>
                  </a:lnTo>
                  <a:lnTo>
                    <a:pt x="717" y="855"/>
                  </a:lnTo>
                  <a:lnTo>
                    <a:pt x="719" y="853"/>
                  </a:lnTo>
                  <a:lnTo>
                    <a:pt x="723" y="851"/>
                  </a:lnTo>
                  <a:lnTo>
                    <a:pt x="727" y="850"/>
                  </a:lnTo>
                  <a:lnTo>
                    <a:pt x="738" y="848"/>
                  </a:lnTo>
                  <a:lnTo>
                    <a:pt x="753" y="846"/>
                  </a:lnTo>
                  <a:lnTo>
                    <a:pt x="780" y="846"/>
                  </a:lnTo>
                  <a:lnTo>
                    <a:pt x="797" y="846"/>
                  </a:lnTo>
                  <a:lnTo>
                    <a:pt x="799" y="851"/>
                  </a:lnTo>
                  <a:lnTo>
                    <a:pt x="801" y="855"/>
                  </a:lnTo>
                  <a:lnTo>
                    <a:pt x="805" y="858"/>
                  </a:lnTo>
                  <a:lnTo>
                    <a:pt x="809" y="859"/>
                  </a:lnTo>
                  <a:lnTo>
                    <a:pt x="811" y="862"/>
                  </a:lnTo>
                  <a:lnTo>
                    <a:pt x="814" y="867"/>
                  </a:lnTo>
                  <a:lnTo>
                    <a:pt x="820" y="872"/>
                  </a:lnTo>
                  <a:lnTo>
                    <a:pt x="827" y="878"/>
                  </a:lnTo>
                  <a:lnTo>
                    <a:pt x="839" y="889"/>
                  </a:lnTo>
                  <a:lnTo>
                    <a:pt x="844" y="893"/>
                  </a:lnTo>
                  <a:lnTo>
                    <a:pt x="848" y="894"/>
                  </a:lnTo>
                  <a:lnTo>
                    <a:pt x="852" y="897"/>
                  </a:lnTo>
                  <a:lnTo>
                    <a:pt x="854" y="901"/>
                  </a:lnTo>
                  <a:lnTo>
                    <a:pt x="856" y="904"/>
                  </a:lnTo>
                  <a:lnTo>
                    <a:pt x="864" y="908"/>
                  </a:lnTo>
                  <a:lnTo>
                    <a:pt x="873" y="911"/>
                  </a:lnTo>
                  <a:lnTo>
                    <a:pt x="879" y="917"/>
                  </a:lnTo>
                  <a:lnTo>
                    <a:pt x="879" y="920"/>
                  </a:lnTo>
                  <a:lnTo>
                    <a:pt x="880" y="921"/>
                  </a:lnTo>
                  <a:lnTo>
                    <a:pt x="880" y="922"/>
                  </a:lnTo>
                  <a:lnTo>
                    <a:pt x="881" y="922"/>
                  </a:lnTo>
                  <a:lnTo>
                    <a:pt x="882" y="922"/>
                  </a:lnTo>
                  <a:lnTo>
                    <a:pt x="883" y="923"/>
                  </a:lnTo>
                  <a:lnTo>
                    <a:pt x="885" y="925"/>
                  </a:lnTo>
                  <a:lnTo>
                    <a:pt x="885" y="928"/>
                  </a:lnTo>
                  <a:lnTo>
                    <a:pt x="891" y="929"/>
                  </a:lnTo>
                  <a:lnTo>
                    <a:pt x="897" y="931"/>
                  </a:lnTo>
                  <a:lnTo>
                    <a:pt x="902" y="936"/>
                  </a:lnTo>
                  <a:lnTo>
                    <a:pt x="907" y="940"/>
                  </a:lnTo>
                  <a:lnTo>
                    <a:pt x="911" y="944"/>
                  </a:lnTo>
                  <a:lnTo>
                    <a:pt x="917" y="948"/>
                  </a:lnTo>
                  <a:lnTo>
                    <a:pt x="921" y="950"/>
                  </a:lnTo>
                  <a:lnTo>
                    <a:pt x="925" y="951"/>
                  </a:lnTo>
                  <a:lnTo>
                    <a:pt x="926" y="955"/>
                  </a:lnTo>
                  <a:lnTo>
                    <a:pt x="926" y="957"/>
                  </a:lnTo>
                  <a:lnTo>
                    <a:pt x="927" y="957"/>
                  </a:lnTo>
                  <a:lnTo>
                    <a:pt x="928" y="957"/>
                  </a:lnTo>
                  <a:lnTo>
                    <a:pt x="929" y="957"/>
                  </a:lnTo>
                  <a:lnTo>
                    <a:pt x="930" y="958"/>
                  </a:lnTo>
                  <a:lnTo>
                    <a:pt x="930" y="959"/>
                  </a:lnTo>
                  <a:lnTo>
                    <a:pt x="931" y="963"/>
                  </a:lnTo>
                  <a:lnTo>
                    <a:pt x="955" y="964"/>
                  </a:lnTo>
                  <a:lnTo>
                    <a:pt x="979" y="965"/>
                  </a:lnTo>
                  <a:lnTo>
                    <a:pt x="1003" y="967"/>
                  </a:lnTo>
                  <a:lnTo>
                    <a:pt x="1026" y="969"/>
                  </a:lnTo>
                  <a:lnTo>
                    <a:pt x="1050" y="971"/>
                  </a:lnTo>
                  <a:lnTo>
                    <a:pt x="1072" y="973"/>
                  </a:lnTo>
                  <a:lnTo>
                    <a:pt x="1094" y="974"/>
                  </a:lnTo>
                  <a:lnTo>
                    <a:pt x="1117" y="975"/>
                  </a:lnTo>
                  <a:lnTo>
                    <a:pt x="1127" y="980"/>
                  </a:lnTo>
                  <a:lnTo>
                    <a:pt x="1142" y="989"/>
                  </a:lnTo>
                  <a:lnTo>
                    <a:pt x="1150" y="994"/>
                  </a:lnTo>
                  <a:lnTo>
                    <a:pt x="1157" y="997"/>
                  </a:lnTo>
                  <a:lnTo>
                    <a:pt x="1161" y="1002"/>
                  </a:lnTo>
                  <a:lnTo>
                    <a:pt x="1164" y="1004"/>
                  </a:lnTo>
                  <a:lnTo>
                    <a:pt x="1175" y="1004"/>
                  </a:lnTo>
                  <a:lnTo>
                    <a:pt x="1182" y="1015"/>
                  </a:lnTo>
                  <a:lnTo>
                    <a:pt x="1190" y="1028"/>
                  </a:lnTo>
                  <a:lnTo>
                    <a:pt x="1195" y="1035"/>
                  </a:lnTo>
                  <a:lnTo>
                    <a:pt x="1200" y="1040"/>
                  </a:lnTo>
                  <a:lnTo>
                    <a:pt x="1205" y="1043"/>
                  </a:lnTo>
                  <a:lnTo>
                    <a:pt x="1209" y="1044"/>
                  </a:lnTo>
                  <a:lnTo>
                    <a:pt x="1213" y="1056"/>
                  </a:lnTo>
                  <a:lnTo>
                    <a:pt x="1216" y="1067"/>
                  </a:lnTo>
                  <a:lnTo>
                    <a:pt x="1221" y="1071"/>
                  </a:lnTo>
                  <a:lnTo>
                    <a:pt x="1224" y="1076"/>
                  </a:lnTo>
                  <a:lnTo>
                    <a:pt x="1228" y="1083"/>
                  </a:lnTo>
                  <a:lnTo>
                    <a:pt x="1233" y="1090"/>
                  </a:lnTo>
                  <a:lnTo>
                    <a:pt x="1237" y="1096"/>
                  </a:lnTo>
                  <a:lnTo>
                    <a:pt x="1242" y="1103"/>
                  </a:lnTo>
                  <a:lnTo>
                    <a:pt x="1246" y="1106"/>
                  </a:lnTo>
                  <a:lnTo>
                    <a:pt x="1251" y="1109"/>
                  </a:lnTo>
                  <a:lnTo>
                    <a:pt x="1251" y="1113"/>
                  </a:lnTo>
                  <a:lnTo>
                    <a:pt x="1253" y="1118"/>
                  </a:lnTo>
                  <a:lnTo>
                    <a:pt x="1256" y="1123"/>
                  </a:lnTo>
                  <a:lnTo>
                    <a:pt x="1260" y="1129"/>
                  </a:lnTo>
                  <a:lnTo>
                    <a:pt x="1269" y="1140"/>
                  </a:lnTo>
                  <a:lnTo>
                    <a:pt x="1280" y="1152"/>
                  </a:lnTo>
                  <a:lnTo>
                    <a:pt x="1290" y="1166"/>
                  </a:lnTo>
                  <a:lnTo>
                    <a:pt x="1300" y="1178"/>
                  </a:lnTo>
                  <a:lnTo>
                    <a:pt x="1303" y="1183"/>
                  </a:lnTo>
                  <a:lnTo>
                    <a:pt x="1307" y="1190"/>
                  </a:lnTo>
                  <a:lnTo>
                    <a:pt x="1308" y="1196"/>
                  </a:lnTo>
                  <a:lnTo>
                    <a:pt x="1309" y="1201"/>
                  </a:lnTo>
                  <a:lnTo>
                    <a:pt x="1320" y="1207"/>
                  </a:lnTo>
                  <a:lnTo>
                    <a:pt x="1320" y="1218"/>
                  </a:lnTo>
                  <a:lnTo>
                    <a:pt x="1322" y="1220"/>
                  </a:lnTo>
                  <a:lnTo>
                    <a:pt x="1323" y="1224"/>
                  </a:lnTo>
                  <a:lnTo>
                    <a:pt x="1324" y="1228"/>
                  </a:lnTo>
                  <a:lnTo>
                    <a:pt x="1326" y="1234"/>
                  </a:lnTo>
                  <a:lnTo>
                    <a:pt x="1326" y="1246"/>
                  </a:lnTo>
                  <a:lnTo>
                    <a:pt x="1327" y="1254"/>
                  </a:lnTo>
                  <a:lnTo>
                    <a:pt x="1328" y="1255"/>
                  </a:lnTo>
                  <a:lnTo>
                    <a:pt x="1330" y="1258"/>
                  </a:lnTo>
                  <a:lnTo>
                    <a:pt x="1330" y="1263"/>
                  </a:lnTo>
                  <a:lnTo>
                    <a:pt x="1331" y="1268"/>
                  </a:lnTo>
                  <a:lnTo>
                    <a:pt x="1332" y="1281"/>
                  </a:lnTo>
                  <a:lnTo>
                    <a:pt x="1332" y="1288"/>
                  </a:lnTo>
                  <a:lnTo>
                    <a:pt x="1336" y="1293"/>
                  </a:lnTo>
                  <a:lnTo>
                    <a:pt x="1339" y="1298"/>
                  </a:lnTo>
                  <a:lnTo>
                    <a:pt x="1341" y="1303"/>
                  </a:lnTo>
                  <a:lnTo>
                    <a:pt x="1342" y="1308"/>
                  </a:lnTo>
                  <a:lnTo>
                    <a:pt x="1343" y="1320"/>
                  </a:lnTo>
                  <a:lnTo>
                    <a:pt x="1343" y="1329"/>
                  </a:lnTo>
                  <a:lnTo>
                    <a:pt x="1346" y="1331"/>
                  </a:lnTo>
                  <a:lnTo>
                    <a:pt x="1349" y="1336"/>
                  </a:lnTo>
                  <a:lnTo>
                    <a:pt x="1351" y="1344"/>
                  </a:lnTo>
                  <a:lnTo>
                    <a:pt x="1355" y="1353"/>
                  </a:lnTo>
                  <a:lnTo>
                    <a:pt x="1359" y="1373"/>
                  </a:lnTo>
                  <a:lnTo>
                    <a:pt x="1361" y="1387"/>
                  </a:lnTo>
                  <a:lnTo>
                    <a:pt x="1362" y="1389"/>
                  </a:lnTo>
                  <a:lnTo>
                    <a:pt x="1365" y="1396"/>
                  </a:lnTo>
                  <a:lnTo>
                    <a:pt x="1366" y="1404"/>
                  </a:lnTo>
                  <a:lnTo>
                    <a:pt x="1366" y="1415"/>
                  </a:lnTo>
                  <a:lnTo>
                    <a:pt x="1367" y="1436"/>
                  </a:lnTo>
                  <a:lnTo>
                    <a:pt x="1367" y="1451"/>
                  </a:lnTo>
                  <a:lnTo>
                    <a:pt x="1365" y="1452"/>
                  </a:lnTo>
                  <a:lnTo>
                    <a:pt x="1363" y="1455"/>
                  </a:lnTo>
                  <a:lnTo>
                    <a:pt x="1362" y="1458"/>
                  </a:lnTo>
                  <a:lnTo>
                    <a:pt x="1361" y="1464"/>
                  </a:lnTo>
                  <a:lnTo>
                    <a:pt x="1361" y="1473"/>
                  </a:lnTo>
                  <a:lnTo>
                    <a:pt x="1361" y="1480"/>
                  </a:lnTo>
                  <a:lnTo>
                    <a:pt x="1372" y="1480"/>
                  </a:lnTo>
                  <a:lnTo>
                    <a:pt x="1374" y="1483"/>
                  </a:lnTo>
                  <a:lnTo>
                    <a:pt x="1377" y="1485"/>
                  </a:lnTo>
                  <a:lnTo>
                    <a:pt x="1380" y="1486"/>
                  </a:lnTo>
                  <a:lnTo>
                    <a:pt x="1387" y="1488"/>
                  </a:lnTo>
                  <a:lnTo>
                    <a:pt x="1400" y="1493"/>
                  </a:lnTo>
                  <a:lnTo>
                    <a:pt x="1418" y="1496"/>
                  </a:lnTo>
                  <a:lnTo>
                    <a:pt x="1451" y="1502"/>
                  </a:lnTo>
                  <a:lnTo>
                    <a:pt x="1472" y="1503"/>
                  </a:lnTo>
                  <a:lnTo>
                    <a:pt x="1472" y="1505"/>
                  </a:lnTo>
                  <a:lnTo>
                    <a:pt x="1473" y="1507"/>
                  </a:lnTo>
                  <a:lnTo>
                    <a:pt x="1475" y="1509"/>
                  </a:lnTo>
                  <a:lnTo>
                    <a:pt x="1477" y="1512"/>
                  </a:lnTo>
                  <a:lnTo>
                    <a:pt x="1484" y="1514"/>
                  </a:lnTo>
                  <a:lnTo>
                    <a:pt x="1488" y="1515"/>
                  </a:lnTo>
                  <a:lnTo>
                    <a:pt x="1490" y="1519"/>
                  </a:lnTo>
                  <a:lnTo>
                    <a:pt x="1493" y="1525"/>
                  </a:lnTo>
                  <a:lnTo>
                    <a:pt x="1497" y="1533"/>
                  </a:lnTo>
                  <a:lnTo>
                    <a:pt x="1503" y="1542"/>
                  </a:lnTo>
                  <a:lnTo>
                    <a:pt x="1518" y="1562"/>
                  </a:lnTo>
                  <a:lnTo>
                    <a:pt x="1534" y="1584"/>
                  </a:lnTo>
                  <a:lnTo>
                    <a:pt x="1570" y="1628"/>
                  </a:lnTo>
                  <a:lnTo>
                    <a:pt x="1593" y="1654"/>
                  </a:lnTo>
                  <a:lnTo>
                    <a:pt x="1593" y="1666"/>
                  </a:lnTo>
                  <a:lnTo>
                    <a:pt x="1608" y="1680"/>
                  </a:lnTo>
                  <a:lnTo>
                    <a:pt x="1622" y="1695"/>
                  </a:lnTo>
                  <a:lnTo>
                    <a:pt x="1622" y="1707"/>
                  </a:lnTo>
                  <a:lnTo>
                    <a:pt x="1625" y="1707"/>
                  </a:lnTo>
                  <a:lnTo>
                    <a:pt x="1627" y="1708"/>
                  </a:lnTo>
                  <a:lnTo>
                    <a:pt x="1629" y="1710"/>
                  </a:lnTo>
                  <a:lnTo>
                    <a:pt x="1630" y="1712"/>
                  </a:lnTo>
                  <a:lnTo>
                    <a:pt x="1632" y="1719"/>
                  </a:lnTo>
                  <a:lnTo>
                    <a:pt x="1634" y="1724"/>
                  </a:lnTo>
                  <a:lnTo>
                    <a:pt x="1646" y="1733"/>
                  </a:lnTo>
                  <a:lnTo>
                    <a:pt x="1657" y="1742"/>
                  </a:lnTo>
                  <a:lnTo>
                    <a:pt x="1660" y="1750"/>
                  </a:lnTo>
                  <a:lnTo>
                    <a:pt x="1663" y="1758"/>
                  </a:lnTo>
                  <a:lnTo>
                    <a:pt x="1669" y="1765"/>
                  </a:lnTo>
                  <a:lnTo>
                    <a:pt x="1680" y="1765"/>
                  </a:lnTo>
                  <a:lnTo>
                    <a:pt x="1686" y="1776"/>
                  </a:lnTo>
                  <a:lnTo>
                    <a:pt x="1707" y="1776"/>
                  </a:lnTo>
                  <a:lnTo>
                    <a:pt x="1733" y="1776"/>
                  </a:lnTo>
                  <a:lnTo>
                    <a:pt x="1759" y="1776"/>
                  </a:lnTo>
                  <a:lnTo>
                    <a:pt x="1779" y="1776"/>
                  </a:lnTo>
                  <a:lnTo>
                    <a:pt x="1782" y="1767"/>
                  </a:lnTo>
                  <a:lnTo>
                    <a:pt x="1785" y="1758"/>
                  </a:lnTo>
                  <a:lnTo>
                    <a:pt x="1793" y="1756"/>
                  </a:lnTo>
                  <a:lnTo>
                    <a:pt x="1802" y="1753"/>
                  </a:lnTo>
                  <a:lnTo>
                    <a:pt x="1878" y="1660"/>
                  </a:lnTo>
                  <a:lnTo>
                    <a:pt x="1878" y="1468"/>
                  </a:lnTo>
                  <a:lnTo>
                    <a:pt x="1889" y="1457"/>
                  </a:lnTo>
                  <a:lnTo>
                    <a:pt x="1889" y="1448"/>
                  </a:lnTo>
                  <a:lnTo>
                    <a:pt x="1887" y="1439"/>
                  </a:lnTo>
                  <a:lnTo>
                    <a:pt x="1885" y="1429"/>
                  </a:lnTo>
                  <a:lnTo>
                    <a:pt x="1880" y="1418"/>
                  </a:lnTo>
                  <a:lnTo>
                    <a:pt x="1871" y="1394"/>
                  </a:lnTo>
                  <a:lnTo>
                    <a:pt x="1860" y="1369"/>
                  </a:lnTo>
                  <a:lnTo>
                    <a:pt x="1850" y="1343"/>
                  </a:lnTo>
                  <a:lnTo>
                    <a:pt x="1840" y="1319"/>
                  </a:lnTo>
                  <a:lnTo>
                    <a:pt x="1837" y="1307"/>
                  </a:lnTo>
                  <a:lnTo>
                    <a:pt x="1835" y="1296"/>
                  </a:lnTo>
                  <a:lnTo>
                    <a:pt x="1832" y="1286"/>
                  </a:lnTo>
                  <a:lnTo>
                    <a:pt x="1831" y="1276"/>
                  </a:lnTo>
                  <a:lnTo>
                    <a:pt x="1829" y="1275"/>
                  </a:lnTo>
                  <a:lnTo>
                    <a:pt x="1827" y="1272"/>
                  </a:lnTo>
                  <a:lnTo>
                    <a:pt x="1824" y="1266"/>
                  </a:lnTo>
                  <a:lnTo>
                    <a:pt x="1821" y="1259"/>
                  </a:lnTo>
                  <a:lnTo>
                    <a:pt x="1818" y="1253"/>
                  </a:lnTo>
                  <a:lnTo>
                    <a:pt x="1813" y="1247"/>
                  </a:lnTo>
                  <a:lnTo>
                    <a:pt x="1811" y="1245"/>
                  </a:lnTo>
                  <a:lnTo>
                    <a:pt x="1809" y="1244"/>
                  </a:lnTo>
                  <a:lnTo>
                    <a:pt x="1806" y="1243"/>
                  </a:lnTo>
                  <a:lnTo>
                    <a:pt x="1802" y="1242"/>
                  </a:lnTo>
                  <a:lnTo>
                    <a:pt x="1801" y="1237"/>
                  </a:lnTo>
                  <a:lnTo>
                    <a:pt x="1799" y="1231"/>
                  </a:lnTo>
                  <a:lnTo>
                    <a:pt x="1797" y="1228"/>
                  </a:lnTo>
                  <a:lnTo>
                    <a:pt x="1795" y="1226"/>
                  </a:lnTo>
                  <a:lnTo>
                    <a:pt x="1793" y="1225"/>
                  </a:lnTo>
                  <a:lnTo>
                    <a:pt x="1791" y="1225"/>
                  </a:lnTo>
                  <a:lnTo>
                    <a:pt x="1791" y="1207"/>
                  </a:lnTo>
                  <a:lnTo>
                    <a:pt x="1785" y="1202"/>
                  </a:lnTo>
                  <a:lnTo>
                    <a:pt x="1780" y="1198"/>
                  </a:lnTo>
                  <a:lnTo>
                    <a:pt x="1778" y="1196"/>
                  </a:lnTo>
                  <a:lnTo>
                    <a:pt x="1775" y="1194"/>
                  </a:lnTo>
                  <a:lnTo>
                    <a:pt x="1774" y="1191"/>
                  </a:lnTo>
                  <a:lnTo>
                    <a:pt x="1773" y="1189"/>
                  </a:lnTo>
                  <a:lnTo>
                    <a:pt x="1768" y="1189"/>
                  </a:lnTo>
                  <a:lnTo>
                    <a:pt x="1760" y="1186"/>
                  </a:lnTo>
                  <a:lnTo>
                    <a:pt x="1756" y="1185"/>
                  </a:lnTo>
                  <a:lnTo>
                    <a:pt x="1753" y="1182"/>
                  </a:lnTo>
                  <a:lnTo>
                    <a:pt x="1751" y="1180"/>
                  </a:lnTo>
                  <a:lnTo>
                    <a:pt x="1750" y="1178"/>
                  </a:lnTo>
                  <a:lnTo>
                    <a:pt x="1733" y="1178"/>
                  </a:lnTo>
                  <a:lnTo>
                    <a:pt x="1721" y="1167"/>
                  </a:lnTo>
                  <a:lnTo>
                    <a:pt x="1712" y="1166"/>
                  </a:lnTo>
                  <a:lnTo>
                    <a:pt x="1702" y="1165"/>
                  </a:lnTo>
                  <a:lnTo>
                    <a:pt x="1693" y="1162"/>
                  </a:lnTo>
                  <a:lnTo>
                    <a:pt x="1683" y="1160"/>
                  </a:lnTo>
                  <a:lnTo>
                    <a:pt x="1665" y="1153"/>
                  </a:lnTo>
                  <a:lnTo>
                    <a:pt x="1647" y="1146"/>
                  </a:lnTo>
                  <a:lnTo>
                    <a:pt x="1630" y="1139"/>
                  </a:lnTo>
                  <a:lnTo>
                    <a:pt x="1614" y="1132"/>
                  </a:lnTo>
                  <a:lnTo>
                    <a:pt x="1606" y="1130"/>
                  </a:lnTo>
                  <a:lnTo>
                    <a:pt x="1597" y="1128"/>
                  </a:lnTo>
                  <a:lnTo>
                    <a:pt x="1589" y="1127"/>
                  </a:lnTo>
                  <a:lnTo>
                    <a:pt x="1582" y="1125"/>
                  </a:lnTo>
                  <a:lnTo>
                    <a:pt x="1579" y="1122"/>
                  </a:lnTo>
                  <a:lnTo>
                    <a:pt x="1571" y="1118"/>
                  </a:lnTo>
                  <a:lnTo>
                    <a:pt x="1559" y="1112"/>
                  </a:lnTo>
                  <a:lnTo>
                    <a:pt x="1545" y="1106"/>
                  </a:lnTo>
                  <a:lnTo>
                    <a:pt x="1531" y="1100"/>
                  </a:lnTo>
                  <a:lnTo>
                    <a:pt x="1518" y="1095"/>
                  </a:lnTo>
                  <a:lnTo>
                    <a:pt x="1507" y="1092"/>
                  </a:lnTo>
                  <a:lnTo>
                    <a:pt x="1501" y="1091"/>
                  </a:lnTo>
                  <a:lnTo>
                    <a:pt x="1488" y="1073"/>
                  </a:lnTo>
                  <a:lnTo>
                    <a:pt x="1477" y="1073"/>
                  </a:lnTo>
                  <a:lnTo>
                    <a:pt x="1476" y="1069"/>
                  </a:lnTo>
                  <a:lnTo>
                    <a:pt x="1473" y="1064"/>
                  </a:lnTo>
                  <a:lnTo>
                    <a:pt x="1470" y="1060"/>
                  </a:lnTo>
                  <a:lnTo>
                    <a:pt x="1464" y="1054"/>
                  </a:lnTo>
                  <a:lnTo>
                    <a:pt x="1458" y="1051"/>
                  </a:lnTo>
                  <a:lnTo>
                    <a:pt x="1453" y="1047"/>
                  </a:lnTo>
                  <a:lnTo>
                    <a:pt x="1447" y="1045"/>
                  </a:lnTo>
                  <a:lnTo>
                    <a:pt x="1443" y="1044"/>
                  </a:lnTo>
                  <a:lnTo>
                    <a:pt x="1442" y="1041"/>
                  </a:lnTo>
                  <a:lnTo>
                    <a:pt x="1442" y="1037"/>
                  </a:lnTo>
                  <a:lnTo>
                    <a:pt x="1440" y="1035"/>
                  </a:lnTo>
                  <a:lnTo>
                    <a:pt x="1438" y="1034"/>
                  </a:lnTo>
                  <a:lnTo>
                    <a:pt x="1435" y="1031"/>
                  </a:lnTo>
                  <a:lnTo>
                    <a:pt x="1430" y="1027"/>
                  </a:lnTo>
                  <a:lnTo>
                    <a:pt x="1426" y="1026"/>
                  </a:lnTo>
                  <a:lnTo>
                    <a:pt x="1419" y="1023"/>
                  </a:lnTo>
                  <a:lnTo>
                    <a:pt x="1413" y="1017"/>
                  </a:lnTo>
                  <a:lnTo>
                    <a:pt x="1406" y="1012"/>
                  </a:lnTo>
                  <a:lnTo>
                    <a:pt x="1400" y="1006"/>
                  </a:lnTo>
                  <a:lnTo>
                    <a:pt x="1395" y="1000"/>
                  </a:lnTo>
                  <a:lnTo>
                    <a:pt x="1391" y="995"/>
                  </a:lnTo>
                  <a:lnTo>
                    <a:pt x="1390" y="992"/>
                  </a:lnTo>
                  <a:lnTo>
                    <a:pt x="1386" y="992"/>
                  </a:lnTo>
                  <a:lnTo>
                    <a:pt x="1382" y="990"/>
                  </a:lnTo>
                  <a:lnTo>
                    <a:pt x="1379" y="988"/>
                  </a:lnTo>
                  <a:lnTo>
                    <a:pt x="1377" y="986"/>
                  </a:lnTo>
                  <a:lnTo>
                    <a:pt x="1374" y="980"/>
                  </a:lnTo>
                  <a:lnTo>
                    <a:pt x="1372" y="975"/>
                  </a:lnTo>
                  <a:lnTo>
                    <a:pt x="1368" y="974"/>
                  </a:lnTo>
                  <a:lnTo>
                    <a:pt x="1363" y="971"/>
                  </a:lnTo>
                  <a:lnTo>
                    <a:pt x="1359" y="969"/>
                  </a:lnTo>
                  <a:lnTo>
                    <a:pt x="1356" y="966"/>
                  </a:lnTo>
                  <a:lnTo>
                    <a:pt x="1351" y="963"/>
                  </a:lnTo>
                  <a:lnTo>
                    <a:pt x="1347" y="960"/>
                  </a:lnTo>
                  <a:lnTo>
                    <a:pt x="1342" y="958"/>
                  </a:lnTo>
                  <a:lnTo>
                    <a:pt x="1338" y="957"/>
                  </a:lnTo>
                  <a:lnTo>
                    <a:pt x="1332" y="946"/>
                  </a:lnTo>
                  <a:lnTo>
                    <a:pt x="1323" y="942"/>
                  </a:lnTo>
                  <a:lnTo>
                    <a:pt x="1314" y="940"/>
                  </a:lnTo>
                  <a:lnTo>
                    <a:pt x="1309" y="933"/>
                  </a:lnTo>
                  <a:lnTo>
                    <a:pt x="1308" y="930"/>
                  </a:lnTo>
                  <a:lnTo>
                    <a:pt x="1305" y="926"/>
                  </a:lnTo>
                  <a:lnTo>
                    <a:pt x="1301" y="923"/>
                  </a:lnTo>
                  <a:lnTo>
                    <a:pt x="1298" y="922"/>
                  </a:lnTo>
                  <a:lnTo>
                    <a:pt x="1291" y="904"/>
                  </a:lnTo>
                  <a:lnTo>
                    <a:pt x="1289" y="904"/>
                  </a:lnTo>
                  <a:lnTo>
                    <a:pt x="1286" y="902"/>
                  </a:lnTo>
                  <a:lnTo>
                    <a:pt x="1285" y="899"/>
                  </a:lnTo>
                  <a:lnTo>
                    <a:pt x="1283" y="896"/>
                  </a:lnTo>
                  <a:lnTo>
                    <a:pt x="1281" y="888"/>
                  </a:lnTo>
                  <a:lnTo>
                    <a:pt x="1280" y="882"/>
                  </a:lnTo>
                  <a:lnTo>
                    <a:pt x="1269" y="875"/>
                  </a:lnTo>
                  <a:lnTo>
                    <a:pt x="1269" y="854"/>
                  </a:lnTo>
                  <a:lnTo>
                    <a:pt x="1269" y="832"/>
                  </a:lnTo>
                  <a:lnTo>
                    <a:pt x="1269" y="811"/>
                  </a:lnTo>
                  <a:lnTo>
                    <a:pt x="1269" y="788"/>
                  </a:lnTo>
                  <a:lnTo>
                    <a:pt x="1280" y="783"/>
                  </a:lnTo>
                  <a:lnTo>
                    <a:pt x="1280" y="772"/>
                  </a:lnTo>
                  <a:lnTo>
                    <a:pt x="1291" y="759"/>
                  </a:lnTo>
                  <a:lnTo>
                    <a:pt x="1303" y="759"/>
                  </a:lnTo>
                  <a:lnTo>
                    <a:pt x="1307" y="758"/>
                  </a:lnTo>
                  <a:lnTo>
                    <a:pt x="1315" y="756"/>
                  </a:lnTo>
                  <a:lnTo>
                    <a:pt x="1329" y="755"/>
                  </a:lnTo>
                  <a:lnTo>
                    <a:pt x="1344" y="755"/>
                  </a:lnTo>
                  <a:lnTo>
                    <a:pt x="1377" y="754"/>
                  </a:lnTo>
                  <a:lnTo>
                    <a:pt x="1396" y="754"/>
                  </a:lnTo>
                  <a:lnTo>
                    <a:pt x="1401" y="736"/>
                  </a:lnTo>
                  <a:lnTo>
                    <a:pt x="1408" y="731"/>
                  </a:lnTo>
                  <a:lnTo>
                    <a:pt x="1422" y="719"/>
                  </a:lnTo>
                  <a:lnTo>
                    <a:pt x="1436" y="707"/>
                  </a:lnTo>
                  <a:lnTo>
                    <a:pt x="1443" y="701"/>
                  </a:lnTo>
                  <a:lnTo>
                    <a:pt x="1448" y="696"/>
                  </a:lnTo>
                  <a:lnTo>
                    <a:pt x="1457" y="696"/>
                  </a:lnTo>
                  <a:lnTo>
                    <a:pt x="1466" y="694"/>
                  </a:lnTo>
                  <a:lnTo>
                    <a:pt x="1476" y="692"/>
                  </a:lnTo>
                  <a:lnTo>
                    <a:pt x="1486" y="689"/>
                  </a:lnTo>
                  <a:lnTo>
                    <a:pt x="1506" y="683"/>
                  </a:lnTo>
                  <a:lnTo>
                    <a:pt x="1529" y="676"/>
                  </a:lnTo>
                  <a:lnTo>
                    <a:pt x="1551" y="668"/>
                  </a:lnTo>
                  <a:lnTo>
                    <a:pt x="1574" y="661"/>
                  </a:lnTo>
                  <a:lnTo>
                    <a:pt x="1587" y="659"/>
                  </a:lnTo>
                  <a:lnTo>
                    <a:pt x="1598" y="657"/>
                  </a:lnTo>
                  <a:lnTo>
                    <a:pt x="1610" y="656"/>
                  </a:lnTo>
                  <a:lnTo>
                    <a:pt x="1622" y="656"/>
                  </a:lnTo>
                  <a:lnTo>
                    <a:pt x="1634" y="667"/>
                  </a:lnTo>
                  <a:lnTo>
                    <a:pt x="1650" y="670"/>
                  </a:lnTo>
                  <a:lnTo>
                    <a:pt x="1663" y="672"/>
                  </a:lnTo>
                  <a:lnTo>
                    <a:pt x="1669" y="678"/>
                  </a:lnTo>
                  <a:lnTo>
                    <a:pt x="1669" y="681"/>
                  </a:lnTo>
                  <a:lnTo>
                    <a:pt x="1672" y="683"/>
                  </a:lnTo>
                  <a:lnTo>
                    <a:pt x="1674" y="686"/>
                  </a:lnTo>
                  <a:lnTo>
                    <a:pt x="1677" y="689"/>
                  </a:lnTo>
                  <a:lnTo>
                    <a:pt x="1686" y="695"/>
                  </a:lnTo>
                  <a:lnTo>
                    <a:pt x="1696" y="701"/>
                  </a:lnTo>
                  <a:lnTo>
                    <a:pt x="1706" y="708"/>
                  </a:lnTo>
                  <a:lnTo>
                    <a:pt x="1715" y="715"/>
                  </a:lnTo>
                  <a:lnTo>
                    <a:pt x="1723" y="720"/>
                  </a:lnTo>
                  <a:lnTo>
                    <a:pt x="1727" y="725"/>
                  </a:lnTo>
                  <a:lnTo>
                    <a:pt x="1739" y="730"/>
                  </a:lnTo>
                  <a:lnTo>
                    <a:pt x="1750" y="736"/>
                  </a:lnTo>
                  <a:lnTo>
                    <a:pt x="1755" y="743"/>
                  </a:lnTo>
                  <a:lnTo>
                    <a:pt x="1763" y="749"/>
                  </a:lnTo>
                  <a:lnTo>
                    <a:pt x="1774" y="758"/>
                  </a:lnTo>
                  <a:lnTo>
                    <a:pt x="1788" y="767"/>
                  </a:lnTo>
                  <a:lnTo>
                    <a:pt x="1799" y="777"/>
                  </a:lnTo>
                  <a:lnTo>
                    <a:pt x="1810" y="785"/>
                  </a:lnTo>
                  <a:lnTo>
                    <a:pt x="1817" y="791"/>
                  </a:lnTo>
                  <a:lnTo>
                    <a:pt x="1820" y="795"/>
                  </a:lnTo>
                  <a:lnTo>
                    <a:pt x="1831" y="795"/>
                  </a:lnTo>
                  <a:lnTo>
                    <a:pt x="1836" y="812"/>
                  </a:lnTo>
                  <a:lnTo>
                    <a:pt x="1846" y="839"/>
                  </a:lnTo>
                  <a:lnTo>
                    <a:pt x="1851" y="853"/>
                  </a:lnTo>
                  <a:lnTo>
                    <a:pt x="1856" y="868"/>
                  </a:lnTo>
                  <a:lnTo>
                    <a:pt x="1859" y="879"/>
                  </a:lnTo>
                  <a:lnTo>
                    <a:pt x="1860" y="888"/>
                  </a:lnTo>
                  <a:lnTo>
                    <a:pt x="1873" y="888"/>
                  </a:lnTo>
                  <a:lnTo>
                    <a:pt x="1875" y="891"/>
                  </a:lnTo>
                  <a:lnTo>
                    <a:pt x="1878" y="893"/>
                  </a:lnTo>
                  <a:lnTo>
                    <a:pt x="1884" y="897"/>
                  </a:lnTo>
                  <a:lnTo>
                    <a:pt x="1888" y="899"/>
                  </a:lnTo>
                  <a:lnTo>
                    <a:pt x="1902" y="904"/>
                  </a:lnTo>
                  <a:lnTo>
                    <a:pt x="1917" y="909"/>
                  </a:lnTo>
                  <a:lnTo>
                    <a:pt x="1954" y="917"/>
                  </a:lnTo>
                  <a:lnTo>
                    <a:pt x="1994" y="923"/>
                  </a:lnTo>
                  <a:lnTo>
                    <a:pt x="2033" y="930"/>
                  </a:lnTo>
                  <a:lnTo>
                    <a:pt x="2067" y="937"/>
                  </a:lnTo>
                  <a:lnTo>
                    <a:pt x="2080" y="940"/>
                  </a:lnTo>
                  <a:lnTo>
                    <a:pt x="2090" y="944"/>
                  </a:lnTo>
                  <a:lnTo>
                    <a:pt x="2094" y="946"/>
                  </a:lnTo>
                  <a:lnTo>
                    <a:pt x="2097" y="947"/>
                  </a:lnTo>
                  <a:lnTo>
                    <a:pt x="2098" y="949"/>
                  </a:lnTo>
                  <a:lnTo>
                    <a:pt x="2099" y="951"/>
                  </a:lnTo>
                  <a:lnTo>
                    <a:pt x="2110" y="951"/>
                  </a:lnTo>
                  <a:lnTo>
                    <a:pt x="2113" y="957"/>
                  </a:lnTo>
                  <a:lnTo>
                    <a:pt x="2117" y="963"/>
                  </a:lnTo>
                  <a:lnTo>
                    <a:pt x="2123" y="967"/>
                  </a:lnTo>
                  <a:lnTo>
                    <a:pt x="2128" y="969"/>
                  </a:lnTo>
                  <a:lnTo>
                    <a:pt x="2134" y="975"/>
                  </a:lnTo>
                  <a:lnTo>
                    <a:pt x="2134" y="977"/>
                  </a:lnTo>
                  <a:lnTo>
                    <a:pt x="2135" y="979"/>
                  </a:lnTo>
                  <a:lnTo>
                    <a:pt x="2136" y="979"/>
                  </a:lnTo>
                  <a:lnTo>
                    <a:pt x="2137" y="979"/>
                  </a:lnTo>
                  <a:lnTo>
                    <a:pt x="2142" y="977"/>
                  </a:lnTo>
                  <a:lnTo>
                    <a:pt x="2146" y="974"/>
                  </a:lnTo>
                  <a:lnTo>
                    <a:pt x="2150" y="969"/>
                  </a:lnTo>
                  <a:lnTo>
                    <a:pt x="2156" y="965"/>
                  </a:lnTo>
                  <a:lnTo>
                    <a:pt x="2158" y="964"/>
                  </a:lnTo>
                  <a:lnTo>
                    <a:pt x="2159" y="963"/>
                  </a:lnTo>
                  <a:lnTo>
                    <a:pt x="2162" y="963"/>
                  </a:lnTo>
                  <a:lnTo>
                    <a:pt x="2163" y="963"/>
                  </a:lnTo>
                  <a:lnTo>
                    <a:pt x="2164" y="980"/>
                  </a:lnTo>
                  <a:lnTo>
                    <a:pt x="2165" y="998"/>
                  </a:lnTo>
                  <a:lnTo>
                    <a:pt x="2168" y="1015"/>
                  </a:lnTo>
                  <a:lnTo>
                    <a:pt x="2172" y="1032"/>
                  </a:lnTo>
                  <a:lnTo>
                    <a:pt x="2175" y="1047"/>
                  </a:lnTo>
                  <a:lnTo>
                    <a:pt x="2177" y="1063"/>
                  </a:lnTo>
                  <a:lnTo>
                    <a:pt x="2179" y="1077"/>
                  </a:lnTo>
                  <a:lnTo>
                    <a:pt x="2181" y="1091"/>
                  </a:lnTo>
                  <a:lnTo>
                    <a:pt x="2187" y="1100"/>
                  </a:lnTo>
                  <a:lnTo>
                    <a:pt x="2197" y="1114"/>
                  </a:lnTo>
                  <a:lnTo>
                    <a:pt x="2205" y="1129"/>
                  </a:lnTo>
                  <a:lnTo>
                    <a:pt x="2210" y="1138"/>
                  </a:lnTo>
                  <a:lnTo>
                    <a:pt x="2216" y="1144"/>
                  </a:lnTo>
                  <a:lnTo>
                    <a:pt x="2226" y="1156"/>
                  </a:lnTo>
                  <a:lnTo>
                    <a:pt x="2236" y="1168"/>
                  </a:lnTo>
                  <a:lnTo>
                    <a:pt x="2244" y="1178"/>
                  </a:lnTo>
                  <a:lnTo>
                    <a:pt x="2249" y="1179"/>
                  </a:lnTo>
                  <a:lnTo>
                    <a:pt x="2253" y="1181"/>
                  </a:lnTo>
                  <a:lnTo>
                    <a:pt x="2259" y="1183"/>
                  </a:lnTo>
                  <a:lnTo>
                    <a:pt x="2263" y="1187"/>
                  </a:lnTo>
                  <a:lnTo>
                    <a:pt x="2267" y="1191"/>
                  </a:lnTo>
                  <a:lnTo>
                    <a:pt x="2270" y="1195"/>
                  </a:lnTo>
                  <a:lnTo>
                    <a:pt x="2272" y="1198"/>
                  </a:lnTo>
                  <a:lnTo>
                    <a:pt x="2273" y="1201"/>
                  </a:lnTo>
                  <a:lnTo>
                    <a:pt x="2284" y="1201"/>
                  </a:lnTo>
                  <a:lnTo>
                    <a:pt x="2284" y="1204"/>
                  </a:lnTo>
                  <a:lnTo>
                    <a:pt x="2286" y="1205"/>
                  </a:lnTo>
                  <a:lnTo>
                    <a:pt x="2287" y="1206"/>
                  </a:lnTo>
                  <a:lnTo>
                    <a:pt x="2288" y="1206"/>
                  </a:lnTo>
                  <a:lnTo>
                    <a:pt x="2292" y="1207"/>
                  </a:lnTo>
                  <a:lnTo>
                    <a:pt x="2297" y="1207"/>
                  </a:lnTo>
                  <a:lnTo>
                    <a:pt x="2302" y="1218"/>
                  </a:lnTo>
                  <a:lnTo>
                    <a:pt x="2313" y="1218"/>
                  </a:lnTo>
                  <a:lnTo>
                    <a:pt x="2319" y="1230"/>
                  </a:lnTo>
                  <a:lnTo>
                    <a:pt x="2337" y="1230"/>
                  </a:lnTo>
                  <a:lnTo>
                    <a:pt x="2337" y="1233"/>
                  </a:lnTo>
                  <a:lnTo>
                    <a:pt x="2339" y="1234"/>
                  </a:lnTo>
                  <a:lnTo>
                    <a:pt x="2341" y="1235"/>
                  </a:lnTo>
                  <a:lnTo>
                    <a:pt x="2344" y="1235"/>
                  </a:lnTo>
                  <a:lnTo>
                    <a:pt x="2349" y="1236"/>
                  </a:lnTo>
                  <a:lnTo>
                    <a:pt x="2355" y="1236"/>
                  </a:lnTo>
                  <a:lnTo>
                    <a:pt x="2359" y="1244"/>
                  </a:lnTo>
                  <a:lnTo>
                    <a:pt x="2365" y="1249"/>
                  </a:lnTo>
                  <a:lnTo>
                    <a:pt x="2371" y="1256"/>
                  </a:lnTo>
                  <a:lnTo>
                    <a:pt x="2379" y="1260"/>
                  </a:lnTo>
                  <a:lnTo>
                    <a:pt x="2388" y="1265"/>
                  </a:lnTo>
                  <a:lnTo>
                    <a:pt x="2398" y="1269"/>
                  </a:lnTo>
                  <a:lnTo>
                    <a:pt x="2409" y="1272"/>
                  </a:lnTo>
                  <a:lnTo>
                    <a:pt x="2421" y="1275"/>
                  </a:lnTo>
                  <a:lnTo>
                    <a:pt x="2446" y="1278"/>
                  </a:lnTo>
                  <a:lnTo>
                    <a:pt x="2473" y="1281"/>
                  </a:lnTo>
                  <a:lnTo>
                    <a:pt x="2503" y="1282"/>
                  </a:lnTo>
                  <a:lnTo>
                    <a:pt x="2533" y="1281"/>
                  </a:lnTo>
                  <a:lnTo>
                    <a:pt x="2594" y="1277"/>
                  </a:lnTo>
                  <a:lnTo>
                    <a:pt x="2652" y="1272"/>
                  </a:lnTo>
                  <a:lnTo>
                    <a:pt x="2701" y="1267"/>
                  </a:lnTo>
                  <a:lnTo>
                    <a:pt x="2738" y="1265"/>
                  </a:lnTo>
                  <a:lnTo>
                    <a:pt x="2742" y="1252"/>
                  </a:lnTo>
                  <a:lnTo>
                    <a:pt x="2745" y="1238"/>
                  </a:lnTo>
                  <a:lnTo>
                    <a:pt x="2749" y="1224"/>
                  </a:lnTo>
                  <a:lnTo>
                    <a:pt x="2750" y="1207"/>
                  </a:lnTo>
                  <a:lnTo>
                    <a:pt x="2744" y="1200"/>
                  </a:lnTo>
                  <a:lnTo>
                    <a:pt x="2739" y="1189"/>
                  </a:lnTo>
                  <a:lnTo>
                    <a:pt x="2733" y="1176"/>
                  </a:lnTo>
                  <a:lnTo>
                    <a:pt x="2726" y="1162"/>
                  </a:lnTo>
                  <a:lnTo>
                    <a:pt x="2720" y="1148"/>
                  </a:lnTo>
                  <a:lnTo>
                    <a:pt x="2713" y="1137"/>
                  </a:lnTo>
                  <a:lnTo>
                    <a:pt x="2711" y="1132"/>
                  </a:lnTo>
                  <a:lnTo>
                    <a:pt x="2708" y="1129"/>
                  </a:lnTo>
                  <a:lnTo>
                    <a:pt x="2705" y="1127"/>
                  </a:lnTo>
                  <a:lnTo>
                    <a:pt x="2703" y="1125"/>
                  </a:lnTo>
                  <a:lnTo>
                    <a:pt x="2703" y="1121"/>
                  </a:lnTo>
                  <a:lnTo>
                    <a:pt x="2702" y="1114"/>
                  </a:lnTo>
                  <a:lnTo>
                    <a:pt x="2700" y="1112"/>
                  </a:lnTo>
                  <a:lnTo>
                    <a:pt x="2699" y="1110"/>
                  </a:lnTo>
                  <a:lnTo>
                    <a:pt x="2695" y="1109"/>
                  </a:lnTo>
                  <a:lnTo>
                    <a:pt x="2692" y="1109"/>
                  </a:lnTo>
                  <a:lnTo>
                    <a:pt x="2685" y="1091"/>
                  </a:lnTo>
                  <a:lnTo>
                    <a:pt x="2680" y="1086"/>
                  </a:lnTo>
                  <a:lnTo>
                    <a:pt x="2667" y="1076"/>
                  </a:lnTo>
                  <a:lnTo>
                    <a:pt x="2654" y="1066"/>
                  </a:lnTo>
                  <a:lnTo>
                    <a:pt x="2645" y="1062"/>
                  </a:lnTo>
                  <a:lnTo>
                    <a:pt x="2639" y="1051"/>
                  </a:lnTo>
                  <a:lnTo>
                    <a:pt x="2633" y="1038"/>
                  </a:lnTo>
                  <a:lnTo>
                    <a:pt x="2632" y="1037"/>
                  </a:lnTo>
                  <a:lnTo>
                    <a:pt x="2629" y="1036"/>
                  </a:lnTo>
                  <a:lnTo>
                    <a:pt x="2627" y="1033"/>
                  </a:lnTo>
                  <a:lnTo>
                    <a:pt x="2625" y="1029"/>
                  </a:lnTo>
                  <a:lnTo>
                    <a:pt x="2623" y="1022"/>
                  </a:lnTo>
                  <a:lnTo>
                    <a:pt x="2622" y="1015"/>
                  </a:lnTo>
                  <a:lnTo>
                    <a:pt x="2616" y="1009"/>
                  </a:lnTo>
                  <a:lnTo>
                    <a:pt x="2613" y="1009"/>
                  </a:lnTo>
                  <a:lnTo>
                    <a:pt x="2610" y="1008"/>
                  </a:lnTo>
                  <a:lnTo>
                    <a:pt x="2610" y="1007"/>
                  </a:lnTo>
                  <a:lnTo>
                    <a:pt x="2610" y="1007"/>
                  </a:lnTo>
                  <a:lnTo>
                    <a:pt x="2610" y="1006"/>
                  </a:lnTo>
                  <a:lnTo>
                    <a:pt x="2609" y="1005"/>
                  </a:lnTo>
                  <a:lnTo>
                    <a:pt x="2607" y="1004"/>
                  </a:lnTo>
                  <a:lnTo>
                    <a:pt x="2604" y="1004"/>
                  </a:lnTo>
                  <a:lnTo>
                    <a:pt x="2604" y="999"/>
                  </a:lnTo>
                  <a:lnTo>
                    <a:pt x="2603" y="997"/>
                  </a:lnTo>
                  <a:lnTo>
                    <a:pt x="2600" y="995"/>
                  </a:lnTo>
                  <a:lnTo>
                    <a:pt x="2598" y="993"/>
                  </a:lnTo>
                  <a:lnTo>
                    <a:pt x="2595" y="989"/>
                  </a:lnTo>
                  <a:lnTo>
                    <a:pt x="2593" y="986"/>
                  </a:lnTo>
                  <a:lnTo>
                    <a:pt x="2581" y="986"/>
                  </a:lnTo>
                  <a:lnTo>
                    <a:pt x="2572" y="977"/>
                  </a:lnTo>
                  <a:lnTo>
                    <a:pt x="2563" y="969"/>
                  </a:lnTo>
                  <a:lnTo>
                    <a:pt x="2552" y="968"/>
                  </a:lnTo>
                  <a:lnTo>
                    <a:pt x="2542" y="967"/>
                  </a:lnTo>
                  <a:lnTo>
                    <a:pt x="2533" y="965"/>
                  </a:lnTo>
                  <a:lnTo>
                    <a:pt x="2523" y="961"/>
                  </a:lnTo>
                  <a:lnTo>
                    <a:pt x="2507" y="954"/>
                  </a:lnTo>
                  <a:lnTo>
                    <a:pt x="2490" y="944"/>
                  </a:lnTo>
                  <a:lnTo>
                    <a:pt x="2474" y="932"/>
                  </a:lnTo>
                  <a:lnTo>
                    <a:pt x="2460" y="922"/>
                  </a:lnTo>
                  <a:lnTo>
                    <a:pt x="2445" y="912"/>
                  </a:lnTo>
                  <a:lnTo>
                    <a:pt x="2430" y="904"/>
                  </a:lnTo>
                  <a:lnTo>
                    <a:pt x="2422" y="893"/>
                  </a:lnTo>
                  <a:lnTo>
                    <a:pt x="2403" y="868"/>
                  </a:lnTo>
                  <a:lnTo>
                    <a:pt x="2393" y="853"/>
                  </a:lnTo>
                  <a:lnTo>
                    <a:pt x="2384" y="841"/>
                  </a:lnTo>
                  <a:lnTo>
                    <a:pt x="2376" y="833"/>
                  </a:lnTo>
                  <a:lnTo>
                    <a:pt x="2371" y="830"/>
                  </a:lnTo>
                  <a:lnTo>
                    <a:pt x="2370" y="824"/>
                  </a:lnTo>
                  <a:lnTo>
                    <a:pt x="2365" y="819"/>
                  </a:lnTo>
                  <a:lnTo>
                    <a:pt x="2359" y="814"/>
                  </a:lnTo>
                  <a:lnTo>
                    <a:pt x="2355" y="812"/>
                  </a:lnTo>
                  <a:lnTo>
                    <a:pt x="2351" y="798"/>
                  </a:lnTo>
                  <a:lnTo>
                    <a:pt x="2348" y="788"/>
                  </a:lnTo>
                  <a:lnTo>
                    <a:pt x="2341" y="787"/>
                  </a:lnTo>
                  <a:lnTo>
                    <a:pt x="2331" y="783"/>
                  </a:lnTo>
                  <a:lnTo>
                    <a:pt x="2320" y="777"/>
                  </a:lnTo>
                  <a:lnTo>
                    <a:pt x="2308" y="772"/>
                  </a:lnTo>
                  <a:lnTo>
                    <a:pt x="2294" y="765"/>
                  </a:lnTo>
                  <a:lnTo>
                    <a:pt x="2280" y="759"/>
                  </a:lnTo>
                  <a:lnTo>
                    <a:pt x="2272" y="757"/>
                  </a:lnTo>
                  <a:lnTo>
                    <a:pt x="2265" y="755"/>
                  </a:lnTo>
                  <a:lnTo>
                    <a:pt x="2258" y="754"/>
                  </a:lnTo>
                  <a:lnTo>
                    <a:pt x="2250" y="754"/>
                  </a:lnTo>
                  <a:lnTo>
                    <a:pt x="2248" y="752"/>
                  </a:lnTo>
                  <a:lnTo>
                    <a:pt x="2242" y="748"/>
                  </a:lnTo>
                  <a:lnTo>
                    <a:pt x="2235" y="744"/>
                  </a:lnTo>
                  <a:lnTo>
                    <a:pt x="2226" y="740"/>
                  </a:lnTo>
                  <a:lnTo>
                    <a:pt x="2211" y="734"/>
                  </a:lnTo>
                  <a:lnTo>
                    <a:pt x="2203" y="730"/>
                  </a:lnTo>
                  <a:lnTo>
                    <a:pt x="2197" y="730"/>
                  </a:lnTo>
                  <a:lnTo>
                    <a:pt x="2192" y="729"/>
                  </a:lnTo>
                  <a:lnTo>
                    <a:pt x="2186" y="728"/>
                  </a:lnTo>
                  <a:lnTo>
                    <a:pt x="2181" y="726"/>
                  </a:lnTo>
                  <a:lnTo>
                    <a:pt x="2172" y="721"/>
                  </a:lnTo>
                  <a:lnTo>
                    <a:pt x="2163" y="714"/>
                  </a:lnTo>
                  <a:lnTo>
                    <a:pt x="2154" y="713"/>
                  </a:lnTo>
                  <a:lnTo>
                    <a:pt x="2145" y="710"/>
                  </a:lnTo>
                  <a:lnTo>
                    <a:pt x="2137" y="708"/>
                  </a:lnTo>
                  <a:lnTo>
                    <a:pt x="2128" y="707"/>
                  </a:lnTo>
                  <a:lnTo>
                    <a:pt x="2126" y="705"/>
                  </a:lnTo>
                  <a:lnTo>
                    <a:pt x="2123" y="702"/>
                  </a:lnTo>
                  <a:lnTo>
                    <a:pt x="2117" y="699"/>
                  </a:lnTo>
                  <a:lnTo>
                    <a:pt x="2110" y="697"/>
                  </a:lnTo>
                  <a:lnTo>
                    <a:pt x="2098" y="692"/>
                  </a:lnTo>
                  <a:lnTo>
                    <a:pt x="2092" y="690"/>
                  </a:lnTo>
                  <a:lnTo>
                    <a:pt x="2082" y="682"/>
                  </a:lnTo>
                  <a:lnTo>
                    <a:pt x="2070" y="670"/>
                  </a:lnTo>
                  <a:lnTo>
                    <a:pt x="2063" y="665"/>
                  </a:lnTo>
                  <a:lnTo>
                    <a:pt x="2057" y="660"/>
                  </a:lnTo>
                  <a:lnTo>
                    <a:pt x="2051" y="657"/>
                  </a:lnTo>
                  <a:lnTo>
                    <a:pt x="2047" y="656"/>
                  </a:lnTo>
                  <a:lnTo>
                    <a:pt x="2046" y="652"/>
                  </a:lnTo>
                  <a:lnTo>
                    <a:pt x="2043" y="649"/>
                  </a:lnTo>
                  <a:lnTo>
                    <a:pt x="2039" y="646"/>
                  </a:lnTo>
                  <a:lnTo>
                    <a:pt x="2033" y="641"/>
                  </a:lnTo>
                  <a:lnTo>
                    <a:pt x="2021" y="631"/>
                  </a:lnTo>
                  <a:lnTo>
                    <a:pt x="2005" y="620"/>
                  </a:lnTo>
                  <a:lnTo>
                    <a:pt x="1990" y="610"/>
                  </a:lnTo>
                  <a:lnTo>
                    <a:pt x="1975" y="600"/>
                  </a:lnTo>
                  <a:lnTo>
                    <a:pt x="1965" y="591"/>
                  </a:lnTo>
                  <a:lnTo>
                    <a:pt x="1960" y="585"/>
                  </a:lnTo>
                  <a:lnTo>
                    <a:pt x="1954" y="584"/>
                  </a:lnTo>
                  <a:lnTo>
                    <a:pt x="1948" y="582"/>
                  </a:lnTo>
                  <a:lnTo>
                    <a:pt x="1946" y="580"/>
                  </a:lnTo>
                  <a:lnTo>
                    <a:pt x="1944" y="579"/>
                  </a:lnTo>
                  <a:lnTo>
                    <a:pt x="1943" y="576"/>
                  </a:lnTo>
                  <a:lnTo>
                    <a:pt x="1942" y="574"/>
                  </a:lnTo>
                  <a:lnTo>
                    <a:pt x="1855" y="527"/>
                  </a:lnTo>
                  <a:lnTo>
                    <a:pt x="1850" y="527"/>
                  </a:lnTo>
                  <a:lnTo>
                    <a:pt x="1847" y="526"/>
                  </a:lnTo>
                  <a:lnTo>
                    <a:pt x="1846" y="526"/>
                  </a:lnTo>
                  <a:lnTo>
                    <a:pt x="1845" y="525"/>
                  </a:lnTo>
                  <a:lnTo>
                    <a:pt x="1843" y="524"/>
                  </a:lnTo>
                  <a:lnTo>
                    <a:pt x="1843" y="522"/>
                  </a:lnTo>
                  <a:lnTo>
                    <a:pt x="1824" y="519"/>
                  </a:lnTo>
                  <a:lnTo>
                    <a:pt x="1806" y="516"/>
                  </a:lnTo>
                  <a:lnTo>
                    <a:pt x="1785" y="512"/>
                  </a:lnTo>
                  <a:lnTo>
                    <a:pt x="1768" y="510"/>
                  </a:lnTo>
                  <a:lnTo>
                    <a:pt x="1768" y="507"/>
                  </a:lnTo>
                  <a:lnTo>
                    <a:pt x="1766" y="505"/>
                  </a:lnTo>
                  <a:lnTo>
                    <a:pt x="1765" y="504"/>
                  </a:lnTo>
                  <a:lnTo>
                    <a:pt x="1764" y="504"/>
                  </a:lnTo>
                  <a:lnTo>
                    <a:pt x="1763" y="504"/>
                  </a:lnTo>
                  <a:lnTo>
                    <a:pt x="1763" y="504"/>
                  </a:lnTo>
                  <a:lnTo>
                    <a:pt x="1762" y="502"/>
                  </a:lnTo>
                  <a:lnTo>
                    <a:pt x="1762" y="498"/>
                  </a:lnTo>
                  <a:lnTo>
                    <a:pt x="1756" y="496"/>
                  </a:lnTo>
                  <a:lnTo>
                    <a:pt x="1750" y="492"/>
                  </a:lnTo>
                  <a:lnTo>
                    <a:pt x="1744" y="486"/>
                  </a:lnTo>
                  <a:lnTo>
                    <a:pt x="1739" y="481"/>
                  </a:lnTo>
                  <a:lnTo>
                    <a:pt x="1739" y="469"/>
                  </a:lnTo>
                  <a:lnTo>
                    <a:pt x="1736" y="469"/>
                  </a:lnTo>
                  <a:lnTo>
                    <a:pt x="1735" y="467"/>
                  </a:lnTo>
                  <a:lnTo>
                    <a:pt x="1734" y="466"/>
                  </a:lnTo>
                  <a:lnTo>
                    <a:pt x="1733" y="463"/>
                  </a:lnTo>
                  <a:lnTo>
                    <a:pt x="1733" y="457"/>
                  </a:lnTo>
                  <a:lnTo>
                    <a:pt x="1733" y="451"/>
                  </a:lnTo>
                  <a:lnTo>
                    <a:pt x="1721" y="446"/>
                  </a:lnTo>
                  <a:lnTo>
                    <a:pt x="1721" y="436"/>
                  </a:lnTo>
                  <a:lnTo>
                    <a:pt x="1718" y="422"/>
                  </a:lnTo>
                  <a:lnTo>
                    <a:pt x="1716" y="408"/>
                  </a:lnTo>
                  <a:lnTo>
                    <a:pt x="1715" y="393"/>
                  </a:lnTo>
                  <a:lnTo>
                    <a:pt x="1704" y="388"/>
                  </a:lnTo>
                  <a:lnTo>
                    <a:pt x="1703" y="375"/>
                  </a:lnTo>
                  <a:lnTo>
                    <a:pt x="1702" y="362"/>
                  </a:lnTo>
                  <a:lnTo>
                    <a:pt x="1698" y="349"/>
                  </a:lnTo>
                  <a:lnTo>
                    <a:pt x="1695" y="336"/>
                  </a:lnTo>
                  <a:lnTo>
                    <a:pt x="1689" y="324"/>
                  </a:lnTo>
                  <a:lnTo>
                    <a:pt x="1685" y="312"/>
                  </a:lnTo>
                  <a:lnTo>
                    <a:pt x="1678" y="300"/>
                  </a:lnTo>
                  <a:lnTo>
                    <a:pt x="1672" y="287"/>
                  </a:lnTo>
                  <a:lnTo>
                    <a:pt x="1664" y="276"/>
                  </a:lnTo>
                  <a:lnTo>
                    <a:pt x="1655" y="266"/>
                  </a:lnTo>
                  <a:lnTo>
                    <a:pt x="1647" y="256"/>
                  </a:lnTo>
                  <a:lnTo>
                    <a:pt x="1638" y="246"/>
                  </a:lnTo>
                  <a:lnTo>
                    <a:pt x="1628" y="237"/>
                  </a:lnTo>
                  <a:lnTo>
                    <a:pt x="1619" y="228"/>
                  </a:lnTo>
                  <a:lnTo>
                    <a:pt x="1609" y="220"/>
                  </a:lnTo>
                  <a:lnTo>
                    <a:pt x="1599" y="214"/>
                  </a:lnTo>
                  <a:lnTo>
                    <a:pt x="1597" y="205"/>
                  </a:lnTo>
                  <a:lnTo>
                    <a:pt x="1593" y="196"/>
                  </a:lnTo>
                  <a:lnTo>
                    <a:pt x="1588" y="190"/>
                  </a:lnTo>
                  <a:lnTo>
                    <a:pt x="1582" y="189"/>
                  </a:lnTo>
                  <a:lnTo>
                    <a:pt x="1577" y="187"/>
                  </a:lnTo>
                  <a:lnTo>
                    <a:pt x="1574" y="185"/>
                  </a:lnTo>
                  <a:lnTo>
                    <a:pt x="1572" y="183"/>
                  </a:lnTo>
                  <a:lnTo>
                    <a:pt x="1571" y="181"/>
                  </a:lnTo>
                  <a:lnTo>
                    <a:pt x="1570" y="179"/>
                  </a:lnTo>
                  <a:lnTo>
                    <a:pt x="1559" y="173"/>
                  </a:lnTo>
                  <a:lnTo>
                    <a:pt x="1547" y="170"/>
                  </a:lnTo>
                  <a:lnTo>
                    <a:pt x="1535" y="167"/>
                  </a:lnTo>
                  <a:lnTo>
                    <a:pt x="1532" y="163"/>
                  </a:lnTo>
                  <a:lnTo>
                    <a:pt x="1522" y="154"/>
                  </a:lnTo>
                  <a:lnTo>
                    <a:pt x="1510" y="144"/>
                  </a:lnTo>
                  <a:lnTo>
                    <a:pt x="1494" y="133"/>
                  </a:lnTo>
                  <a:lnTo>
                    <a:pt x="1464" y="112"/>
                  </a:lnTo>
                  <a:lnTo>
                    <a:pt x="1448" y="103"/>
                  </a:lnTo>
                  <a:lnTo>
                    <a:pt x="1438" y="88"/>
                  </a:lnTo>
                  <a:lnTo>
                    <a:pt x="1429" y="69"/>
                  </a:lnTo>
                  <a:lnTo>
                    <a:pt x="1425" y="58"/>
                  </a:lnTo>
                  <a:lnTo>
                    <a:pt x="1422" y="50"/>
                  </a:lnTo>
                  <a:lnTo>
                    <a:pt x="1419" y="41"/>
                  </a:lnTo>
                  <a:lnTo>
                    <a:pt x="1419" y="34"/>
                  </a:lnTo>
                  <a:lnTo>
                    <a:pt x="1407" y="28"/>
                  </a:lnTo>
                  <a:lnTo>
                    <a:pt x="1407" y="21"/>
                  </a:lnTo>
                  <a:lnTo>
                    <a:pt x="1404" y="14"/>
                  </a:lnTo>
                  <a:lnTo>
                    <a:pt x="1400" y="7"/>
                  </a:lnTo>
                  <a:lnTo>
                    <a:pt x="1395" y="0"/>
                  </a:lnTo>
                  <a:lnTo>
                    <a:pt x="1395" y="7"/>
                  </a:lnTo>
                  <a:lnTo>
                    <a:pt x="1377" y="9"/>
                  </a:lnTo>
                  <a:lnTo>
                    <a:pt x="1343" y="14"/>
                  </a:lnTo>
                  <a:lnTo>
                    <a:pt x="1323" y="18"/>
                  </a:lnTo>
                  <a:lnTo>
                    <a:pt x="1301" y="23"/>
                  </a:lnTo>
                  <a:lnTo>
                    <a:pt x="1280" y="27"/>
                  </a:lnTo>
                  <a:lnTo>
                    <a:pt x="1259" y="33"/>
                  </a:lnTo>
                  <a:lnTo>
                    <a:pt x="1228" y="43"/>
                  </a:lnTo>
                  <a:lnTo>
                    <a:pt x="1204" y="54"/>
                  </a:lnTo>
                  <a:lnTo>
                    <a:pt x="1194" y="58"/>
                  </a:lnTo>
                  <a:lnTo>
                    <a:pt x="1183" y="63"/>
                  </a:lnTo>
                  <a:lnTo>
                    <a:pt x="1173" y="66"/>
                  </a:lnTo>
                  <a:lnTo>
                    <a:pt x="1164" y="69"/>
                  </a:lnTo>
                  <a:lnTo>
                    <a:pt x="1130" y="73"/>
                  </a:lnTo>
                  <a:lnTo>
                    <a:pt x="1094" y="81"/>
                  </a:lnTo>
                  <a:lnTo>
                    <a:pt x="1058" y="90"/>
                  </a:lnTo>
                  <a:lnTo>
                    <a:pt x="1019" y="99"/>
                  </a:lnTo>
                  <a:lnTo>
                    <a:pt x="979" y="110"/>
                  </a:lnTo>
                  <a:lnTo>
                    <a:pt x="940" y="121"/>
                  </a:lnTo>
                  <a:lnTo>
                    <a:pt x="901" y="132"/>
                  </a:lnTo>
                  <a:lnTo>
                    <a:pt x="864" y="142"/>
                  </a:lnTo>
                  <a:lnTo>
                    <a:pt x="822" y="154"/>
                  </a:lnTo>
                  <a:lnTo>
                    <a:pt x="780" y="168"/>
                  </a:lnTo>
                  <a:lnTo>
                    <a:pt x="739" y="181"/>
                  </a:lnTo>
                  <a:lnTo>
                    <a:pt x="699" y="195"/>
                  </a:lnTo>
                  <a:lnTo>
                    <a:pt x="626" y="223"/>
                  </a:lnTo>
                  <a:lnTo>
                    <a:pt x="560" y="250"/>
                  </a:lnTo>
                  <a:lnTo>
                    <a:pt x="504" y="275"/>
                  </a:lnTo>
                  <a:lnTo>
                    <a:pt x="460" y="296"/>
                  </a:lnTo>
                  <a:lnTo>
                    <a:pt x="430" y="312"/>
                  </a:lnTo>
                  <a:lnTo>
                    <a:pt x="416" y="322"/>
                  </a:lnTo>
                  <a:lnTo>
                    <a:pt x="398" y="322"/>
                  </a:lnTo>
                  <a:lnTo>
                    <a:pt x="397" y="325"/>
                  </a:lnTo>
                  <a:lnTo>
                    <a:pt x="395" y="329"/>
                  </a:lnTo>
                  <a:lnTo>
                    <a:pt x="391" y="332"/>
                  </a:lnTo>
                  <a:lnTo>
                    <a:pt x="387" y="334"/>
                  </a:lnTo>
                  <a:lnTo>
                    <a:pt x="378" y="339"/>
                  </a:lnTo>
                  <a:lnTo>
                    <a:pt x="370" y="340"/>
                  </a:lnTo>
                  <a:lnTo>
                    <a:pt x="365" y="354"/>
                  </a:lnTo>
                  <a:lnTo>
                    <a:pt x="361" y="368"/>
                  </a:lnTo>
                  <a:lnTo>
                    <a:pt x="342" y="368"/>
                  </a:lnTo>
                  <a:lnTo>
                    <a:pt x="342" y="377"/>
                  </a:lnTo>
                  <a:lnTo>
                    <a:pt x="341" y="385"/>
                  </a:lnTo>
                  <a:lnTo>
                    <a:pt x="340" y="389"/>
                  </a:lnTo>
                  <a:lnTo>
                    <a:pt x="339" y="392"/>
                  </a:lnTo>
                  <a:lnTo>
                    <a:pt x="336" y="394"/>
                  </a:lnTo>
                  <a:lnTo>
                    <a:pt x="333" y="396"/>
                  </a:lnTo>
                  <a:lnTo>
                    <a:pt x="332" y="399"/>
                  </a:lnTo>
                  <a:lnTo>
                    <a:pt x="331" y="401"/>
                  </a:lnTo>
                  <a:lnTo>
                    <a:pt x="330" y="404"/>
                  </a:lnTo>
                  <a:lnTo>
                    <a:pt x="328" y="407"/>
                  </a:lnTo>
                  <a:lnTo>
                    <a:pt x="321" y="410"/>
                  </a:lnTo>
                  <a:lnTo>
                    <a:pt x="314" y="413"/>
                  </a:lnTo>
                  <a:lnTo>
                    <a:pt x="306" y="418"/>
                  </a:lnTo>
                  <a:lnTo>
                    <a:pt x="300" y="422"/>
                  </a:lnTo>
                  <a:lnTo>
                    <a:pt x="296" y="425"/>
                  </a:lnTo>
                  <a:lnTo>
                    <a:pt x="294" y="427"/>
                  </a:lnTo>
                  <a:lnTo>
                    <a:pt x="292" y="430"/>
                  </a:lnTo>
                  <a:lnTo>
                    <a:pt x="291" y="433"/>
                  </a:lnTo>
                  <a:lnTo>
                    <a:pt x="288" y="440"/>
                  </a:lnTo>
                  <a:lnTo>
                    <a:pt x="287" y="447"/>
                  </a:lnTo>
                  <a:lnTo>
                    <a:pt x="287" y="454"/>
                  </a:lnTo>
                  <a:lnTo>
                    <a:pt x="287" y="460"/>
                  </a:lnTo>
                  <a:lnTo>
                    <a:pt x="290" y="474"/>
                  </a:lnTo>
                  <a:lnTo>
                    <a:pt x="292" y="487"/>
                  </a:lnTo>
                  <a:lnTo>
                    <a:pt x="294" y="500"/>
                  </a:lnTo>
                  <a:lnTo>
                    <a:pt x="296" y="514"/>
                  </a:lnTo>
                  <a:lnTo>
                    <a:pt x="296" y="526"/>
                  </a:lnTo>
                  <a:lnTo>
                    <a:pt x="295" y="538"/>
                  </a:lnTo>
                  <a:lnTo>
                    <a:pt x="293" y="544"/>
                  </a:lnTo>
                  <a:lnTo>
                    <a:pt x="290" y="550"/>
                  </a:lnTo>
                  <a:lnTo>
                    <a:pt x="287" y="555"/>
                  </a:lnTo>
                  <a:lnTo>
                    <a:pt x="283" y="560"/>
                  </a:lnTo>
                  <a:lnTo>
                    <a:pt x="274" y="569"/>
                  </a:lnTo>
                  <a:lnTo>
                    <a:pt x="264" y="577"/>
                  </a:lnTo>
                  <a:lnTo>
                    <a:pt x="243" y="594"/>
                  </a:lnTo>
                  <a:lnTo>
                    <a:pt x="223" y="610"/>
                  </a:lnTo>
                  <a:lnTo>
                    <a:pt x="207" y="625"/>
                  </a:lnTo>
                  <a:lnTo>
                    <a:pt x="190" y="640"/>
                  </a:lnTo>
                  <a:lnTo>
                    <a:pt x="185" y="643"/>
                  </a:lnTo>
                  <a:lnTo>
                    <a:pt x="178" y="646"/>
                  </a:lnTo>
                  <a:lnTo>
                    <a:pt x="171" y="648"/>
                  </a:lnTo>
                  <a:lnTo>
                    <a:pt x="165" y="650"/>
                  </a:lnTo>
                  <a:lnTo>
                    <a:pt x="157" y="651"/>
                  </a:lnTo>
                  <a:lnTo>
                    <a:pt x="148" y="651"/>
                  </a:lnTo>
                  <a:lnTo>
                    <a:pt x="138" y="650"/>
                  </a:lnTo>
                  <a:lnTo>
                    <a:pt x="127" y="648"/>
                  </a:lnTo>
                  <a:lnTo>
                    <a:pt x="115" y="646"/>
                  </a:lnTo>
                  <a:lnTo>
                    <a:pt x="105" y="642"/>
                  </a:lnTo>
                  <a:lnTo>
                    <a:pt x="95" y="638"/>
                  </a:lnTo>
                  <a:lnTo>
                    <a:pt x="85" y="633"/>
                  </a:lnTo>
                  <a:lnTo>
                    <a:pt x="69" y="623"/>
                  </a:lnTo>
                  <a:lnTo>
                    <a:pt x="55" y="613"/>
                  </a:lnTo>
                  <a:lnTo>
                    <a:pt x="48" y="610"/>
                  </a:lnTo>
                  <a:lnTo>
                    <a:pt x="43" y="606"/>
                  </a:lnTo>
                  <a:lnTo>
                    <a:pt x="38" y="604"/>
                  </a:lnTo>
                  <a:lnTo>
                    <a:pt x="35" y="604"/>
                  </a:lnTo>
                  <a:lnTo>
                    <a:pt x="32" y="604"/>
                  </a:lnTo>
                  <a:lnTo>
                    <a:pt x="29" y="606"/>
                  </a:lnTo>
                  <a:lnTo>
                    <a:pt x="28" y="611"/>
                  </a:lnTo>
                  <a:lnTo>
                    <a:pt x="28" y="618"/>
                  </a:lnTo>
                  <a:lnTo>
                    <a:pt x="14" y="622"/>
                  </a:lnTo>
                  <a:lnTo>
                    <a:pt x="0" y="627"/>
                  </a:lnTo>
                  <a:lnTo>
                    <a:pt x="0" y="638"/>
                  </a:lnTo>
                  <a:lnTo>
                    <a:pt x="2" y="653"/>
                  </a:lnTo>
                  <a:lnTo>
                    <a:pt x="3" y="660"/>
                  </a:lnTo>
                  <a:lnTo>
                    <a:pt x="4" y="667"/>
                  </a:lnTo>
                  <a:lnTo>
                    <a:pt x="5" y="669"/>
                  </a:lnTo>
                  <a:lnTo>
                    <a:pt x="6" y="671"/>
                  </a:lnTo>
                  <a:lnTo>
                    <a:pt x="8" y="672"/>
                  </a:lnTo>
                  <a:lnTo>
                    <a:pt x="9" y="672"/>
                  </a:lnTo>
                  <a:lnTo>
                    <a:pt x="9" y="681"/>
                  </a:lnTo>
                  <a:lnTo>
                    <a:pt x="8" y="692"/>
                  </a:lnTo>
                  <a:lnTo>
                    <a:pt x="6" y="705"/>
                  </a:lnTo>
                  <a:lnTo>
                    <a:pt x="4" y="717"/>
                  </a:lnTo>
                  <a:close/>
                </a:path>
              </a:pathLst>
            </a:custGeom>
            <a:solidFill>
              <a:srgbClr val="D9D9D9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7" name="Freeform 53"/>
            <p:cNvSpPr>
              <a:spLocks noChangeAspect="1"/>
            </p:cNvSpPr>
            <p:nvPr/>
          </p:nvSpPr>
          <p:spPr bwMode="gray">
            <a:xfrm rot="355651">
              <a:off x="6718974" y="2432050"/>
              <a:ext cx="410487" cy="240601"/>
            </a:xfrm>
            <a:custGeom>
              <a:avLst/>
              <a:gdLst/>
              <a:ahLst/>
              <a:cxnLst>
                <a:cxn ang="0">
                  <a:pos x="102" y="349"/>
                </a:cxn>
                <a:cxn ang="0">
                  <a:pos x="221" y="337"/>
                </a:cxn>
                <a:cxn ang="0">
                  <a:pos x="328" y="299"/>
                </a:cxn>
                <a:cxn ang="0">
                  <a:pos x="430" y="241"/>
                </a:cxn>
                <a:cxn ang="0">
                  <a:pos x="624" y="233"/>
                </a:cxn>
                <a:cxn ang="0">
                  <a:pos x="778" y="185"/>
                </a:cxn>
                <a:cxn ang="0">
                  <a:pos x="926" y="90"/>
                </a:cxn>
                <a:cxn ang="0">
                  <a:pos x="1167" y="6"/>
                </a:cxn>
                <a:cxn ang="0">
                  <a:pos x="1276" y="15"/>
                </a:cxn>
                <a:cxn ang="0">
                  <a:pos x="1479" y="58"/>
                </a:cxn>
                <a:cxn ang="0">
                  <a:pos x="1636" y="91"/>
                </a:cxn>
                <a:cxn ang="0">
                  <a:pos x="1722" y="71"/>
                </a:cxn>
                <a:cxn ang="0">
                  <a:pos x="1807" y="137"/>
                </a:cxn>
                <a:cxn ang="0">
                  <a:pos x="1898" y="233"/>
                </a:cxn>
                <a:cxn ang="0">
                  <a:pos x="2089" y="314"/>
                </a:cxn>
                <a:cxn ang="0">
                  <a:pos x="2224" y="425"/>
                </a:cxn>
                <a:cxn ang="0">
                  <a:pos x="2216" y="479"/>
                </a:cxn>
                <a:cxn ang="0">
                  <a:pos x="2116" y="535"/>
                </a:cxn>
                <a:cxn ang="0">
                  <a:pos x="1998" y="585"/>
                </a:cxn>
                <a:cxn ang="0">
                  <a:pos x="1917" y="633"/>
                </a:cxn>
                <a:cxn ang="0">
                  <a:pos x="1845" y="738"/>
                </a:cxn>
                <a:cxn ang="0">
                  <a:pos x="1730" y="772"/>
                </a:cxn>
                <a:cxn ang="0">
                  <a:pos x="1634" y="870"/>
                </a:cxn>
                <a:cxn ang="0">
                  <a:pos x="1629" y="1033"/>
                </a:cxn>
                <a:cxn ang="0">
                  <a:pos x="1561" y="1107"/>
                </a:cxn>
                <a:cxn ang="0">
                  <a:pos x="1441" y="1121"/>
                </a:cxn>
                <a:cxn ang="0">
                  <a:pos x="1384" y="1165"/>
                </a:cxn>
                <a:cxn ang="0">
                  <a:pos x="1302" y="1223"/>
                </a:cxn>
                <a:cxn ang="0">
                  <a:pos x="1279" y="1255"/>
                </a:cxn>
                <a:cxn ang="0">
                  <a:pos x="1254" y="1284"/>
                </a:cxn>
                <a:cxn ang="0">
                  <a:pos x="1227" y="1303"/>
                </a:cxn>
                <a:cxn ang="0">
                  <a:pos x="1204" y="1340"/>
                </a:cxn>
                <a:cxn ang="0">
                  <a:pos x="1181" y="1449"/>
                </a:cxn>
                <a:cxn ang="0">
                  <a:pos x="1115" y="1492"/>
                </a:cxn>
                <a:cxn ang="0">
                  <a:pos x="1073" y="1455"/>
                </a:cxn>
                <a:cxn ang="0">
                  <a:pos x="1061" y="1439"/>
                </a:cxn>
                <a:cxn ang="0">
                  <a:pos x="1032" y="1436"/>
                </a:cxn>
                <a:cxn ang="0">
                  <a:pos x="993" y="1418"/>
                </a:cxn>
                <a:cxn ang="0">
                  <a:pos x="957" y="1396"/>
                </a:cxn>
                <a:cxn ang="0">
                  <a:pos x="935" y="1387"/>
                </a:cxn>
                <a:cxn ang="0">
                  <a:pos x="871" y="1362"/>
                </a:cxn>
                <a:cxn ang="0">
                  <a:pos x="824" y="1343"/>
                </a:cxn>
                <a:cxn ang="0">
                  <a:pos x="787" y="1328"/>
                </a:cxn>
                <a:cxn ang="0">
                  <a:pos x="765" y="1296"/>
                </a:cxn>
                <a:cxn ang="0">
                  <a:pos x="755" y="1277"/>
                </a:cxn>
                <a:cxn ang="0">
                  <a:pos x="738" y="1223"/>
                </a:cxn>
                <a:cxn ang="0">
                  <a:pos x="696" y="1170"/>
                </a:cxn>
                <a:cxn ang="0">
                  <a:pos x="651" y="1198"/>
                </a:cxn>
                <a:cxn ang="0">
                  <a:pos x="487" y="1156"/>
                </a:cxn>
                <a:cxn ang="0">
                  <a:pos x="424" y="1100"/>
                </a:cxn>
                <a:cxn ang="0">
                  <a:pos x="401" y="1087"/>
                </a:cxn>
                <a:cxn ang="0">
                  <a:pos x="332" y="1027"/>
                </a:cxn>
                <a:cxn ang="0">
                  <a:pos x="303" y="989"/>
                </a:cxn>
                <a:cxn ang="0">
                  <a:pos x="244" y="917"/>
                </a:cxn>
                <a:cxn ang="0">
                  <a:pos x="235" y="906"/>
                </a:cxn>
                <a:cxn ang="0">
                  <a:pos x="199" y="880"/>
                </a:cxn>
                <a:cxn ang="0">
                  <a:pos x="152" y="827"/>
                </a:cxn>
                <a:cxn ang="0">
                  <a:pos x="131" y="699"/>
                </a:cxn>
                <a:cxn ang="0">
                  <a:pos x="107" y="611"/>
                </a:cxn>
                <a:cxn ang="0">
                  <a:pos x="60" y="564"/>
                </a:cxn>
                <a:cxn ang="0">
                  <a:pos x="39" y="477"/>
                </a:cxn>
                <a:cxn ang="0">
                  <a:pos x="30" y="440"/>
                </a:cxn>
                <a:cxn ang="0">
                  <a:pos x="21" y="430"/>
                </a:cxn>
              </a:cxnLst>
              <a:rect l="0" t="0" r="r" b="b"/>
              <a:pathLst>
                <a:path w="2248" h="1495">
                  <a:moveTo>
                    <a:pt x="0" y="416"/>
                  </a:moveTo>
                  <a:lnTo>
                    <a:pt x="16" y="401"/>
                  </a:lnTo>
                  <a:lnTo>
                    <a:pt x="31" y="387"/>
                  </a:lnTo>
                  <a:lnTo>
                    <a:pt x="49" y="375"/>
                  </a:lnTo>
                  <a:lnTo>
                    <a:pt x="68" y="363"/>
                  </a:lnTo>
                  <a:lnTo>
                    <a:pt x="79" y="358"/>
                  </a:lnTo>
                  <a:lnTo>
                    <a:pt x="91" y="353"/>
                  </a:lnTo>
                  <a:lnTo>
                    <a:pt x="102" y="349"/>
                  </a:lnTo>
                  <a:lnTo>
                    <a:pt x="115" y="346"/>
                  </a:lnTo>
                  <a:lnTo>
                    <a:pt x="129" y="343"/>
                  </a:lnTo>
                  <a:lnTo>
                    <a:pt x="143" y="341"/>
                  </a:lnTo>
                  <a:lnTo>
                    <a:pt x="159" y="340"/>
                  </a:lnTo>
                  <a:lnTo>
                    <a:pt x="174" y="339"/>
                  </a:lnTo>
                  <a:lnTo>
                    <a:pt x="191" y="339"/>
                  </a:lnTo>
                  <a:lnTo>
                    <a:pt x="207" y="338"/>
                  </a:lnTo>
                  <a:lnTo>
                    <a:pt x="221" y="337"/>
                  </a:lnTo>
                  <a:lnTo>
                    <a:pt x="235" y="335"/>
                  </a:lnTo>
                  <a:lnTo>
                    <a:pt x="248" y="333"/>
                  </a:lnTo>
                  <a:lnTo>
                    <a:pt x="259" y="330"/>
                  </a:lnTo>
                  <a:lnTo>
                    <a:pt x="270" y="327"/>
                  </a:lnTo>
                  <a:lnTo>
                    <a:pt x="280" y="323"/>
                  </a:lnTo>
                  <a:lnTo>
                    <a:pt x="298" y="315"/>
                  </a:lnTo>
                  <a:lnTo>
                    <a:pt x="315" y="308"/>
                  </a:lnTo>
                  <a:lnTo>
                    <a:pt x="328" y="299"/>
                  </a:lnTo>
                  <a:lnTo>
                    <a:pt x="342" y="289"/>
                  </a:lnTo>
                  <a:lnTo>
                    <a:pt x="354" y="280"/>
                  </a:lnTo>
                  <a:lnTo>
                    <a:pt x="366" y="270"/>
                  </a:lnTo>
                  <a:lnTo>
                    <a:pt x="379" y="262"/>
                  </a:lnTo>
                  <a:lnTo>
                    <a:pt x="391" y="254"/>
                  </a:lnTo>
                  <a:lnTo>
                    <a:pt x="405" y="247"/>
                  </a:lnTo>
                  <a:lnTo>
                    <a:pt x="421" y="243"/>
                  </a:lnTo>
                  <a:lnTo>
                    <a:pt x="430" y="241"/>
                  </a:lnTo>
                  <a:lnTo>
                    <a:pt x="439" y="240"/>
                  </a:lnTo>
                  <a:lnTo>
                    <a:pt x="449" y="238"/>
                  </a:lnTo>
                  <a:lnTo>
                    <a:pt x="460" y="238"/>
                  </a:lnTo>
                  <a:lnTo>
                    <a:pt x="506" y="238"/>
                  </a:lnTo>
                  <a:lnTo>
                    <a:pt x="554" y="237"/>
                  </a:lnTo>
                  <a:lnTo>
                    <a:pt x="577" y="236"/>
                  </a:lnTo>
                  <a:lnTo>
                    <a:pt x="601" y="235"/>
                  </a:lnTo>
                  <a:lnTo>
                    <a:pt x="624" y="233"/>
                  </a:lnTo>
                  <a:lnTo>
                    <a:pt x="646" y="231"/>
                  </a:lnTo>
                  <a:lnTo>
                    <a:pt x="669" y="226"/>
                  </a:lnTo>
                  <a:lnTo>
                    <a:pt x="690" y="223"/>
                  </a:lnTo>
                  <a:lnTo>
                    <a:pt x="710" y="217"/>
                  </a:lnTo>
                  <a:lnTo>
                    <a:pt x="729" y="210"/>
                  </a:lnTo>
                  <a:lnTo>
                    <a:pt x="747" y="204"/>
                  </a:lnTo>
                  <a:lnTo>
                    <a:pt x="764" y="195"/>
                  </a:lnTo>
                  <a:lnTo>
                    <a:pt x="778" y="185"/>
                  </a:lnTo>
                  <a:lnTo>
                    <a:pt x="792" y="174"/>
                  </a:lnTo>
                  <a:lnTo>
                    <a:pt x="802" y="165"/>
                  </a:lnTo>
                  <a:lnTo>
                    <a:pt x="815" y="155"/>
                  </a:lnTo>
                  <a:lnTo>
                    <a:pt x="832" y="144"/>
                  </a:lnTo>
                  <a:lnTo>
                    <a:pt x="851" y="131"/>
                  </a:lnTo>
                  <a:lnTo>
                    <a:pt x="874" y="118"/>
                  </a:lnTo>
                  <a:lnTo>
                    <a:pt x="899" y="103"/>
                  </a:lnTo>
                  <a:lnTo>
                    <a:pt x="926" y="90"/>
                  </a:lnTo>
                  <a:lnTo>
                    <a:pt x="953" y="75"/>
                  </a:lnTo>
                  <a:lnTo>
                    <a:pt x="983" y="62"/>
                  </a:lnTo>
                  <a:lnTo>
                    <a:pt x="1013" y="50"/>
                  </a:lnTo>
                  <a:lnTo>
                    <a:pt x="1044" y="37"/>
                  </a:lnTo>
                  <a:lnTo>
                    <a:pt x="1075" y="27"/>
                  </a:lnTo>
                  <a:lnTo>
                    <a:pt x="1106" y="19"/>
                  </a:lnTo>
                  <a:lnTo>
                    <a:pt x="1137" y="11"/>
                  </a:lnTo>
                  <a:lnTo>
                    <a:pt x="1167" y="6"/>
                  </a:lnTo>
                  <a:lnTo>
                    <a:pt x="1195" y="3"/>
                  </a:lnTo>
                  <a:lnTo>
                    <a:pt x="1225" y="1"/>
                  </a:lnTo>
                  <a:lnTo>
                    <a:pt x="1246" y="0"/>
                  </a:lnTo>
                  <a:lnTo>
                    <a:pt x="1252" y="1"/>
                  </a:lnTo>
                  <a:lnTo>
                    <a:pt x="1256" y="2"/>
                  </a:lnTo>
                  <a:lnTo>
                    <a:pt x="1260" y="4"/>
                  </a:lnTo>
                  <a:lnTo>
                    <a:pt x="1265" y="7"/>
                  </a:lnTo>
                  <a:lnTo>
                    <a:pt x="1276" y="15"/>
                  </a:lnTo>
                  <a:lnTo>
                    <a:pt x="1288" y="26"/>
                  </a:lnTo>
                  <a:lnTo>
                    <a:pt x="1293" y="29"/>
                  </a:lnTo>
                  <a:lnTo>
                    <a:pt x="1303" y="31"/>
                  </a:lnTo>
                  <a:lnTo>
                    <a:pt x="1316" y="33"/>
                  </a:lnTo>
                  <a:lnTo>
                    <a:pt x="1334" y="36"/>
                  </a:lnTo>
                  <a:lnTo>
                    <a:pt x="1377" y="43"/>
                  </a:lnTo>
                  <a:lnTo>
                    <a:pt x="1427" y="50"/>
                  </a:lnTo>
                  <a:lnTo>
                    <a:pt x="1479" y="58"/>
                  </a:lnTo>
                  <a:lnTo>
                    <a:pt x="1527" y="67"/>
                  </a:lnTo>
                  <a:lnTo>
                    <a:pt x="1548" y="70"/>
                  </a:lnTo>
                  <a:lnTo>
                    <a:pt x="1566" y="74"/>
                  </a:lnTo>
                  <a:lnTo>
                    <a:pt x="1582" y="78"/>
                  </a:lnTo>
                  <a:lnTo>
                    <a:pt x="1592" y="82"/>
                  </a:lnTo>
                  <a:lnTo>
                    <a:pt x="1608" y="87"/>
                  </a:lnTo>
                  <a:lnTo>
                    <a:pt x="1622" y="90"/>
                  </a:lnTo>
                  <a:lnTo>
                    <a:pt x="1636" y="91"/>
                  </a:lnTo>
                  <a:lnTo>
                    <a:pt x="1648" y="90"/>
                  </a:lnTo>
                  <a:lnTo>
                    <a:pt x="1659" y="88"/>
                  </a:lnTo>
                  <a:lnTo>
                    <a:pt x="1671" y="85"/>
                  </a:lnTo>
                  <a:lnTo>
                    <a:pt x="1681" y="82"/>
                  </a:lnTo>
                  <a:lnTo>
                    <a:pt x="1692" y="79"/>
                  </a:lnTo>
                  <a:lnTo>
                    <a:pt x="1701" y="75"/>
                  </a:lnTo>
                  <a:lnTo>
                    <a:pt x="1711" y="72"/>
                  </a:lnTo>
                  <a:lnTo>
                    <a:pt x="1722" y="71"/>
                  </a:lnTo>
                  <a:lnTo>
                    <a:pt x="1730" y="70"/>
                  </a:lnTo>
                  <a:lnTo>
                    <a:pt x="1740" y="71"/>
                  </a:lnTo>
                  <a:lnTo>
                    <a:pt x="1751" y="75"/>
                  </a:lnTo>
                  <a:lnTo>
                    <a:pt x="1759" y="81"/>
                  </a:lnTo>
                  <a:lnTo>
                    <a:pt x="1771" y="90"/>
                  </a:lnTo>
                  <a:lnTo>
                    <a:pt x="1783" y="103"/>
                  </a:lnTo>
                  <a:lnTo>
                    <a:pt x="1795" y="120"/>
                  </a:lnTo>
                  <a:lnTo>
                    <a:pt x="1807" y="137"/>
                  </a:lnTo>
                  <a:lnTo>
                    <a:pt x="1820" y="155"/>
                  </a:lnTo>
                  <a:lnTo>
                    <a:pt x="1833" y="174"/>
                  </a:lnTo>
                  <a:lnTo>
                    <a:pt x="1848" y="192"/>
                  </a:lnTo>
                  <a:lnTo>
                    <a:pt x="1857" y="200"/>
                  </a:lnTo>
                  <a:lnTo>
                    <a:pt x="1864" y="208"/>
                  </a:lnTo>
                  <a:lnTo>
                    <a:pt x="1873" y="216"/>
                  </a:lnTo>
                  <a:lnTo>
                    <a:pt x="1883" y="224"/>
                  </a:lnTo>
                  <a:lnTo>
                    <a:pt x="1898" y="233"/>
                  </a:lnTo>
                  <a:lnTo>
                    <a:pt x="1912" y="242"/>
                  </a:lnTo>
                  <a:lnTo>
                    <a:pt x="1928" y="251"/>
                  </a:lnTo>
                  <a:lnTo>
                    <a:pt x="1944" y="257"/>
                  </a:lnTo>
                  <a:lnTo>
                    <a:pt x="1976" y="271"/>
                  </a:lnTo>
                  <a:lnTo>
                    <a:pt x="2008" y="283"/>
                  </a:lnTo>
                  <a:lnTo>
                    <a:pt x="2041" y="295"/>
                  </a:lnTo>
                  <a:lnTo>
                    <a:pt x="2073" y="308"/>
                  </a:lnTo>
                  <a:lnTo>
                    <a:pt x="2089" y="314"/>
                  </a:lnTo>
                  <a:lnTo>
                    <a:pt x="2104" y="321"/>
                  </a:lnTo>
                  <a:lnTo>
                    <a:pt x="2120" y="329"/>
                  </a:lnTo>
                  <a:lnTo>
                    <a:pt x="2136" y="338"/>
                  </a:lnTo>
                  <a:lnTo>
                    <a:pt x="2151" y="349"/>
                  </a:lnTo>
                  <a:lnTo>
                    <a:pt x="2167" y="362"/>
                  </a:lnTo>
                  <a:lnTo>
                    <a:pt x="2183" y="377"/>
                  </a:lnTo>
                  <a:lnTo>
                    <a:pt x="2197" y="394"/>
                  </a:lnTo>
                  <a:lnTo>
                    <a:pt x="2224" y="425"/>
                  </a:lnTo>
                  <a:lnTo>
                    <a:pt x="2246" y="449"/>
                  </a:lnTo>
                  <a:lnTo>
                    <a:pt x="2247" y="452"/>
                  </a:lnTo>
                  <a:lnTo>
                    <a:pt x="2248" y="454"/>
                  </a:lnTo>
                  <a:lnTo>
                    <a:pt x="2247" y="456"/>
                  </a:lnTo>
                  <a:lnTo>
                    <a:pt x="2246" y="458"/>
                  </a:lnTo>
                  <a:lnTo>
                    <a:pt x="2242" y="463"/>
                  </a:lnTo>
                  <a:lnTo>
                    <a:pt x="2235" y="468"/>
                  </a:lnTo>
                  <a:lnTo>
                    <a:pt x="2216" y="479"/>
                  </a:lnTo>
                  <a:lnTo>
                    <a:pt x="2193" y="492"/>
                  </a:lnTo>
                  <a:lnTo>
                    <a:pt x="2167" y="503"/>
                  </a:lnTo>
                  <a:lnTo>
                    <a:pt x="2143" y="514"/>
                  </a:lnTo>
                  <a:lnTo>
                    <a:pt x="2135" y="520"/>
                  </a:lnTo>
                  <a:lnTo>
                    <a:pt x="2127" y="524"/>
                  </a:lnTo>
                  <a:lnTo>
                    <a:pt x="2120" y="529"/>
                  </a:lnTo>
                  <a:lnTo>
                    <a:pt x="2118" y="533"/>
                  </a:lnTo>
                  <a:lnTo>
                    <a:pt x="2116" y="535"/>
                  </a:lnTo>
                  <a:lnTo>
                    <a:pt x="2112" y="537"/>
                  </a:lnTo>
                  <a:lnTo>
                    <a:pt x="2107" y="541"/>
                  </a:lnTo>
                  <a:lnTo>
                    <a:pt x="2099" y="544"/>
                  </a:lnTo>
                  <a:lnTo>
                    <a:pt x="2079" y="552"/>
                  </a:lnTo>
                  <a:lnTo>
                    <a:pt x="2055" y="561"/>
                  </a:lnTo>
                  <a:lnTo>
                    <a:pt x="2031" y="571"/>
                  </a:lnTo>
                  <a:lnTo>
                    <a:pt x="2008" y="581"/>
                  </a:lnTo>
                  <a:lnTo>
                    <a:pt x="1998" y="585"/>
                  </a:lnTo>
                  <a:lnTo>
                    <a:pt x="1991" y="590"/>
                  </a:lnTo>
                  <a:lnTo>
                    <a:pt x="1984" y="593"/>
                  </a:lnTo>
                  <a:lnTo>
                    <a:pt x="1979" y="597"/>
                  </a:lnTo>
                  <a:lnTo>
                    <a:pt x="1972" y="600"/>
                  </a:lnTo>
                  <a:lnTo>
                    <a:pt x="1955" y="608"/>
                  </a:lnTo>
                  <a:lnTo>
                    <a:pt x="1937" y="617"/>
                  </a:lnTo>
                  <a:lnTo>
                    <a:pt x="1924" y="625"/>
                  </a:lnTo>
                  <a:lnTo>
                    <a:pt x="1917" y="633"/>
                  </a:lnTo>
                  <a:lnTo>
                    <a:pt x="1909" y="646"/>
                  </a:lnTo>
                  <a:lnTo>
                    <a:pt x="1900" y="660"/>
                  </a:lnTo>
                  <a:lnTo>
                    <a:pt x="1890" y="677"/>
                  </a:lnTo>
                  <a:lnTo>
                    <a:pt x="1881" y="693"/>
                  </a:lnTo>
                  <a:lnTo>
                    <a:pt x="1871" y="709"/>
                  </a:lnTo>
                  <a:lnTo>
                    <a:pt x="1861" y="723"/>
                  </a:lnTo>
                  <a:lnTo>
                    <a:pt x="1850" y="735"/>
                  </a:lnTo>
                  <a:lnTo>
                    <a:pt x="1845" y="738"/>
                  </a:lnTo>
                  <a:lnTo>
                    <a:pt x="1840" y="742"/>
                  </a:lnTo>
                  <a:lnTo>
                    <a:pt x="1832" y="745"/>
                  </a:lnTo>
                  <a:lnTo>
                    <a:pt x="1823" y="747"/>
                  </a:lnTo>
                  <a:lnTo>
                    <a:pt x="1803" y="753"/>
                  </a:lnTo>
                  <a:lnTo>
                    <a:pt x="1782" y="758"/>
                  </a:lnTo>
                  <a:lnTo>
                    <a:pt x="1759" y="763"/>
                  </a:lnTo>
                  <a:lnTo>
                    <a:pt x="1739" y="769"/>
                  </a:lnTo>
                  <a:lnTo>
                    <a:pt x="1730" y="772"/>
                  </a:lnTo>
                  <a:lnTo>
                    <a:pt x="1723" y="775"/>
                  </a:lnTo>
                  <a:lnTo>
                    <a:pt x="1717" y="777"/>
                  </a:lnTo>
                  <a:lnTo>
                    <a:pt x="1713" y="781"/>
                  </a:lnTo>
                  <a:lnTo>
                    <a:pt x="1696" y="800"/>
                  </a:lnTo>
                  <a:lnTo>
                    <a:pt x="1676" y="822"/>
                  </a:lnTo>
                  <a:lnTo>
                    <a:pt x="1656" y="846"/>
                  </a:lnTo>
                  <a:lnTo>
                    <a:pt x="1639" y="864"/>
                  </a:lnTo>
                  <a:lnTo>
                    <a:pt x="1634" y="870"/>
                  </a:lnTo>
                  <a:lnTo>
                    <a:pt x="1630" y="877"/>
                  </a:lnTo>
                  <a:lnTo>
                    <a:pt x="1628" y="885"/>
                  </a:lnTo>
                  <a:lnTo>
                    <a:pt x="1626" y="895"/>
                  </a:lnTo>
                  <a:lnTo>
                    <a:pt x="1623" y="916"/>
                  </a:lnTo>
                  <a:lnTo>
                    <a:pt x="1623" y="942"/>
                  </a:lnTo>
                  <a:lnTo>
                    <a:pt x="1626" y="969"/>
                  </a:lnTo>
                  <a:lnTo>
                    <a:pt x="1627" y="1000"/>
                  </a:lnTo>
                  <a:lnTo>
                    <a:pt x="1629" y="1033"/>
                  </a:lnTo>
                  <a:lnTo>
                    <a:pt x="1629" y="1067"/>
                  </a:lnTo>
                  <a:lnTo>
                    <a:pt x="1629" y="1077"/>
                  </a:lnTo>
                  <a:lnTo>
                    <a:pt x="1629" y="1085"/>
                  </a:lnTo>
                  <a:lnTo>
                    <a:pt x="1629" y="1094"/>
                  </a:lnTo>
                  <a:lnTo>
                    <a:pt x="1629" y="1103"/>
                  </a:lnTo>
                  <a:lnTo>
                    <a:pt x="1608" y="1104"/>
                  </a:lnTo>
                  <a:lnTo>
                    <a:pt x="1584" y="1106"/>
                  </a:lnTo>
                  <a:lnTo>
                    <a:pt x="1561" y="1107"/>
                  </a:lnTo>
                  <a:lnTo>
                    <a:pt x="1537" y="1109"/>
                  </a:lnTo>
                  <a:lnTo>
                    <a:pt x="1514" y="1110"/>
                  </a:lnTo>
                  <a:lnTo>
                    <a:pt x="1490" y="1111"/>
                  </a:lnTo>
                  <a:lnTo>
                    <a:pt x="1469" y="1112"/>
                  </a:lnTo>
                  <a:lnTo>
                    <a:pt x="1448" y="1113"/>
                  </a:lnTo>
                  <a:lnTo>
                    <a:pt x="1447" y="1116"/>
                  </a:lnTo>
                  <a:lnTo>
                    <a:pt x="1445" y="1118"/>
                  </a:lnTo>
                  <a:lnTo>
                    <a:pt x="1441" y="1121"/>
                  </a:lnTo>
                  <a:lnTo>
                    <a:pt x="1438" y="1125"/>
                  </a:lnTo>
                  <a:lnTo>
                    <a:pt x="1433" y="1127"/>
                  </a:lnTo>
                  <a:lnTo>
                    <a:pt x="1428" y="1129"/>
                  </a:lnTo>
                  <a:lnTo>
                    <a:pt x="1423" y="1131"/>
                  </a:lnTo>
                  <a:lnTo>
                    <a:pt x="1420" y="1131"/>
                  </a:lnTo>
                  <a:lnTo>
                    <a:pt x="1415" y="1138"/>
                  </a:lnTo>
                  <a:lnTo>
                    <a:pt x="1401" y="1150"/>
                  </a:lnTo>
                  <a:lnTo>
                    <a:pt x="1384" y="1165"/>
                  </a:lnTo>
                  <a:lnTo>
                    <a:pt x="1364" y="1180"/>
                  </a:lnTo>
                  <a:lnTo>
                    <a:pt x="1344" y="1196"/>
                  </a:lnTo>
                  <a:lnTo>
                    <a:pt x="1326" y="1208"/>
                  </a:lnTo>
                  <a:lnTo>
                    <a:pt x="1317" y="1214"/>
                  </a:lnTo>
                  <a:lnTo>
                    <a:pt x="1311" y="1218"/>
                  </a:lnTo>
                  <a:lnTo>
                    <a:pt x="1305" y="1221"/>
                  </a:lnTo>
                  <a:lnTo>
                    <a:pt x="1302" y="1222"/>
                  </a:lnTo>
                  <a:lnTo>
                    <a:pt x="1302" y="1223"/>
                  </a:lnTo>
                  <a:lnTo>
                    <a:pt x="1300" y="1226"/>
                  </a:lnTo>
                  <a:lnTo>
                    <a:pt x="1296" y="1229"/>
                  </a:lnTo>
                  <a:lnTo>
                    <a:pt x="1293" y="1231"/>
                  </a:lnTo>
                  <a:lnTo>
                    <a:pt x="1292" y="1235"/>
                  </a:lnTo>
                  <a:lnTo>
                    <a:pt x="1289" y="1239"/>
                  </a:lnTo>
                  <a:lnTo>
                    <a:pt x="1286" y="1244"/>
                  </a:lnTo>
                  <a:lnTo>
                    <a:pt x="1283" y="1250"/>
                  </a:lnTo>
                  <a:lnTo>
                    <a:pt x="1279" y="1255"/>
                  </a:lnTo>
                  <a:lnTo>
                    <a:pt x="1277" y="1260"/>
                  </a:lnTo>
                  <a:lnTo>
                    <a:pt x="1275" y="1264"/>
                  </a:lnTo>
                  <a:lnTo>
                    <a:pt x="1274" y="1269"/>
                  </a:lnTo>
                  <a:lnTo>
                    <a:pt x="1269" y="1271"/>
                  </a:lnTo>
                  <a:lnTo>
                    <a:pt x="1265" y="1275"/>
                  </a:lnTo>
                  <a:lnTo>
                    <a:pt x="1262" y="1281"/>
                  </a:lnTo>
                  <a:lnTo>
                    <a:pt x="1259" y="1283"/>
                  </a:lnTo>
                  <a:lnTo>
                    <a:pt x="1254" y="1284"/>
                  </a:lnTo>
                  <a:lnTo>
                    <a:pt x="1246" y="1287"/>
                  </a:lnTo>
                  <a:lnTo>
                    <a:pt x="1243" y="1290"/>
                  </a:lnTo>
                  <a:lnTo>
                    <a:pt x="1239" y="1293"/>
                  </a:lnTo>
                  <a:lnTo>
                    <a:pt x="1237" y="1295"/>
                  </a:lnTo>
                  <a:lnTo>
                    <a:pt x="1236" y="1296"/>
                  </a:lnTo>
                  <a:lnTo>
                    <a:pt x="1233" y="1298"/>
                  </a:lnTo>
                  <a:lnTo>
                    <a:pt x="1229" y="1300"/>
                  </a:lnTo>
                  <a:lnTo>
                    <a:pt x="1227" y="1303"/>
                  </a:lnTo>
                  <a:lnTo>
                    <a:pt x="1227" y="1306"/>
                  </a:lnTo>
                  <a:lnTo>
                    <a:pt x="1221" y="1308"/>
                  </a:lnTo>
                  <a:lnTo>
                    <a:pt x="1217" y="1311"/>
                  </a:lnTo>
                  <a:lnTo>
                    <a:pt x="1212" y="1315"/>
                  </a:lnTo>
                  <a:lnTo>
                    <a:pt x="1209" y="1321"/>
                  </a:lnTo>
                  <a:lnTo>
                    <a:pt x="1207" y="1328"/>
                  </a:lnTo>
                  <a:lnTo>
                    <a:pt x="1205" y="1334"/>
                  </a:lnTo>
                  <a:lnTo>
                    <a:pt x="1204" y="1340"/>
                  </a:lnTo>
                  <a:lnTo>
                    <a:pt x="1204" y="1343"/>
                  </a:lnTo>
                  <a:lnTo>
                    <a:pt x="1193" y="1349"/>
                  </a:lnTo>
                  <a:lnTo>
                    <a:pt x="1193" y="1363"/>
                  </a:lnTo>
                  <a:lnTo>
                    <a:pt x="1191" y="1380"/>
                  </a:lnTo>
                  <a:lnTo>
                    <a:pt x="1189" y="1397"/>
                  </a:lnTo>
                  <a:lnTo>
                    <a:pt x="1187" y="1415"/>
                  </a:lnTo>
                  <a:lnTo>
                    <a:pt x="1183" y="1433"/>
                  </a:lnTo>
                  <a:lnTo>
                    <a:pt x="1181" y="1449"/>
                  </a:lnTo>
                  <a:lnTo>
                    <a:pt x="1180" y="1466"/>
                  </a:lnTo>
                  <a:lnTo>
                    <a:pt x="1179" y="1481"/>
                  </a:lnTo>
                  <a:lnTo>
                    <a:pt x="1166" y="1495"/>
                  </a:lnTo>
                  <a:lnTo>
                    <a:pt x="1156" y="1495"/>
                  </a:lnTo>
                  <a:lnTo>
                    <a:pt x="1138" y="1494"/>
                  </a:lnTo>
                  <a:lnTo>
                    <a:pt x="1129" y="1494"/>
                  </a:lnTo>
                  <a:lnTo>
                    <a:pt x="1121" y="1493"/>
                  </a:lnTo>
                  <a:lnTo>
                    <a:pt x="1115" y="1492"/>
                  </a:lnTo>
                  <a:lnTo>
                    <a:pt x="1113" y="1489"/>
                  </a:lnTo>
                  <a:lnTo>
                    <a:pt x="1104" y="1489"/>
                  </a:lnTo>
                  <a:lnTo>
                    <a:pt x="1102" y="1485"/>
                  </a:lnTo>
                  <a:lnTo>
                    <a:pt x="1100" y="1481"/>
                  </a:lnTo>
                  <a:lnTo>
                    <a:pt x="1090" y="1474"/>
                  </a:lnTo>
                  <a:lnTo>
                    <a:pt x="1081" y="1466"/>
                  </a:lnTo>
                  <a:lnTo>
                    <a:pt x="1076" y="1462"/>
                  </a:lnTo>
                  <a:lnTo>
                    <a:pt x="1073" y="1455"/>
                  </a:lnTo>
                  <a:lnTo>
                    <a:pt x="1071" y="1447"/>
                  </a:lnTo>
                  <a:lnTo>
                    <a:pt x="1066" y="1443"/>
                  </a:lnTo>
                  <a:lnTo>
                    <a:pt x="1064" y="1443"/>
                  </a:lnTo>
                  <a:lnTo>
                    <a:pt x="1063" y="1443"/>
                  </a:lnTo>
                  <a:lnTo>
                    <a:pt x="1063" y="1442"/>
                  </a:lnTo>
                  <a:lnTo>
                    <a:pt x="1063" y="1440"/>
                  </a:lnTo>
                  <a:lnTo>
                    <a:pt x="1063" y="1439"/>
                  </a:lnTo>
                  <a:lnTo>
                    <a:pt x="1061" y="1439"/>
                  </a:lnTo>
                  <a:lnTo>
                    <a:pt x="1058" y="1438"/>
                  </a:lnTo>
                  <a:lnTo>
                    <a:pt x="1052" y="1438"/>
                  </a:lnTo>
                  <a:lnTo>
                    <a:pt x="1052" y="1429"/>
                  </a:lnTo>
                  <a:lnTo>
                    <a:pt x="1044" y="1434"/>
                  </a:lnTo>
                  <a:lnTo>
                    <a:pt x="1034" y="1444"/>
                  </a:lnTo>
                  <a:lnTo>
                    <a:pt x="1035" y="1439"/>
                  </a:lnTo>
                  <a:lnTo>
                    <a:pt x="1036" y="1436"/>
                  </a:lnTo>
                  <a:lnTo>
                    <a:pt x="1032" y="1436"/>
                  </a:lnTo>
                  <a:lnTo>
                    <a:pt x="1027" y="1435"/>
                  </a:lnTo>
                  <a:lnTo>
                    <a:pt x="1026" y="1435"/>
                  </a:lnTo>
                  <a:lnTo>
                    <a:pt x="1025" y="1434"/>
                  </a:lnTo>
                  <a:lnTo>
                    <a:pt x="1024" y="1431"/>
                  </a:lnTo>
                  <a:lnTo>
                    <a:pt x="1024" y="1430"/>
                  </a:lnTo>
                  <a:lnTo>
                    <a:pt x="1012" y="1430"/>
                  </a:lnTo>
                  <a:lnTo>
                    <a:pt x="999" y="1430"/>
                  </a:lnTo>
                  <a:lnTo>
                    <a:pt x="993" y="1418"/>
                  </a:lnTo>
                  <a:lnTo>
                    <a:pt x="984" y="1415"/>
                  </a:lnTo>
                  <a:lnTo>
                    <a:pt x="975" y="1411"/>
                  </a:lnTo>
                  <a:lnTo>
                    <a:pt x="969" y="1399"/>
                  </a:lnTo>
                  <a:lnTo>
                    <a:pt x="965" y="1399"/>
                  </a:lnTo>
                  <a:lnTo>
                    <a:pt x="960" y="1399"/>
                  </a:lnTo>
                  <a:lnTo>
                    <a:pt x="959" y="1398"/>
                  </a:lnTo>
                  <a:lnTo>
                    <a:pt x="958" y="1397"/>
                  </a:lnTo>
                  <a:lnTo>
                    <a:pt x="957" y="1396"/>
                  </a:lnTo>
                  <a:lnTo>
                    <a:pt x="957" y="1394"/>
                  </a:lnTo>
                  <a:lnTo>
                    <a:pt x="952" y="1394"/>
                  </a:lnTo>
                  <a:lnTo>
                    <a:pt x="948" y="1392"/>
                  </a:lnTo>
                  <a:lnTo>
                    <a:pt x="947" y="1391"/>
                  </a:lnTo>
                  <a:lnTo>
                    <a:pt x="946" y="1390"/>
                  </a:lnTo>
                  <a:lnTo>
                    <a:pt x="945" y="1389"/>
                  </a:lnTo>
                  <a:lnTo>
                    <a:pt x="945" y="1387"/>
                  </a:lnTo>
                  <a:lnTo>
                    <a:pt x="935" y="1387"/>
                  </a:lnTo>
                  <a:lnTo>
                    <a:pt x="922" y="1386"/>
                  </a:lnTo>
                  <a:lnTo>
                    <a:pt x="917" y="1385"/>
                  </a:lnTo>
                  <a:lnTo>
                    <a:pt x="911" y="1382"/>
                  </a:lnTo>
                  <a:lnTo>
                    <a:pt x="907" y="1379"/>
                  </a:lnTo>
                  <a:lnTo>
                    <a:pt x="901" y="1375"/>
                  </a:lnTo>
                  <a:lnTo>
                    <a:pt x="889" y="1375"/>
                  </a:lnTo>
                  <a:lnTo>
                    <a:pt x="876" y="1375"/>
                  </a:lnTo>
                  <a:lnTo>
                    <a:pt x="871" y="1362"/>
                  </a:lnTo>
                  <a:lnTo>
                    <a:pt x="862" y="1361"/>
                  </a:lnTo>
                  <a:lnTo>
                    <a:pt x="852" y="1357"/>
                  </a:lnTo>
                  <a:lnTo>
                    <a:pt x="846" y="1354"/>
                  </a:lnTo>
                  <a:lnTo>
                    <a:pt x="841" y="1352"/>
                  </a:lnTo>
                  <a:lnTo>
                    <a:pt x="835" y="1351"/>
                  </a:lnTo>
                  <a:lnTo>
                    <a:pt x="828" y="1350"/>
                  </a:lnTo>
                  <a:lnTo>
                    <a:pt x="827" y="1347"/>
                  </a:lnTo>
                  <a:lnTo>
                    <a:pt x="824" y="1343"/>
                  </a:lnTo>
                  <a:lnTo>
                    <a:pt x="821" y="1341"/>
                  </a:lnTo>
                  <a:lnTo>
                    <a:pt x="816" y="1339"/>
                  </a:lnTo>
                  <a:lnTo>
                    <a:pt x="812" y="1338"/>
                  </a:lnTo>
                  <a:lnTo>
                    <a:pt x="807" y="1335"/>
                  </a:lnTo>
                  <a:lnTo>
                    <a:pt x="805" y="1334"/>
                  </a:lnTo>
                  <a:lnTo>
                    <a:pt x="804" y="1332"/>
                  </a:lnTo>
                  <a:lnTo>
                    <a:pt x="792" y="1332"/>
                  </a:lnTo>
                  <a:lnTo>
                    <a:pt x="787" y="1328"/>
                  </a:lnTo>
                  <a:lnTo>
                    <a:pt x="783" y="1323"/>
                  </a:lnTo>
                  <a:lnTo>
                    <a:pt x="780" y="1319"/>
                  </a:lnTo>
                  <a:lnTo>
                    <a:pt x="779" y="1314"/>
                  </a:lnTo>
                  <a:lnTo>
                    <a:pt x="767" y="1308"/>
                  </a:lnTo>
                  <a:lnTo>
                    <a:pt x="767" y="1303"/>
                  </a:lnTo>
                  <a:lnTo>
                    <a:pt x="766" y="1300"/>
                  </a:lnTo>
                  <a:lnTo>
                    <a:pt x="766" y="1298"/>
                  </a:lnTo>
                  <a:lnTo>
                    <a:pt x="765" y="1296"/>
                  </a:lnTo>
                  <a:lnTo>
                    <a:pt x="763" y="1295"/>
                  </a:lnTo>
                  <a:lnTo>
                    <a:pt x="760" y="1295"/>
                  </a:lnTo>
                  <a:lnTo>
                    <a:pt x="760" y="1290"/>
                  </a:lnTo>
                  <a:lnTo>
                    <a:pt x="760" y="1284"/>
                  </a:lnTo>
                  <a:lnTo>
                    <a:pt x="759" y="1282"/>
                  </a:lnTo>
                  <a:lnTo>
                    <a:pt x="758" y="1280"/>
                  </a:lnTo>
                  <a:lnTo>
                    <a:pt x="757" y="1277"/>
                  </a:lnTo>
                  <a:lnTo>
                    <a:pt x="755" y="1277"/>
                  </a:lnTo>
                  <a:lnTo>
                    <a:pt x="755" y="1265"/>
                  </a:lnTo>
                  <a:lnTo>
                    <a:pt x="755" y="1253"/>
                  </a:lnTo>
                  <a:lnTo>
                    <a:pt x="743" y="1241"/>
                  </a:lnTo>
                  <a:lnTo>
                    <a:pt x="743" y="1235"/>
                  </a:lnTo>
                  <a:lnTo>
                    <a:pt x="741" y="1229"/>
                  </a:lnTo>
                  <a:lnTo>
                    <a:pt x="741" y="1226"/>
                  </a:lnTo>
                  <a:lnTo>
                    <a:pt x="740" y="1224"/>
                  </a:lnTo>
                  <a:lnTo>
                    <a:pt x="738" y="1223"/>
                  </a:lnTo>
                  <a:lnTo>
                    <a:pt x="737" y="1222"/>
                  </a:lnTo>
                  <a:lnTo>
                    <a:pt x="737" y="1204"/>
                  </a:lnTo>
                  <a:lnTo>
                    <a:pt x="731" y="1197"/>
                  </a:lnTo>
                  <a:lnTo>
                    <a:pt x="725" y="1188"/>
                  </a:lnTo>
                  <a:lnTo>
                    <a:pt x="720" y="1180"/>
                  </a:lnTo>
                  <a:lnTo>
                    <a:pt x="718" y="1174"/>
                  </a:lnTo>
                  <a:lnTo>
                    <a:pt x="708" y="1173"/>
                  </a:lnTo>
                  <a:lnTo>
                    <a:pt x="696" y="1170"/>
                  </a:lnTo>
                  <a:lnTo>
                    <a:pt x="683" y="1168"/>
                  </a:lnTo>
                  <a:lnTo>
                    <a:pt x="669" y="1167"/>
                  </a:lnTo>
                  <a:lnTo>
                    <a:pt x="663" y="1174"/>
                  </a:lnTo>
                  <a:lnTo>
                    <a:pt x="663" y="1186"/>
                  </a:lnTo>
                  <a:lnTo>
                    <a:pt x="659" y="1187"/>
                  </a:lnTo>
                  <a:lnTo>
                    <a:pt x="654" y="1189"/>
                  </a:lnTo>
                  <a:lnTo>
                    <a:pt x="652" y="1194"/>
                  </a:lnTo>
                  <a:lnTo>
                    <a:pt x="651" y="1198"/>
                  </a:lnTo>
                  <a:lnTo>
                    <a:pt x="644" y="1204"/>
                  </a:lnTo>
                  <a:lnTo>
                    <a:pt x="631" y="1205"/>
                  </a:lnTo>
                  <a:lnTo>
                    <a:pt x="610" y="1207"/>
                  </a:lnTo>
                  <a:lnTo>
                    <a:pt x="586" y="1209"/>
                  </a:lnTo>
                  <a:lnTo>
                    <a:pt x="565" y="1210"/>
                  </a:lnTo>
                  <a:lnTo>
                    <a:pt x="543" y="1194"/>
                  </a:lnTo>
                  <a:lnTo>
                    <a:pt x="506" y="1169"/>
                  </a:lnTo>
                  <a:lnTo>
                    <a:pt x="487" y="1156"/>
                  </a:lnTo>
                  <a:lnTo>
                    <a:pt x="471" y="1144"/>
                  </a:lnTo>
                  <a:lnTo>
                    <a:pt x="465" y="1138"/>
                  </a:lnTo>
                  <a:lnTo>
                    <a:pt x="459" y="1132"/>
                  </a:lnTo>
                  <a:lnTo>
                    <a:pt x="457" y="1128"/>
                  </a:lnTo>
                  <a:lnTo>
                    <a:pt x="456" y="1125"/>
                  </a:lnTo>
                  <a:lnTo>
                    <a:pt x="449" y="1118"/>
                  </a:lnTo>
                  <a:lnTo>
                    <a:pt x="437" y="1118"/>
                  </a:lnTo>
                  <a:lnTo>
                    <a:pt x="424" y="1100"/>
                  </a:lnTo>
                  <a:lnTo>
                    <a:pt x="415" y="1097"/>
                  </a:lnTo>
                  <a:lnTo>
                    <a:pt x="406" y="1094"/>
                  </a:lnTo>
                  <a:lnTo>
                    <a:pt x="406" y="1090"/>
                  </a:lnTo>
                  <a:lnTo>
                    <a:pt x="405" y="1089"/>
                  </a:lnTo>
                  <a:lnTo>
                    <a:pt x="404" y="1088"/>
                  </a:lnTo>
                  <a:lnTo>
                    <a:pt x="403" y="1088"/>
                  </a:lnTo>
                  <a:lnTo>
                    <a:pt x="402" y="1088"/>
                  </a:lnTo>
                  <a:lnTo>
                    <a:pt x="401" y="1087"/>
                  </a:lnTo>
                  <a:lnTo>
                    <a:pt x="401" y="1085"/>
                  </a:lnTo>
                  <a:lnTo>
                    <a:pt x="400" y="1082"/>
                  </a:lnTo>
                  <a:lnTo>
                    <a:pt x="393" y="1079"/>
                  </a:lnTo>
                  <a:lnTo>
                    <a:pt x="383" y="1073"/>
                  </a:lnTo>
                  <a:lnTo>
                    <a:pt x="370" y="1063"/>
                  </a:lnTo>
                  <a:lnTo>
                    <a:pt x="356" y="1052"/>
                  </a:lnTo>
                  <a:lnTo>
                    <a:pt x="343" y="1040"/>
                  </a:lnTo>
                  <a:lnTo>
                    <a:pt x="332" y="1027"/>
                  </a:lnTo>
                  <a:lnTo>
                    <a:pt x="327" y="1022"/>
                  </a:lnTo>
                  <a:lnTo>
                    <a:pt x="324" y="1016"/>
                  </a:lnTo>
                  <a:lnTo>
                    <a:pt x="322" y="1012"/>
                  </a:lnTo>
                  <a:lnTo>
                    <a:pt x="321" y="1008"/>
                  </a:lnTo>
                  <a:lnTo>
                    <a:pt x="315" y="1006"/>
                  </a:lnTo>
                  <a:lnTo>
                    <a:pt x="309" y="1002"/>
                  </a:lnTo>
                  <a:lnTo>
                    <a:pt x="305" y="995"/>
                  </a:lnTo>
                  <a:lnTo>
                    <a:pt x="303" y="989"/>
                  </a:lnTo>
                  <a:lnTo>
                    <a:pt x="290" y="984"/>
                  </a:lnTo>
                  <a:lnTo>
                    <a:pt x="284" y="973"/>
                  </a:lnTo>
                  <a:lnTo>
                    <a:pt x="269" y="953"/>
                  </a:lnTo>
                  <a:lnTo>
                    <a:pt x="261" y="942"/>
                  </a:lnTo>
                  <a:lnTo>
                    <a:pt x="255" y="931"/>
                  </a:lnTo>
                  <a:lnTo>
                    <a:pt x="249" y="923"/>
                  </a:lnTo>
                  <a:lnTo>
                    <a:pt x="248" y="917"/>
                  </a:lnTo>
                  <a:lnTo>
                    <a:pt x="244" y="917"/>
                  </a:lnTo>
                  <a:lnTo>
                    <a:pt x="242" y="916"/>
                  </a:lnTo>
                  <a:lnTo>
                    <a:pt x="241" y="915"/>
                  </a:lnTo>
                  <a:lnTo>
                    <a:pt x="241" y="914"/>
                  </a:lnTo>
                  <a:lnTo>
                    <a:pt x="241" y="912"/>
                  </a:lnTo>
                  <a:lnTo>
                    <a:pt x="240" y="911"/>
                  </a:lnTo>
                  <a:lnTo>
                    <a:pt x="239" y="911"/>
                  </a:lnTo>
                  <a:lnTo>
                    <a:pt x="236" y="910"/>
                  </a:lnTo>
                  <a:lnTo>
                    <a:pt x="235" y="906"/>
                  </a:lnTo>
                  <a:lnTo>
                    <a:pt x="231" y="902"/>
                  </a:lnTo>
                  <a:lnTo>
                    <a:pt x="228" y="899"/>
                  </a:lnTo>
                  <a:lnTo>
                    <a:pt x="223" y="898"/>
                  </a:lnTo>
                  <a:lnTo>
                    <a:pt x="211" y="892"/>
                  </a:lnTo>
                  <a:lnTo>
                    <a:pt x="211" y="886"/>
                  </a:lnTo>
                  <a:lnTo>
                    <a:pt x="209" y="881"/>
                  </a:lnTo>
                  <a:lnTo>
                    <a:pt x="206" y="880"/>
                  </a:lnTo>
                  <a:lnTo>
                    <a:pt x="199" y="880"/>
                  </a:lnTo>
                  <a:lnTo>
                    <a:pt x="192" y="871"/>
                  </a:lnTo>
                  <a:lnTo>
                    <a:pt x="187" y="861"/>
                  </a:lnTo>
                  <a:lnTo>
                    <a:pt x="174" y="861"/>
                  </a:lnTo>
                  <a:lnTo>
                    <a:pt x="168" y="856"/>
                  </a:lnTo>
                  <a:lnTo>
                    <a:pt x="162" y="850"/>
                  </a:lnTo>
                  <a:lnTo>
                    <a:pt x="160" y="842"/>
                  </a:lnTo>
                  <a:lnTo>
                    <a:pt x="155" y="832"/>
                  </a:lnTo>
                  <a:lnTo>
                    <a:pt x="152" y="827"/>
                  </a:lnTo>
                  <a:lnTo>
                    <a:pt x="149" y="823"/>
                  </a:lnTo>
                  <a:lnTo>
                    <a:pt x="146" y="820"/>
                  </a:lnTo>
                  <a:lnTo>
                    <a:pt x="144" y="819"/>
                  </a:lnTo>
                  <a:lnTo>
                    <a:pt x="143" y="798"/>
                  </a:lnTo>
                  <a:lnTo>
                    <a:pt x="141" y="774"/>
                  </a:lnTo>
                  <a:lnTo>
                    <a:pt x="137" y="750"/>
                  </a:lnTo>
                  <a:lnTo>
                    <a:pt x="134" y="724"/>
                  </a:lnTo>
                  <a:lnTo>
                    <a:pt x="131" y="699"/>
                  </a:lnTo>
                  <a:lnTo>
                    <a:pt x="129" y="675"/>
                  </a:lnTo>
                  <a:lnTo>
                    <a:pt x="126" y="651"/>
                  </a:lnTo>
                  <a:lnTo>
                    <a:pt x="125" y="629"/>
                  </a:lnTo>
                  <a:lnTo>
                    <a:pt x="120" y="623"/>
                  </a:lnTo>
                  <a:lnTo>
                    <a:pt x="115" y="622"/>
                  </a:lnTo>
                  <a:lnTo>
                    <a:pt x="111" y="620"/>
                  </a:lnTo>
                  <a:lnTo>
                    <a:pt x="108" y="616"/>
                  </a:lnTo>
                  <a:lnTo>
                    <a:pt x="107" y="611"/>
                  </a:lnTo>
                  <a:lnTo>
                    <a:pt x="101" y="606"/>
                  </a:lnTo>
                  <a:lnTo>
                    <a:pt x="88" y="606"/>
                  </a:lnTo>
                  <a:lnTo>
                    <a:pt x="83" y="599"/>
                  </a:lnTo>
                  <a:lnTo>
                    <a:pt x="76" y="593"/>
                  </a:lnTo>
                  <a:lnTo>
                    <a:pt x="70" y="587"/>
                  </a:lnTo>
                  <a:lnTo>
                    <a:pt x="68" y="580"/>
                  </a:lnTo>
                  <a:lnTo>
                    <a:pt x="64" y="569"/>
                  </a:lnTo>
                  <a:lnTo>
                    <a:pt x="60" y="564"/>
                  </a:lnTo>
                  <a:lnTo>
                    <a:pt x="57" y="560"/>
                  </a:lnTo>
                  <a:lnTo>
                    <a:pt x="55" y="558"/>
                  </a:lnTo>
                  <a:lnTo>
                    <a:pt x="52" y="556"/>
                  </a:lnTo>
                  <a:lnTo>
                    <a:pt x="52" y="541"/>
                  </a:lnTo>
                  <a:lnTo>
                    <a:pt x="52" y="523"/>
                  </a:lnTo>
                  <a:lnTo>
                    <a:pt x="52" y="505"/>
                  </a:lnTo>
                  <a:lnTo>
                    <a:pt x="52" y="489"/>
                  </a:lnTo>
                  <a:lnTo>
                    <a:pt x="39" y="477"/>
                  </a:lnTo>
                  <a:lnTo>
                    <a:pt x="39" y="472"/>
                  </a:lnTo>
                  <a:lnTo>
                    <a:pt x="39" y="465"/>
                  </a:lnTo>
                  <a:lnTo>
                    <a:pt x="38" y="463"/>
                  </a:lnTo>
                  <a:lnTo>
                    <a:pt x="37" y="460"/>
                  </a:lnTo>
                  <a:lnTo>
                    <a:pt x="36" y="459"/>
                  </a:lnTo>
                  <a:lnTo>
                    <a:pt x="34" y="458"/>
                  </a:lnTo>
                  <a:lnTo>
                    <a:pt x="34" y="440"/>
                  </a:lnTo>
                  <a:lnTo>
                    <a:pt x="30" y="440"/>
                  </a:lnTo>
                  <a:lnTo>
                    <a:pt x="28" y="439"/>
                  </a:lnTo>
                  <a:lnTo>
                    <a:pt x="28" y="438"/>
                  </a:lnTo>
                  <a:lnTo>
                    <a:pt x="28" y="437"/>
                  </a:lnTo>
                  <a:lnTo>
                    <a:pt x="27" y="436"/>
                  </a:lnTo>
                  <a:lnTo>
                    <a:pt x="27" y="435"/>
                  </a:lnTo>
                  <a:lnTo>
                    <a:pt x="25" y="435"/>
                  </a:lnTo>
                  <a:lnTo>
                    <a:pt x="21" y="434"/>
                  </a:lnTo>
                  <a:lnTo>
                    <a:pt x="21" y="430"/>
                  </a:lnTo>
                  <a:lnTo>
                    <a:pt x="19" y="427"/>
                  </a:lnTo>
                  <a:lnTo>
                    <a:pt x="18" y="425"/>
                  </a:lnTo>
                  <a:lnTo>
                    <a:pt x="16" y="423"/>
                  </a:lnTo>
                  <a:lnTo>
                    <a:pt x="11" y="419"/>
                  </a:lnTo>
                  <a:lnTo>
                    <a:pt x="9" y="416"/>
                  </a:lnTo>
                  <a:lnTo>
                    <a:pt x="0" y="4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8" name="Freeform 54"/>
            <p:cNvSpPr>
              <a:spLocks noChangeAspect="1"/>
            </p:cNvSpPr>
            <p:nvPr/>
          </p:nvSpPr>
          <p:spPr bwMode="gray">
            <a:xfrm rot="355651">
              <a:off x="7306140" y="2903538"/>
              <a:ext cx="99448" cy="63875"/>
            </a:xfrm>
            <a:custGeom>
              <a:avLst/>
              <a:gdLst/>
              <a:ahLst/>
              <a:cxnLst>
                <a:cxn ang="0">
                  <a:pos x="194" y="33"/>
                </a:cxn>
                <a:cxn ang="0">
                  <a:pos x="150" y="56"/>
                </a:cxn>
                <a:cxn ang="0">
                  <a:pos x="122" y="77"/>
                </a:cxn>
                <a:cxn ang="0">
                  <a:pos x="98" y="115"/>
                </a:cxn>
                <a:cxn ang="0">
                  <a:pos x="78" y="145"/>
                </a:cxn>
                <a:cxn ang="0">
                  <a:pos x="56" y="159"/>
                </a:cxn>
                <a:cxn ang="0">
                  <a:pos x="38" y="177"/>
                </a:cxn>
                <a:cxn ang="0">
                  <a:pos x="20" y="211"/>
                </a:cxn>
                <a:cxn ang="0">
                  <a:pos x="9" y="247"/>
                </a:cxn>
                <a:cxn ang="0">
                  <a:pos x="6" y="286"/>
                </a:cxn>
                <a:cxn ang="0">
                  <a:pos x="0" y="327"/>
                </a:cxn>
                <a:cxn ang="0">
                  <a:pos x="3" y="336"/>
                </a:cxn>
                <a:cxn ang="0">
                  <a:pos x="21" y="340"/>
                </a:cxn>
                <a:cxn ang="0">
                  <a:pos x="46" y="337"/>
                </a:cxn>
                <a:cxn ang="0">
                  <a:pos x="63" y="325"/>
                </a:cxn>
                <a:cxn ang="0">
                  <a:pos x="79" y="303"/>
                </a:cxn>
                <a:cxn ang="0">
                  <a:pos x="103" y="291"/>
                </a:cxn>
                <a:cxn ang="0">
                  <a:pos x="130" y="291"/>
                </a:cxn>
                <a:cxn ang="0">
                  <a:pos x="161" y="300"/>
                </a:cxn>
                <a:cxn ang="0">
                  <a:pos x="169" y="308"/>
                </a:cxn>
                <a:cxn ang="0">
                  <a:pos x="197" y="330"/>
                </a:cxn>
                <a:cxn ang="0">
                  <a:pos x="236" y="364"/>
                </a:cxn>
                <a:cxn ang="0">
                  <a:pos x="265" y="384"/>
                </a:cxn>
                <a:cxn ang="0">
                  <a:pos x="287" y="393"/>
                </a:cxn>
                <a:cxn ang="0">
                  <a:pos x="310" y="394"/>
                </a:cxn>
                <a:cxn ang="0">
                  <a:pos x="381" y="380"/>
                </a:cxn>
                <a:cxn ang="0">
                  <a:pos x="447" y="358"/>
                </a:cxn>
                <a:cxn ang="0">
                  <a:pos x="495" y="334"/>
                </a:cxn>
                <a:cxn ang="0">
                  <a:pos x="517" y="312"/>
                </a:cxn>
                <a:cxn ang="0">
                  <a:pos x="529" y="286"/>
                </a:cxn>
                <a:cxn ang="0">
                  <a:pos x="537" y="215"/>
                </a:cxn>
                <a:cxn ang="0">
                  <a:pos x="545" y="158"/>
                </a:cxn>
                <a:cxn ang="0">
                  <a:pos x="545" y="103"/>
                </a:cxn>
                <a:cxn ang="0">
                  <a:pos x="539" y="80"/>
                </a:cxn>
                <a:cxn ang="0">
                  <a:pos x="528" y="62"/>
                </a:cxn>
                <a:cxn ang="0">
                  <a:pos x="511" y="50"/>
                </a:cxn>
                <a:cxn ang="0">
                  <a:pos x="488" y="46"/>
                </a:cxn>
                <a:cxn ang="0">
                  <a:pos x="462" y="41"/>
                </a:cxn>
                <a:cxn ang="0">
                  <a:pos x="424" y="22"/>
                </a:cxn>
                <a:cxn ang="0">
                  <a:pos x="386" y="4"/>
                </a:cxn>
                <a:cxn ang="0">
                  <a:pos x="362" y="0"/>
                </a:cxn>
                <a:cxn ang="0">
                  <a:pos x="328" y="4"/>
                </a:cxn>
                <a:cxn ang="0">
                  <a:pos x="297" y="13"/>
                </a:cxn>
                <a:cxn ang="0">
                  <a:pos x="270" y="14"/>
                </a:cxn>
                <a:cxn ang="0">
                  <a:pos x="262" y="11"/>
                </a:cxn>
              </a:cxnLst>
              <a:rect l="0" t="0" r="r" b="b"/>
              <a:pathLst>
                <a:path w="546" h="394">
                  <a:moveTo>
                    <a:pt x="255" y="11"/>
                  </a:moveTo>
                  <a:lnTo>
                    <a:pt x="225" y="21"/>
                  </a:lnTo>
                  <a:lnTo>
                    <a:pt x="194" y="33"/>
                  </a:lnTo>
                  <a:lnTo>
                    <a:pt x="179" y="41"/>
                  </a:lnTo>
                  <a:lnTo>
                    <a:pt x="164" y="48"/>
                  </a:lnTo>
                  <a:lnTo>
                    <a:pt x="150" y="56"/>
                  </a:lnTo>
                  <a:lnTo>
                    <a:pt x="137" y="62"/>
                  </a:lnTo>
                  <a:lnTo>
                    <a:pt x="130" y="69"/>
                  </a:lnTo>
                  <a:lnTo>
                    <a:pt x="122" y="77"/>
                  </a:lnTo>
                  <a:lnTo>
                    <a:pt x="115" y="86"/>
                  </a:lnTo>
                  <a:lnTo>
                    <a:pt x="110" y="96"/>
                  </a:lnTo>
                  <a:lnTo>
                    <a:pt x="98" y="115"/>
                  </a:lnTo>
                  <a:lnTo>
                    <a:pt x="88" y="134"/>
                  </a:lnTo>
                  <a:lnTo>
                    <a:pt x="84" y="139"/>
                  </a:lnTo>
                  <a:lnTo>
                    <a:pt x="78" y="145"/>
                  </a:lnTo>
                  <a:lnTo>
                    <a:pt x="70" y="151"/>
                  </a:lnTo>
                  <a:lnTo>
                    <a:pt x="64" y="155"/>
                  </a:lnTo>
                  <a:lnTo>
                    <a:pt x="56" y="159"/>
                  </a:lnTo>
                  <a:lnTo>
                    <a:pt x="48" y="165"/>
                  </a:lnTo>
                  <a:lnTo>
                    <a:pt x="43" y="171"/>
                  </a:lnTo>
                  <a:lnTo>
                    <a:pt x="38" y="177"/>
                  </a:lnTo>
                  <a:lnTo>
                    <a:pt x="31" y="187"/>
                  </a:lnTo>
                  <a:lnTo>
                    <a:pt x="26" y="199"/>
                  </a:lnTo>
                  <a:lnTo>
                    <a:pt x="20" y="211"/>
                  </a:lnTo>
                  <a:lnTo>
                    <a:pt x="16" y="222"/>
                  </a:lnTo>
                  <a:lnTo>
                    <a:pt x="11" y="234"/>
                  </a:lnTo>
                  <a:lnTo>
                    <a:pt x="9" y="247"/>
                  </a:lnTo>
                  <a:lnTo>
                    <a:pt x="7" y="259"/>
                  </a:lnTo>
                  <a:lnTo>
                    <a:pt x="7" y="272"/>
                  </a:lnTo>
                  <a:lnTo>
                    <a:pt x="6" y="286"/>
                  </a:lnTo>
                  <a:lnTo>
                    <a:pt x="3" y="299"/>
                  </a:lnTo>
                  <a:lnTo>
                    <a:pt x="1" y="313"/>
                  </a:lnTo>
                  <a:lnTo>
                    <a:pt x="0" y="327"/>
                  </a:lnTo>
                  <a:lnTo>
                    <a:pt x="0" y="330"/>
                  </a:lnTo>
                  <a:lnTo>
                    <a:pt x="2" y="334"/>
                  </a:lnTo>
                  <a:lnTo>
                    <a:pt x="3" y="336"/>
                  </a:lnTo>
                  <a:lnTo>
                    <a:pt x="7" y="338"/>
                  </a:lnTo>
                  <a:lnTo>
                    <a:pt x="14" y="340"/>
                  </a:lnTo>
                  <a:lnTo>
                    <a:pt x="21" y="340"/>
                  </a:lnTo>
                  <a:lnTo>
                    <a:pt x="30" y="340"/>
                  </a:lnTo>
                  <a:lnTo>
                    <a:pt x="39" y="339"/>
                  </a:lnTo>
                  <a:lnTo>
                    <a:pt x="46" y="337"/>
                  </a:lnTo>
                  <a:lnTo>
                    <a:pt x="50" y="335"/>
                  </a:lnTo>
                  <a:lnTo>
                    <a:pt x="57" y="330"/>
                  </a:lnTo>
                  <a:lnTo>
                    <a:pt x="63" y="325"/>
                  </a:lnTo>
                  <a:lnTo>
                    <a:pt x="68" y="318"/>
                  </a:lnTo>
                  <a:lnTo>
                    <a:pt x="74" y="310"/>
                  </a:lnTo>
                  <a:lnTo>
                    <a:pt x="79" y="303"/>
                  </a:lnTo>
                  <a:lnTo>
                    <a:pt x="86" y="298"/>
                  </a:lnTo>
                  <a:lnTo>
                    <a:pt x="94" y="293"/>
                  </a:lnTo>
                  <a:lnTo>
                    <a:pt x="103" y="291"/>
                  </a:lnTo>
                  <a:lnTo>
                    <a:pt x="110" y="290"/>
                  </a:lnTo>
                  <a:lnTo>
                    <a:pt x="118" y="291"/>
                  </a:lnTo>
                  <a:lnTo>
                    <a:pt x="130" y="291"/>
                  </a:lnTo>
                  <a:lnTo>
                    <a:pt x="141" y="293"/>
                  </a:lnTo>
                  <a:lnTo>
                    <a:pt x="152" y="296"/>
                  </a:lnTo>
                  <a:lnTo>
                    <a:pt x="161" y="300"/>
                  </a:lnTo>
                  <a:lnTo>
                    <a:pt x="164" y="302"/>
                  </a:lnTo>
                  <a:lnTo>
                    <a:pt x="166" y="305"/>
                  </a:lnTo>
                  <a:lnTo>
                    <a:pt x="169" y="308"/>
                  </a:lnTo>
                  <a:lnTo>
                    <a:pt x="169" y="311"/>
                  </a:lnTo>
                  <a:lnTo>
                    <a:pt x="183" y="320"/>
                  </a:lnTo>
                  <a:lnTo>
                    <a:pt x="197" y="330"/>
                  </a:lnTo>
                  <a:lnTo>
                    <a:pt x="209" y="341"/>
                  </a:lnTo>
                  <a:lnTo>
                    <a:pt x="222" y="353"/>
                  </a:lnTo>
                  <a:lnTo>
                    <a:pt x="236" y="364"/>
                  </a:lnTo>
                  <a:lnTo>
                    <a:pt x="250" y="375"/>
                  </a:lnTo>
                  <a:lnTo>
                    <a:pt x="257" y="379"/>
                  </a:lnTo>
                  <a:lnTo>
                    <a:pt x="265" y="384"/>
                  </a:lnTo>
                  <a:lnTo>
                    <a:pt x="273" y="387"/>
                  </a:lnTo>
                  <a:lnTo>
                    <a:pt x="281" y="390"/>
                  </a:lnTo>
                  <a:lnTo>
                    <a:pt x="287" y="393"/>
                  </a:lnTo>
                  <a:lnTo>
                    <a:pt x="295" y="394"/>
                  </a:lnTo>
                  <a:lnTo>
                    <a:pt x="303" y="394"/>
                  </a:lnTo>
                  <a:lnTo>
                    <a:pt x="310" y="394"/>
                  </a:lnTo>
                  <a:lnTo>
                    <a:pt x="327" y="393"/>
                  </a:lnTo>
                  <a:lnTo>
                    <a:pt x="345" y="389"/>
                  </a:lnTo>
                  <a:lnTo>
                    <a:pt x="381" y="380"/>
                  </a:lnTo>
                  <a:lnTo>
                    <a:pt x="410" y="372"/>
                  </a:lnTo>
                  <a:lnTo>
                    <a:pt x="428" y="366"/>
                  </a:lnTo>
                  <a:lnTo>
                    <a:pt x="447" y="358"/>
                  </a:lnTo>
                  <a:lnTo>
                    <a:pt x="467" y="350"/>
                  </a:lnTo>
                  <a:lnTo>
                    <a:pt x="486" y="340"/>
                  </a:lnTo>
                  <a:lnTo>
                    <a:pt x="495" y="334"/>
                  </a:lnTo>
                  <a:lnTo>
                    <a:pt x="504" y="328"/>
                  </a:lnTo>
                  <a:lnTo>
                    <a:pt x="511" y="320"/>
                  </a:lnTo>
                  <a:lnTo>
                    <a:pt x="517" y="312"/>
                  </a:lnTo>
                  <a:lnTo>
                    <a:pt x="523" y="305"/>
                  </a:lnTo>
                  <a:lnTo>
                    <a:pt x="527" y="296"/>
                  </a:lnTo>
                  <a:lnTo>
                    <a:pt x="529" y="286"/>
                  </a:lnTo>
                  <a:lnTo>
                    <a:pt x="530" y="274"/>
                  </a:lnTo>
                  <a:lnTo>
                    <a:pt x="533" y="249"/>
                  </a:lnTo>
                  <a:lnTo>
                    <a:pt x="537" y="215"/>
                  </a:lnTo>
                  <a:lnTo>
                    <a:pt x="540" y="196"/>
                  </a:lnTo>
                  <a:lnTo>
                    <a:pt x="543" y="177"/>
                  </a:lnTo>
                  <a:lnTo>
                    <a:pt x="545" y="158"/>
                  </a:lnTo>
                  <a:lnTo>
                    <a:pt x="546" y="139"/>
                  </a:lnTo>
                  <a:lnTo>
                    <a:pt x="546" y="120"/>
                  </a:lnTo>
                  <a:lnTo>
                    <a:pt x="545" y="103"/>
                  </a:lnTo>
                  <a:lnTo>
                    <a:pt x="544" y="95"/>
                  </a:lnTo>
                  <a:lnTo>
                    <a:pt x="542" y="87"/>
                  </a:lnTo>
                  <a:lnTo>
                    <a:pt x="539" y="80"/>
                  </a:lnTo>
                  <a:lnTo>
                    <a:pt x="536" y="74"/>
                  </a:lnTo>
                  <a:lnTo>
                    <a:pt x="533" y="67"/>
                  </a:lnTo>
                  <a:lnTo>
                    <a:pt x="528" y="62"/>
                  </a:lnTo>
                  <a:lnTo>
                    <a:pt x="524" y="57"/>
                  </a:lnTo>
                  <a:lnTo>
                    <a:pt x="518" y="53"/>
                  </a:lnTo>
                  <a:lnTo>
                    <a:pt x="511" y="50"/>
                  </a:lnTo>
                  <a:lnTo>
                    <a:pt x="505" y="48"/>
                  </a:lnTo>
                  <a:lnTo>
                    <a:pt x="497" y="46"/>
                  </a:lnTo>
                  <a:lnTo>
                    <a:pt x="488" y="46"/>
                  </a:lnTo>
                  <a:lnTo>
                    <a:pt x="479" y="44"/>
                  </a:lnTo>
                  <a:lnTo>
                    <a:pt x="470" y="43"/>
                  </a:lnTo>
                  <a:lnTo>
                    <a:pt x="462" y="41"/>
                  </a:lnTo>
                  <a:lnTo>
                    <a:pt x="454" y="38"/>
                  </a:lnTo>
                  <a:lnTo>
                    <a:pt x="439" y="31"/>
                  </a:lnTo>
                  <a:lnTo>
                    <a:pt x="424" y="22"/>
                  </a:lnTo>
                  <a:lnTo>
                    <a:pt x="410" y="14"/>
                  </a:lnTo>
                  <a:lnTo>
                    <a:pt x="394" y="7"/>
                  </a:lnTo>
                  <a:lnTo>
                    <a:pt x="386" y="4"/>
                  </a:lnTo>
                  <a:lnTo>
                    <a:pt x="379" y="2"/>
                  </a:lnTo>
                  <a:lnTo>
                    <a:pt x="370" y="0"/>
                  </a:lnTo>
                  <a:lnTo>
                    <a:pt x="362" y="0"/>
                  </a:lnTo>
                  <a:lnTo>
                    <a:pt x="350" y="0"/>
                  </a:lnTo>
                  <a:lnTo>
                    <a:pt x="339" y="2"/>
                  </a:lnTo>
                  <a:lnTo>
                    <a:pt x="328" y="4"/>
                  </a:lnTo>
                  <a:lnTo>
                    <a:pt x="318" y="8"/>
                  </a:lnTo>
                  <a:lnTo>
                    <a:pt x="307" y="10"/>
                  </a:lnTo>
                  <a:lnTo>
                    <a:pt x="297" y="13"/>
                  </a:lnTo>
                  <a:lnTo>
                    <a:pt x="286" y="14"/>
                  </a:lnTo>
                  <a:lnTo>
                    <a:pt x="275" y="15"/>
                  </a:lnTo>
                  <a:lnTo>
                    <a:pt x="270" y="14"/>
                  </a:lnTo>
                  <a:lnTo>
                    <a:pt x="265" y="14"/>
                  </a:lnTo>
                  <a:lnTo>
                    <a:pt x="264" y="12"/>
                  </a:lnTo>
                  <a:lnTo>
                    <a:pt x="262" y="11"/>
                  </a:lnTo>
                  <a:lnTo>
                    <a:pt x="262" y="9"/>
                  </a:lnTo>
                  <a:lnTo>
                    <a:pt x="255" y="1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9" name="Freeform 55"/>
            <p:cNvSpPr>
              <a:spLocks noChangeAspect="1"/>
            </p:cNvSpPr>
            <p:nvPr/>
          </p:nvSpPr>
          <p:spPr bwMode="gray">
            <a:xfrm rot="355651">
              <a:off x="6962775" y="2768600"/>
              <a:ext cx="142824" cy="90491"/>
            </a:xfrm>
            <a:custGeom>
              <a:avLst/>
              <a:gdLst/>
              <a:ahLst/>
              <a:cxnLst>
                <a:cxn ang="0">
                  <a:pos x="572" y="0"/>
                </a:cxn>
                <a:cxn ang="0">
                  <a:pos x="438" y="6"/>
                </a:cxn>
                <a:cxn ang="0">
                  <a:pos x="352" y="21"/>
                </a:cxn>
                <a:cxn ang="0">
                  <a:pos x="303" y="35"/>
                </a:cxn>
                <a:cxn ang="0">
                  <a:pos x="272" y="54"/>
                </a:cxn>
                <a:cxn ang="0">
                  <a:pos x="227" y="88"/>
                </a:cxn>
                <a:cxn ang="0">
                  <a:pos x="161" y="126"/>
                </a:cxn>
                <a:cxn ang="0">
                  <a:pos x="155" y="183"/>
                </a:cxn>
                <a:cxn ang="0">
                  <a:pos x="147" y="202"/>
                </a:cxn>
                <a:cxn ang="0">
                  <a:pos x="142" y="211"/>
                </a:cxn>
                <a:cxn ang="0">
                  <a:pos x="104" y="216"/>
                </a:cxn>
                <a:cxn ang="0">
                  <a:pos x="67" y="227"/>
                </a:cxn>
                <a:cxn ang="0">
                  <a:pos x="42" y="234"/>
                </a:cxn>
                <a:cxn ang="0">
                  <a:pos x="34" y="241"/>
                </a:cxn>
                <a:cxn ang="0">
                  <a:pos x="28" y="246"/>
                </a:cxn>
                <a:cxn ang="0">
                  <a:pos x="24" y="252"/>
                </a:cxn>
                <a:cxn ang="0">
                  <a:pos x="43" y="279"/>
                </a:cxn>
                <a:cxn ang="0">
                  <a:pos x="74" y="290"/>
                </a:cxn>
                <a:cxn ang="0">
                  <a:pos x="98" y="303"/>
                </a:cxn>
                <a:cxn ang="0">
                  <a:pos x="103" y="333"/>
                </a:cxn>
                <a:cxn ang="0">
                  <a:pos x="88" y="346"/>
                </a:cxn>
                <a:cxn ang="0">
                  <a:pos x="46" y="402"/>
                </a:cxn>
                <a:cxn ang="0">
                  <a:pos x="8" y="465"/>
                </a:cxn>
                <a:cxn ang="0">
                  <a:pos x="0" y="489"/>
                </a:cxn>
                <a:cxn ang="0">
                  <a:pos x="25" y="496"/>
                </a:cxn>
                <a:cxn ang="0">
                  <a:pos x="51" y="502"/>
                </a:cxn>
                <a:cxn ang="0">
                  <a:pos x="67" y="499"/>
                </a:cxn>
                <a:cxn ang="0">
                  <a:pos x="103" y="475"/>
                </a:cxn>
                <a:cxn ang="0">
                  <a:pos x="157" y="434"/>
                </a:cxn>
                <a:cxn ang="0">
                  <a:pos x="191" y="414"/>
                </a:cxn>
                <a:cxn ang="0">
                  <a:pos x="228" y="412"/>
                </a:cxn>
                <a:cxn ang="0">
                  <a:pos x="287" y="417"/>
                </a:cxn>
                <a:cxn ang="0">
                  <a:pos x="342" y="428"/>
                </a:cxn>
                <a:cxn ang="0">
                  <a:pos x="393" y="445"/>
                </a:cxn>
                <a:cxn ang="0">
                  <a:pos x="441" y="470"/>
                </a:cxn>
                <a:cxn ang="0">
                  <a:pos x="491" y="499"/>
                </a:cxn>
                <a:cxn ang="0">
                  <a:pos x="562" y="545"/>
                </a:cxn>
                <a:cxn ang="0">
                  <a:pos x="616" y="570"/>
                </a:cxn>
                <a:cxn ang="0">
                  <a:pos x="630" y="572"/>
                </a:cxn>
                <a:cxn ang="0">
                  <a:pos x="641" y="568"/>
                </a:cxn>
                <a:cxn ang="0">
                  <a:pos x="646" y="556"/>
                </a:cxn>
                <a:cxn ang="0">
                  <a:pos x="642" y="534"/>
                </a:cxn>
                <a:cxn ang="0">
                  <a:pos x="640" y="509"/>
                </a:cxn>
                <a:cxn ang="0">
                  <a:pos x="645" y="490"/>
                </a:cxn>
                <a:cxn ang="0">
                  <a:pos x="656" y="479"/>
                </a:cxn>
                <a:cxn ang="0">
                  <a:pos x="670" y="477"/>
                </a:cxn>
                <a:cxn ang="0">
                  <a:pos x="686" y="486"/>
                </a:cxn>
                <a:cxn ang="0">
                  <a:pos x="695" y="495"/>
                </a:cxn>
                <a:cxn ang="0">
                  <a:pos x="706" y="494"/>
                </a:cxn>
                <a:cxn ang="0">
                  <a:pos x="725" y="476"/>
                </a:cxn>
                <a:cxn ang="0">
                  <a:pos x="751" y="433"/>
                </a:cxn>
                <a:cxn ang="0">
                  <a:pos x="777" y="369"/>
                </a:cxn>
                <a:cxn ang="0">
                  <a:pos x="782" y="335"/>
                </a:cxn>
                <a:cxn ang="0">
                  <a:pos x="770" y="280"/>
                </a:cxn>
                <a:cxn ang="0">
                  <a:pos x="756" y="223"/>
                </a:cxn>
                <a:cxn ang="0">
                  <a:pos x="758" y="188"/>
                </a:cxn>
                <a:cxn ang="0">
                  <a:pos x="767" y="118"/>
                </a:cxn>
                <a:cxn ang="0">
                  <a:pos x="766" y="83"/>
                </a:cxn>
                <a:cxn ang="0">
                  <a:pos x="756" y="61"/>
                </a:cxn>
                <a:cxn ang="0">
                  <a:pos x="729" y="27"/>
                </a:cxn>
                <a:cxn ang="0">
                  <a:pos x="707" y="10"/>
                </a:cxn>
                <a:cxn ang="0">
                  <a:pos x="686" y="2"/>
                </a:cxn>
                <a:cxn ang="0">
                  <a:pos x="661" y="0"/>
                </a:cxn>
              </a:cxnLst>
              <a:rect l="0" t="0" r="r" b="b"/>
              <a:pathLst>
                <a:path w="782" h="572">
                  <a:moveTo>
                    <a:pt x="661" y="0"/>
                  </a:moveTo>
                  <a:lnTo>
                    <a:pt x="617" y="0"/>
                  </a:lnTo>
                  <a:lnTo>
                    <a:pt x="572" y="0"/>
                  </a:lnTo>
                  <a:lnTo>
                    <a:pt x="526" y="1"/>
                  </a:lnTo>
                  <a:lnTo>
                    <a:pt x="482" y="3"/>
                  </a:lnTo>
                  <a:lnTo>
                    <a:pt x="438" y="6"/>
                  </a:lnTo>
                  <a:lnTo>
                    <a:pt x="395" y="12"/>
                  </a:lnTo>
                  <a:lnTo>
                    <a:pt x="373" y="16"/>
                  </a:lnTo>
                  <a:lnTo>
                    <a:pt x="352" y="21"/>
                  </a:lnTo>
                  <a:lnTo>
                    <a:pt x="331" y="27"/>
                  </a:lnTo>
                  <a:lnTo>
                    <a:pt x="310" y="32"/>
                  </a:lnTo>
                  <a:lnTo>
                    <a:pt x="303" y="35"/>
                  </a:lnTo>
                  <a:lnTo>
                    <a:pt x="293" y="40"/>
                  </a:lnTo>
                  <a:lnTo>
                    <a:pt x="283" y="47"/>
                  </a:lnTo>
                  <a:lnTo>
                    <a:pt x="272" y="54"/>
                  </a:lnTo>
                  <a:lnTo>
                    <a:pt x="252" y="70"/>
                  </a:lnTo>
                  <a:lnTo>
                    <a:pt x="239" y="81"/>
                  </a:lnTo>
                  <a:lnTo>
                    <a:pt x="227" y="88"/>
                  </a:lnTo>
                  <a:lnTo>
                    <a:pt x="201" y="104"/>
                  </a:lnTo>
                  <a:lnTo>
                    <a:pt x="175" y="119"/>
                  </a:lnTo>
                  <a:lnTo>
                    <a:pt x="161" y="126"/>
                  </a:lnTo>
                  <a:lnTo>
                    <a:pt x="160" y="144"/>
                  </a:lnTo>
                  <a:lnTo>
                    <a:pt x="157" y="170"/>
                  </a:lnTo>
                  <a:lnTo>
                    <a:pt x="155" y="183"/>
                  </a:lnTo>
                  <a:lnTo>
                    <a:pt x="151" y="194"/>
                  </a:lnTo>
                  <a:lnTo>
                    <a:pt x="149" y="198"/>
                  </a:lnTo>
                  <a:lnTo>
                    <a:pt x="147" y="202"/>
                  </a:lnTo>
                  <a:lnTo>
                    <a:pt x="145" y="203"/>
                  </a:lnTo>
                  <a:lnTo>
                    <a:pt x="142" y="204"/>
                  </a:lnTo>
                  <a:lnTo>
                    <a:pt x="142" y="211"/>
                  </a:lnTo>
                  <a:lnTo>
                    <a:pt x="130" y="212"/>
                  </a:lnTo>
                  <a:lnTo>
                    <a:pt x="118" y="214"/>
                  </a:lnTo>
                  <a:lnTo>
                    <a:pt x="104" y="216"/>
                  </a:lnTo>
                  <a:lnTo>
                    <a:pt x="92" y="221"/>
                  </a:lnTo>
                  <a:lnTo>
                    <a:pt x="79" y="224"/>
                  </a:lnTo>
                  <a:lnTo>
                    <a:pt x="67" y="227"/>
                  </a:lnTo>
                  <a:lnTo>
                    <a:pt x="56" y="229"/>
                  </a:lnTo>
                  <a:lnTo>
                    <a:pt x="45" y="230"/>
                  </a:lnTo>
                  <a:lnTo>
                    <a:pt x="42" y="234"/>
                  </a:lnTo>
                  <a:lnTo>
                    <a:pt x="37" y="236"/>
                  </a:lnTo>
                  <a:lnTo>
                    <a:pt x="36" y="239"/>
                  </a:lnTo>
                  <a:lnTo>
                    <a:pt x="34" y="241"/>
                  </a:lnTo>
                  <a:lnTo>
                    <a:pt x="33" y="243"/>
                  </a:lnTo>
                  <a:lnTo>
                    <a:pt x="33" y="246"/>
                  </a:lnTo>
                  <a:lnTo>
                    <a:pt x="28" y="246"/>
                  </a:lnTo>
                  <a:lnTo>
                    <a:pt x="26" y="247"/>
                  </a:lnTo>
                  <a:lnTo>
                    <a:pt x="25" y="250"/>
                  </a:lnTo>
                  <a:lnTo>
                    <a:pt x="24" y="252"/>
                  </a:lnTo>
                  <a:lnTo>
                    <a:pt x="26" y="259"/>
                  </a:lnTo>
                  <a:lnTo>
                    <a:pt x="31" y="265"/>
                  </a:lnTo>
                  <a:lnTo>
                    <a:pt x="43" y="279"/>
                  </a:lnTo>
                  <a:lnTo>
                    <a:pt x="48" y="284"/>
                  </a:lnTo>
                  <a:lnTo>
                    <a:pt x="57" y="287"/>
                  </a:lnTo>
                  <a:lnTo>
                    <a:pt x="74" y="290"/>
                  </a:lnTo>
                  <a:lnTo>
                    <a:pt x="90" y="293"/>
                  </a:lnTo>
                  <a:lnTo>
                    <a:pt x="98" y="294"/>
                  </a:lnTo>
                  <a:lnTo>
                    <a:pt x="98" y="303"/>
                  </a:lnTo>
                  <a:lnTo>
                    <a:pt x="100" y="314"/>
                  </a:lnTo>
                  <a:lnTo>
                    <a:pt x="102" y="324"/>
                  </a:lnTo>
                  <a:lnTo>
                    <a:pt x="103" y="333"/>
                  </a:lnTo>
                  <a:lnTo>
                    <a:pt x="100" y="335"/>
                  </a:lnTo>
                  <a:lnTo>
                    <a:pt x="94" y="339"/>
                  </a:lnTo>
                  <a:lnTo>
                    <a:pt x="88" y="346"/>
                  </a:lnTo>
                  <a:lnTo>
                    <a:pt x="81" y="354"/>
                  </a:lnTo>
                  <a:lnTo>
                    <a:pt x="64" y="376"/>
                  </a:lnTo>
                  <a:lnTo>
                    <a:pt x="46" y="402"/>
                  </a:lnTo>
                  <a:lnTo>
                    <a:pt x="28" y="428"/>
                  </a:lnTo>
                  <a:lnTo>
                    <a:pt x="14" y="454"/>
                  </a:lnTo>
                  <a:lnTo>
                    <a:pt x="8" y="465"/>
                  </a:lnTo>
                  <a:lnTo>
                    <a:pt x="4" y="475"/>
                  </a:lnTo>
                  <a:lnTo>
                    <a:pt x="2" y="483"/>
                  </a:lnTo>
                  <a:lnTo>
                    <a:pt x="0" y="489"/>
                  </a:lnTo>
                  <a:lnTo>
                    <a:pt x="9" y="490"/>
                  </a:lnTo>
                  <a:lnTo>
                    <a:pt x="17" y="492"/>
                  </a:lnTo>
                  <a:lnTo>
                    <a:pt x="25" y="496"/>
                  </a:lnTo>
                  <a:lnTo>
                    <a:pt x="33" y="500"/>
                  </a:lnTo>
                  <a:lnTo>
                    <a:pt x="41" y="502"/>
                  </a:lnTo>
                  <a:lnTo>
                    <a:pt x="51" y="502"/>
                  </a:lnTo>
                  <a:lnTo>
                    <a:pt x="55" y="502"/>
                  </a:lnTo>
                  <a:lnTo>
                    <a:pt x="61" y="501"/>
                  </a:lnTo>
                  <a:lnTo>
                    <a:pt x="67" y="499"/>
                  </a:lnTo>
                  <a:lnTo>
                    <a:pt x="74" y="495"/>
                  </a:lnTo>
                  <a:lnTo>
                    <a:pt x="88" y="487"/>
                  </a:lnTo>
                  <a:lnTo>
                    <a:pt x="103" y="475"/>
                  </a:lnTo>
                  <a:lnTo>
                    <a:pt x="120" y="462"/>
                  </a:lnTo>
                  <a:lnTo>
                    <a:pt x="138" y="447"/>
                  </a:lnTo>
                  <a:lnTo>
                    <a:pt x="157" y="434"/>
                  </a:lnTo>
                  <a:lnTo>
                    <a:pt x="175" y="422"/>
                  </a:lnTo>
                  <a:lnTo>
                    <a:pt x="182" y="417"/>
                  </a:lnTo>
                  <a:lnTo>
                    <a:pt x="191" y="414"/>
                  </a:lnTo>
                  <a:lnTo>
                    <a:pt x="199" y="412"/>
                  </a:lnTo>
                  <a:lnTo>
                    <a:pt x="207" y="412"/>
                  </a:lnTo>
                  <a:lnTo>
                    <a:pt x="228" y="412"/>
                  </a:lnTo>
                  <a:lnTo>
                    <a:pt x="248" y="413"/>
                  </a:lnTo>
                  <a:lnTo>
                    <a:pt x="268" y="414"/>
                  </a:lnTo>
                  <a:lnTo>
                    <a:pt x="287" y="417"/>
                  </a:lnTo>
                  <a:lnTo>
                    <a:pt x="306" y="419"/>
                  </a:lnTo>
                  <a:lnTo>
                    <a:pt x="324" y="424"/>
                  </a:lnTo>
                  <a:lnTo>
                    <a:pt x="342" y="428"/>
                  </a:lnTo>
                  <a:lnTo>
                    <a:pt x="360" y="433"/>
                  </a:lnTo>
                  <a:lnTo>
                    <a:pt x="377" y="439"/>
                  </a:lnTo>
                  <a:lnTo>
                    <a:pt x="393" y="445"/>
                  </a:lnTo>
                  <a:lnTo>
                    <a:pt x="409" y="453"/>
                  </a:lnTo>
                  <a:lnTo>
                    <a:pt x="426" y="461"/>
                  </a:lnTo>
                  <a:lnTo>
                    <a:pt x="441" y="470"/>
                  </a:lnTo>
                  <a:lnTo>
                    <a:pt x="458" y="479"/>
                  </a:lnTo>
                  <a:lnTo>
                    <a:pt x="474" y="489"/>
                  </a:lnTo>
                  <a:lnTo>
                    <a:pt x="491" y="499"/>
                  </a:lnTo>
                  <a:lnTo>
                    <a:pt x="510" y="512"/>
                  </a:lnTo>
                  <a:lnTo>
                    <a:pt x="534" y="529"/>
                  </a:lnTo>
                  <a:lnTo>
                    <a:pt x="562" y="545"/>
                  </a:lnTo>
                  <a:lnTo>
                    <a:pt x="590" y="561"/>
                  </a:lnTo>
                  <a:lnTo>
                    <a:pt x="603" y="567"/>
                  </a:lnTo>
                  <a:lnTo>
                    <a:pt x="616" y="570"/>
                  </a:lnTo>
                  <a:lnTo>
                    <a:pt x="621" y="571"/>
                  </a:lnTo>
                  <a:lnTo>
                    <a:pt x="626" y="572"/>
                  </a:lnTo>
                  <a:lnTo>
                    <a:pt x="630" y="572"/>
                  </a:lnTo>
                  <a:lnTo>
                    <a:pt x="635" y="571"/>
                  </a:lnTo>
                  <a:lnTo>
                    <a:pt x="638" y="570"/>
                  </a:lnTo>
                  <a:lnTo>
                    <a:pt x="641" y="568"/>
                  </a:lnTo>
                  <a:lnTo>
                    <a:pt x="643" y="564"/>
                  </a:lnTo>
                  <a:lnTo>
                    <a:pt x="645" y="560"/>
                  </a:lnTo>
                  <a:lnTo>
                    <a:pt x="646" y="556"/>
                  </a:lnTo>
                  <a:lnTo>
                    <a:pt x="646" y="550"/>
                  </a:lnTo>
                  <a:lnTo>
                    <a:pt x="645" y="542"/>
                  </a:lnTo>
                  <a:lnTo>
                    <a:pt x="642" y="534"/>
                  </a:lnTo>
                  <a:lnTo>
                    <a:pt x="640" y="525"/>
                  </a:lnTo>
                  <a:lnTo>
                    <a:pt x="640" y="516"/>
                  </a:lnTo>
                  <a:lnTo>
                    <a:pt x="640" y="509"/>
                  </a:lnTo>
                  <a:lnTo>
                    <a:pt x="640" y="501"/>
                  </a:lnTo>
                  <a:lnTo>
                    <a:pt x="642" y="495"/>
                  </a:lnTo>
                  <a:lnTo>
                    <a:pt x="645" y="490"/>
                  </a:lnTo>
                  <a:lnTo>
                    <a:pt x="648" y="485"/>
                  </a:lnTo>
                  <a:lnTo>
                    <a:pt x="651" y="482"/>
                  </a:lnTo>
                  <a:lnTo>
                    <a:pt x="656" y="479"/>
                  </a:lnTo>
                  <a:lnTo>
                    <a:pt x="660" y="477"/>
                  </a:lnTo>
                  <a:lnTo>
                    <a:pt x="665" y="476"/>
                  </a:lnTo>
                  <a:lnTo>
                    <a:pt x="670" y="477"/>
                  </a:lnTo>
                  <a:lnTo>
                    <a:pt x="675" y="480"/>
                  </a:lnTo>
                  <a:lnTo>
                    <a:pt x="680" y="482"/>
                  </a:lnTo>
                  <a:lnTo>
                    <a:pt x="686" y="486"/>
                  </a:lnTo>
                  <a:lnTo>
                    <a:pt x="690" y="492"/>
                  </a:lnTo>
                  <a:lnTo>
                    <a:pt x="693" y="494"/>
                  </a:lnTo>
                  <a:lnTo>
                    <a:pt x="695" y="495"/>
                  </a:lnTo>
                  <a:lnTo>
                    <a:pt x="698" y="496"/>
                  </a:lnTo>
                  <a:lnTo>
                    <a:pt x="700" y="496"/>
                  </a:lnTo>
                  <a:lnTo>
                    <a:pt x="706" y="494"/>
                  </a:lnTo>
                  <a:lnTo>
                    <a:pt x="712" y="490"/>
                  </a:lnTo>
                  <a:lnTo>
                    <a:pt x="718" y="484"/>
                  </a:lnTo>
                  <a:lnTo>
                    <a:pt x="725" y="476"/>
                  </a:lnTo>
                  <a:lnTo>
                    <a:pt x="732" y="466"/>
                  </a:lnTo>
                  <a:lnTo>
                    <a:pt x="738" y="456"/>
                  </a:lnTo>
                  <a:lnTo>
                    <a:pt x="751" y="433"/>
                  </a:lnTo>
                  <a:lnTo>
                    <a:pt x="762" y="408"/>
                  </a:lnTo>
                  <a:lnTo>
                    <a:pt x="771" y="387"/>
                  </a:lnTo>
                  <a:lnTo>
                    <a:pt x="777" y="369"/>
                  </a:lnTo>
                  <a:lnTo>
                    <a:pt x="781" y="358"/>
                  </a:lnTo>
                  <a:lnTo>
                    <a:pt x="782" y="346"/>
                  </a:lnTo>
                  <a:lnTo>
                    <a:pt x="782" y="335"/>
                  </a:lnTo>
                  <a:lnTo>
                    <a:pt x="781" y="323"/>
                  </a:lnTo>
                  <a:lnTo>
                    <a:pt x="775" y="302"/>
                  </a:lnTo>
                  <a:lnTo>
                    <a:pt x="770" y="280"/>
                  </a:lnTo>
                  <a:lnTo>
                    <a:pt x="763" y="258"/>
                  </a:lnTo>
                  <a:lnTo>
                    <a:pt x="757" y="235"/>
                  </a:lnTo>
                  <a:lnTo>
                    <a:pt x="756" y="223"/>
                  </a:lnTo>
                  <a:lnTo>
                    <a:pt x="755" y="212"/>
                  </a:lnTo>
                  <a:lnTo>
                    <a:pt x="756" y="199"/>
                  </a:lnTo>
                  <a:lnTo>
                    <a:pt x="758" y="188"/>
                  </a:lnTo>
                  <a:lnTo>
                    <a:pt x="763" y="165"/>
                  </a:lnTo>
                  <a:lnTo>
                    <a:pt x="765" y="143"/>
                  </a:lnTo>
                  <a:lnTo>
                    <a:pt x="767" y="118"/>
                  </a:lnTo>
                  <a:lnTo>
                    <a:pt x="769" y="93"/>
                  </a:lnTo>
                  <a:lnTo>
                    <a:pt x="767" y="89"/>
                  </a:lnTo>
                  <a:lnTo>
                    <a:pt x="766" y="83"/>
                  </a:lnTo>
                  <a:lnTo>
                    <a:pt x="764" y="78"/>
                  </a:lnTo>
                  <a:lnTo>
                    <a:pt x="762" y="72"/>
                  </a:lnTo>
                  <a:lnTo>
                    <a:pt x="756" y="61"/>
                  </a:lnTo>
                  <a:lnTo>
                    <a:pt x="748" y="51"/>
                  </a:lnTo>
                  <a:lnTo>
                    <a:pt x="735" y="35"/>
                  </a:lnTo>
                  <a:lnTo>
                    <a:pt x="729" y="27"/>
                  </a:lnTo>
                  <a:lnTo>
                    <a:pt x="723" y="27"/>
                  </a:lnTo>
                  <a:lnTo>
                    <a:pt x="715" y="18"/>
                  </a:lnTo>
                  <a:lnTo>
                    <a:pt x="707" y="10"/>
                  </a:lnTo>
                  <a:lnTo>
                    <a:pt x="699" y="8"/>
                  </a:lnTo>
                  <a:lnTo>
                    <a:pt x="691" y="4"/>
                  </a:lnTo>
                  <a:lnTo>
                    <a:pt x="686" y="2"/>
                  </a:lnTo>
                  <a:lnTo>
                    <a:pt x="679" y="1"/>
                  </a:lnTo>
                  <a:lnTo>
                    <a:pt x="671" y="0"/>
                  </a:lnTo>
                  <a:lnTo>
                    <a:pt x="661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0" name="Freeform 56"/>
            <p:cNvSpPr>
              <a:spLocks noChangeAspect="1"/>
            </p:cNvSpPr>
            <p:nvPr/>
          </p:nvSpPr>
          <p:spPr bwMode="gray">
            <a:xfrm rot="355651">
              <a:off x="6455543" y="2468563"/>
              <a:ext cx="455978" cy="274668"/>
            </a:xfrm>
            <a:custGeom>
              <a:avLst/>
              <a:gdLst/>
              <a:ahLst/>
              <a:cxnLst>
                <a:cxn ang="0">
                  <a:pos x="1740" y="1661"/>
                </a:cxn>
                <a:cxn ang="0">
                  <a:pos x="1849" y="1643"/>
                </a:cxn>
                <a:cxn ang="0">
                  <a:pos x="1946" y="1647"/>
                </a:cxn>
                <a:cxn ang="0">
                  <a:pos x="2019" y="1569"/>
                </a:cxn>
                <a:cxn ang="0">
                  <a:pos x="2152" y="1480"/>
                </a:cxn>
                <a:cxn ang="0">
                  <a:pos x="2216" y="1357"/>
                </a:cxn>
                <a:cxn ang="0">
                  <a:pos x="2391" y="1219"/>
                </a:cxn>
                <a:cxn ang="0">
                  <a:pos x="2448" y="1108"/>
                </a:cxn>
                <a:cxn ang="0">
                  <a:pos x="2499" y="1084"/>
                </a:cxn>
                <a:cxn ang="0">
                  <a:pos x="2466" y="1057"/>
                </a:cxn>
                <a:cxn ang="0">
                  <a:pos x="2421" y="1031"/>
                </a:cxn>
                <a:cxn ang="0">
                  <a:pos x="2362" y="1014"/>
                </a:cxn>
                <a:cxn ang="0">
                  <a:pos x="2294" y="980"/>
                </a:cxn>
                <a:cxn ang="0">
                  <a:pos x="2240" y="947"/>
                </a:cxn>
                <a:cxn ang="0">
                  <a:pos x="2230" y="916"/>
                </a:cxn>
                <a:cxn ang="0">
                  <a:pos x="2210" y="843"/>
                </a:cxn>
                <a:cxn ang="0">
                  <a:pos x="2132" y="826"/>
                </a:cxn>
                <a:cxn ang="0">
                  <a:pos x="1960" y="795"/>
                </a:cxn>
                <a:cxn ang="0">
                  <a:pos x="1879" y="729"/>
                </a:cxn>
                <a:cxn ang="0">
                  <a:pos x="1829" y="691"/>
                </a:cxn>
                <a:cxn ang="0">
                  <a:pos x="1763" y="623"/>
                </a:cxn>
                <a:cxn ang="0">
                  <a:pos x="1714" y="551"/>
                </a:cxn>
                <a:cxn ang="0">
                  <a:pos x="1679" y="519"/>
                </a:cxn>
                <a:cxn ang="0">
                  <a:pos x="1619" y="459"/>
                </a:cxn>
                <a:cxn ang="0">
                  <a:pos x="1588" y="261"/>
                </a:cxn>
                <a:cxn ang="0">
                  <a:pos x="1533" y="203"/>
                </a:cxn>
                <a:cxn ang="0">
                  <a:pos x="1511" y="102"/>
                </a:cxn>
                <a:cxn ang="0">
                  <a:pos x="1498" y="74"/>
                </a:cxn>
                <a:cxn ang="0">
                  <a:pos x="1425" y="57"/>
                </a:cxn>
                <a:cxn ang="0">
                  <a:pos x="1270" y="41"/>
                </a:cxn>
                <a:cxn ang="0">
                  <a:pos x="1152" y="18"/>
                </a:cxn>
                <a:cxn ang="0">
                  <a:pos x="1007" y="53"/>
                </a:cxn>
                <a:cxn ang="0">
                  <a:pos x="884" y="25"/>
                </a:cxn>
                <a:cxn ang="0">
                  <a:pos x="770" y="46"/>
                </a:cxn>
                <a:cxn ang="0">
                  <a:pos x="759" y="77"/>
                </a:cxn>
                <a:cxn ang="0">
                  <a:pos x="739" y="116"/>
                </a:cxn>
                <a:cxn ang="0">
                  <a:pos x="719" y="128"/>
                </a:cxn>
                <a:cxn ang="0">
                  <a:pos x="481" y="150"/>
                </a:cxn>
                <a:cxn ang="0">
                  <a:pos x="108" y="257"/>
                </a:cxn>
                <a:cxn ang="0">
                  <a:pos x="45" y="312"/>
                </a:cxn>
                <a:cxn ang="0">
                  <a:pos x="4" y="377"/>
                </a:cxn>
                <a:cxn ang="0">
                  <a:pos x="39" y="488"/>
                </a:cxn>
                <a:cxn ang="0">
                  <a:pos x="137" y="594"/>
                </a:cxn>
                <a:cxn ang="0">
                  <a:pos x="255" y="625"/>
                </a:cxn>
                <a:cxn ang="0">
                  <a:pos x="312" y="652"/>
                </a:cxn>
                <a:cxn ang="0">
                  <a:pos x="456" y="665"/>
                </a:cxn>
                <a:cxn ang="0">
                  <a:pos x="519" y="702"/>
                </a:cxn>
                <a:cxn ang="0">
                  <a:pos x="572" y="764"/>
                </a:cxn>
                <a:cxn ang="0">
                  <a:pos x="619" y="812"/>
                </a:cxn>
                <a:cxn ang="0">
                  <a:pos x="667" y="853"/>
                </a:cxn>
                <a:cxn ang="0">
                  <a:pos x="740" y="919"/>
                </a:cxn>
                <a:cxn ang="0">
                  <a:pos x="756" y="1014"/>
                </a:cxn>
                <a:cxn ang="0">
                  <a:pos x="792" y="1114"/>
                </a:cxn>
                <a:cxn ang="0">
                  <a:pos x="832" y="1217"/>
                </a:cxn>
                <a:cxn ang="0">
                  <a:pos x="893" y="1299"/>
                </a:cxn>
                <a:cxn ang="0">
                  <a:pos x="918" y="1324"/>
                </a:cxn>
                <a:cxn ang="0">
                  <a:pos x="1022" y="1386"/>
                </a:cxn>
                <a:cxn ang="0">
                  <a:pos x="1119" y="1429"/>
                </a:cxn>
                <a:cxn ang="0">
                  <a:pos x="1298" y="1543"/>
                </a:cxn>
                <a:cxn ang="0">
                  <a:pos x="1383" y="1577"/>
                </a:cxn>
                <a:cxn ang="0">
                  <a:pos x="1451" y="1611"/>
                </a:cxn>
                <a:cxn ang="0">
                  <a:pos x="1498" y="1642"/>
                </a:cxn>
                <a:cxn ang="0">
                  <a:pos x="1647" y="1702"/>
                </a:cxn>
              </a:cxnLst>
              <a:rect l="0" t="0" r="r" b="b"/>
              <a:pathLst>
                <a:path w="2509" h="1707">
                  <a:moveTo>
                    <a:pt x="1720" y="1707"/>
                  </a:moveTo>
                  <a:lnTo>
                    <a:pt x="1723" y="1705"/>
                  </a:lnTo>
                  <a:lnTo>
                    <a:pt x="1727" y="1703"/>
                  </a:lnTo>
                  <a:lnTo>
                    <a:pt x="1728" y="1701"/>
                  </a:lnTo>
                  <a:lnTo>
                    <a:pt x="1729" y="1699"/>
                  </a:lnTo>
                  <a:lnTo>
                    <a:pt x="1729" y="1685"/>
                  </a:lnTo>
                  <a:lnTo>
                    <a:pt x="1731" y="1675"/>
                  </a:lnTo>
                  <a:lnTo>
                    <a:pt x="1732" y="1671"/>
                  </a:lnTo>
                  <a:lnTo>
                    <a:pt x="1734" y="1668"/>
                  </a:lnTo>
                  <a:lnTo>
                    <a:pt x="1737" y="1663"/>
                  </a:lnTo>
                  <a:lnTo>
                    <a:pt x="1740" y="1661"/>
                  </a:lnTo>
                  <a:lnTo>
                    <a:pt x="1748" y="1654"/>
                  </a:lnTo>
                  <a:lnTo>
                    <a:pt x="1759" y="1650"/>
                  </a:lnTo>
                  <a:lnTo>
                    <a:pt x="1772" y="1643"/>
                  </a:lnTo>
                  <a:lnTo>
                    <a:pt x="1789" y="1637"/>
                  </a:lnTo>
                  <a:lnTo>
                    <a:pt x="1797" y="1635"/>
                  </a:lnTo>
                  <a:lnTo>
                    <a:pt x="1804" y="1633"/>
                  </a:lnTo>
                  <a:lnTo>
                    <a:pt x="1810" y="1633"/>
                  </a:lnTo>
                  <a:lnTo>
                    <a:pt x="1816" y="1633"/>
                  </a:lnTo>
                  <a:lnTo>
                    <a:pt x="1827" y="1635"/>
                  </a:lnTo>
                  <a:lnTo>
                    <a:pt x="1838" y="1639"/>
                  </a:lnTo>
                  <a:lnTo>
                    <a:pt x="1849" y="1643"/>
                  </a:lnTo>
                  <a:lnTo>
                    <a:pt x="1861" y="1649"/>
                  </a:lnTo>
                  <a:lnTo>
                    <a:pt x="1872" y="1653"/>
                  </a:lnTo>
                  <a:lnTo>
                    <a:pt x="1884" y="1655"/>
                  </a:lnTo>
                  <a:lnTo>
                    <a:pt x="1896" y="1658"/>
                  </a:lnTo>
                  <a:lnTo>
                    <a:pt x="1909" y="1659"/>
                  </a:lnTo>
                  <a:lnTo>
                    <a:pt x="1920" y="1659"/>
                  </a:lnTo>
                  <a:lnTo>
                    <a:pt x="1931" y="1656"/>
                  </a:lnTo>
                  <a:lnTo>
                    <a:pt x="1935" y="1655"/>
                  </a:lnTo>
                  <a:lnTo>
                    <a:pt x="1940" y="1653"/>
                  </a:lnTo>
                  <a:lnTo>
                    <a:pt x="1943" y="1651"/>
                  </a:lnTo>
                  <a:lnTo>
                    <a:pt x="1946" y="1647"/>
                  </a:lnTo>
                  <a:lnTo>
                    <a:pt x="1950" y="1643"/>
                  </a:lnTo>
                  <a:lnTo>
                    <a:pt x="1951" y="1639"/>
                  </a:lnTo>
                  <a:lnTo>
                    <a:pt x="1952" y="1633"/>
                  </a:lnTo>
                  <a:lnTo>
                    <a:pt x="1953" y="1626"/>
                  </a:lnTo>
                  <a:lnTo>
                    <a:pt x="1954" y="1622"/>
                  </a:lnTo>
                  <a:lnTo>
                    <a:pt x="1957" y="1617"/>
                  </a:lnTo>
                  <a:lnTo>
                    <a:pt x="1960" y="1613"/>
                  </a:lnTo>
                  <a:lnTo>
                    <a:pt x="1964" y="1607"/>
                  </a:lnTo>
                  <a:lnTo>
                    <a:pt x="1977" y="1597"/>
                  </a:lnTo>
                  <a:lnTo>
                    <a:pt x="1991" y="1587"/>
                  </a:lnTo>
                  <a:lnTo>
                    <a:pt x="2019" y="1569"/>
                  </a:lnTo>
                  <a:lnTo>
                    <a:pt x="2038" y="1559"/>
                  </a:lnTo>
                  <a:lnTo>
                    <a:pt x="2055" y="1553"/>
                  </a:lnTo>
                  <a:lnTo>
                    <a:pt x="2069" y="1545"/>
                  </a:lnTo>
                  <a:lnTo>
                    <a:pt x="2083" y="1538"/>
                  </a:lnTo>
                  <a:lnTo>
                    <a:pt x="2095" y="1531"/>
                  </a:lnTo>
                  <a:lnTo>
                    <a:pt x="2107" y="1524"/>
                  </a:lnTo>
                  <a:lnTo>
                    <a:pt x="2117" y="1516"/>
                  </a:lnTo>
                  <a:lnTo>
                    <a:pt x="2127" y="1508"/>
                  </a:lnTo>
                  <a:lnTo>
                    <a:pt x="2136" y="1499"/>
                  </a:lnTo>
                  <a:lnTo>
                    <a:pt x="2144" y="1490"/>
                  </a:lnTo>
                  <a:lnTo>
                    <a:pt x="2152" y="1480"/>
                  </a:lnTo>
                  <a:lnTo>
                    <a:pt x="2159" y="1469"/>
                  </a:lnTo>
                  <a:lnTo>
                    <a:pt x="2165" y="1457"/>
                  </a:lnTo>
                  <a:lnTo>
                    <a:pt x="2172" y="1444"/>
                  </a:lnTo>
                  <a:lnTo>
                    <a:pt x="2178" y="1431"/>
                  </a:lnTo>
                  <a:lnTo>
                    <a:pt x="2183" y="1415"/>
                  </a:lnTo>
                  <a:lnTo>
                    <a:pt x="2189" y="1399"/>
                  </a:lnTo>
                  <a:lnTo>
                    <a:pt x="2192" y="1392"/>
                  </a:lnTo>
                  <a:lnTo>
                    <a:pt x="2195" y="1384"/>
                  </a:lnTo>
                  <a:lnTo>
                    <a:pt x="2200" y="1377"/>
                  </a:lnTo>
                  <a:lnTo>
                    <a:pt x="2204" y="1371"/>
                  </a:lnTo>
                  <a:lnTo>
                    <a:pt x="2216" y="1357"/>
                  </a:lnTo>
                  <a:lnTo>
                    <a:pt x="2229" y="1344"/>
                  </a:lnTo>
                  <a:lnTo>
                    <a:pt x="2243" y="1332"/>
                  </a:lnTo>
                  <a:lnTo>
                    <a:pt x="2260" y="1320"/>
                  </a:lnTo>
                  <a:lnTo>
                    <a:pt x="2277" y="1308"/>
                  </a:lnTo>
                  <a:lnTo>
                    <a:pt x="2294" y="1296"/>
                  </a:lnTo>
                  <a:lnTo>
                    <a:pt x="2312" y="1285"/>
                  </a:lnTo>
                  <a:lnTo>
                    <a:pt x="2329" y="1272"/>
                  </a:lnTo>
                  <a:lnTo>
                    <a:pt x="2346" y="1260"/>
                  </a:lnTo>
                  <a:lnTo>
                    <a:pt x="2363" y="1247"/>
                  </a:lnTo>
                  <a:lnTo>
                    <a:pt x="2377" y="1233"/>
                  </a:lnTo>
                  <a:lnTo>
                    <a:pt x="2391" y="1219"/>
                  </a:lnTo>
                  <a:lnTo>
                    <a:pt x="2397" y="1212"/>
                  </a:lnTo>
                  <a:lnTo>
                    <a:pt x="2403" y="1204"/>
                  </a:lnTo>
                  <a:lnTo>
                    <a:pt x="2408" y="1197"/>
                  </a:lnTo>
                  <a:lnTo>
                    <a:pt x="2412" y="1189"/>
                  </a:lnTo>
                  <a:lnTo>
                    <a:pt x="2419" y="1170"/>
                  </a:lnTo>
                  <a:lnTo>
                    <a:pt x="2428" y="1143"/>
                  </a:lnTo>
                  <a:lnTo>
                    <a:pt x="2433" y="1130"/>
                  </a:lnTo>
                  <a:lnTo>
                    <a:pt x="2440" y="1118"/>
                  </a:lnTo>
                  <a:lnTo>
                    <a:pt x="2442" y="1114"/>
                  </a:lnTo>
                  <a:lnTo>
                    <a:pt x="2445" y="1111"/>
                  </a:lnTo>
                  <a:lnTo>
                    <a:pt x="2448" y="1108"/>
                  </a:lnTo>
                  <a:lnTo>
                    <a:pt x="2451" y="1108"/>
                  </a:lnTo>
                  <a:lnTo>
                    <a:pt x="2451" y="1104"/>
                  </a:lnTo>
                  <a:lnTo>
                    <a:pt x="2452" y="1104"/>
                  </a:lnTo>
                  <a:lnTo>
                    <a:pt x="2454" y="1104"/>
                  </a:lnTo>
                  <a:lnTo>
                    <a:pt x="2456" y="1103"/>
                  </a:lnTo>
                  <a:lnTo>
                    <a:pt x="2457" y="1101"/>
                  </a:lnTo>
                  <a:lnTo>
                    <a:pt x="2460" y="1101"/>
                  </a:lnTo>
                  <a:lnTo>
                    <a:pt x="2467" y="1098"/>
                  </a:lnTo>
                  <a:lnTo>
                    <a:pt x="2482" y="1093"/>
                  </a:lnTo>
                  <a:lnTo>
                    <a:pt x="2491" y="1088"/>
                  </a:lnTo>
                  <a:lnTo>
                    <a:pt x="2499" y="1084"/>
                  </a:lnTo>
                  <a:lnTo>
                    <a:pt x="2505" y="1079"/>
                  </a:lnTo>
                  <a:lnTo>
                    <a:pt x="2509" y="1075"/>
                  </a:lnTo>
                  <a:lnTo>
                    <a:pt x="2505" y="1075"/>
                  </a:lnTo>
                  <a:lnTo>
                    <a:pt x="2500" y="1074"/>
                  </a:lnTo>
                  <a:lnTo>
                    <a:pt x="2499" y="1074"/>
                  </a:lnTo>
                  <a:lnTo>
                    <a:pt x="2498" y="1073"/>
                  </a:lnTo>
                  <a:lnTo>
                    <a:pt x="2497" y="1070"/>
                  </a:lnTo>
                  <a:lnTo>
                    <a:pt x="2497" y="1069"/>
                  </a:lnTo>
                  <a:lnTo>
                    <a:pt x="2485" y="1069"/>
                  </a:lnTo>
                  <a:lnTo>
                    <a:pt x="2472" y="1069"/>
                  </a:lnTo>
                  <a:lnTo>
                    <a:pt x="2466" y="1057"/>
                  </a:lnTo>
                  <a:lnTo>
                    <a:pt x="2457" y="1054"/>
                  </a:lnTo>
                  <a:lnTo>
                    <a:pt x="2448" y="1050"/>
                  </a:lnTo>
                  <a:lnTo>
                    <a:pt x="2442" y="1038"/>
                  </a:lnTo>
                  <a:lnTo>
                    <a:pt x="2438" y="1038"/>
                  </a:lnTo>
                  <a:lnTo>
                    <a:pt x="2433" y="1038"/>
                  </a:lnTo>
                  <a:lnTo>
                    <a:pt x="2432" y="1037"/>
                  </a:lnTo>
                  <a:lnTo>
                    <a:pt x="2431" y="1036"/>
                  </a:lnTo>
                  <a:lnTo>
                    <a:pt x="2430" y="1035"/>
                  </a:lnTo>
                  <a:lnTo>
                    <a:pt x="2430" y="1033"/>
                  </a:lnTo>
                  <a:lnTo>
                    <a:pt x="2425" y="1033"/>
                  </a:lnTo>
                  <a:lnTo>
                    <a:pt x="2421" y="1031"/>
                  </a:lnTo>
                  <a:lnTo>
                    <a:pt x="2420" y="1030"/>
                  </a:lnTo>
                  <a:lnTo>
                    <a:pt x="2419" y="1029"/>
                  </a:lnTo>
                  <a:lnTo>
                    <a:pt x="2418" y="1028"/>
                  </a:lnTo>
                  <a:lnTo>
                    <a:pt x="2418" y="1026"/>
                  </a:lnTo>
                  <a:lnTo>
                    <a:pt x="2408" y="1026"/>
                  </a:lnTo>
                  <a:lnTo>
                    <a:pt x="2395" y="1025"/>
                  </a:lnTo>
                  <a:lnTo>
                    <a:pt x="2390" y="1024"/>
                  </a:lnTo>
                  <a:lnTo>
                    <a:pt x="2384" y="1021"/>
                  </a:lnTo>
                  <a:lnTo>
                    <a:pt x="2380" y="1018"/>
                  </a:lnTo>
                  <a:lnTo>
                    <a:pt x="2374" y="1014"/>
                  </a:lnTo>
                  <a:lnTo>
                    <a:pt x="2362" y="1014"/>
                  </a:lnTo>
                  <a:lnTo>
                    <a:pt x="2349" y="1014"/>
                  </a:lnTo>
                  <a:lnTo>
                    <a:pt x="2344" y="1001"/>
                  </a:lnTo>
                  <a:lnTo>
                    <a:pt x="2335" y="1000"/>
                  </a:lnTo>
                  <a:lnTo>
                    <a:pt x="2325" y="996"/>
                  </a:lnTo>
                  <a:lnTo>
                    <a:pt x="2319" y="993"/>
                  </a:lnTo>
                  <a:lnTo>
                    <a:pt x="2314" y="991"/>
                  </a:lnTo>
                  <a:lnTo>
                    <a:pt x="2308" y="990"/>
                  </a:lnTo>
                  <a:lnTo>
                    <a:pt x="2301" y="989"/>
                  </a:lnTo>
                  <a:lnTo>
                    <a:pt x="2300" y="986"/>
                  </a:lnTo>
                  <a:lnTo>
                    <a:pt x="2297" y="982"/>
                  </a:lnTo>
                  <a:lnTo>
                    <a:pt x="2294" y="980"/>
                  </a:lnTo>
                  <a:lnTo>
                    <a:pt x="2289" y="978"/>
                  </a:lnTo>
                  <a:lnTo>
                    <a:pt x="2285" y="977"/>
                  </a:lnTo>
                  <a:lnTo>
                    <a:pt x="2280" y="974"/>
                  </a:lnTo>
                  <a:lnTo>
                    <a:pt x="2278" y="973"/>
                  </a:lnTo>
                  <a:lnTo>
                    <a:pt x="2277" y="971"/>
                  </a:lnTo>
                  <a:lnTo>
                    <a:pt x="2265" y="971"/>
                  </a:lnTo>
                  <a:lnTo>
                    <a:pt x="2260" y="967"/>
                  </a:lnTo>
                  <a:lnTo>
                    <a:pt x="2256" y="962"/>
                  </a:lnTo>
                  <a:lnTo>
                    <a:pt x="2253" y="958"/>
                  </a:lnTo>
                  <a:lnTo>
                    <a:pt x="2252" y="953"/>
                  </a:lnTo>
                  <a:lnTo>
                    <a:pt x="2240" y="947"/>
                  </a:lnTo>
                  <a:lnTo>
                    <a:pt x="2240" y="942"/>
                  </a:lnTo>
                  <a:lnTo>
                    <a:pt x="2239" y="939"/>
                  </a:lnTo>
                  <a:lnTo>
                    <a:pt x="2239" y="937"/>
                  </a:lnTo>
                  <a:lnTo>
                    <a:pt x="2238" y="935"/>
                  </a:lnTo>
                  <a:lnTo>
                    <a:pt x="2236" y="934"/>
                  </a:lnTo>
                  <a:lnTo>
                    <a:pt x="2233" y="934"/>
                  </a:lnTo>
                  <a:lnTo>
                    <a:pt x="2233" y="929"/>
                  </a:lnTo>
                  <a:lnTo>
                    <a:pt x="2233" y="923"/>
                  </a:lnTo>
                  <a:lnTo>
                    <a:pt x="2232" y="921"/>
                  </a:lnTo>
                  <a:lnTo>
                    <a:pt x="2231" y="919"/>
                  </a:lnTo>
                  <a:lnTo>
                    <a:pt x="2230" y="916"/>
                  </a:lnTo>
                  <a:lnTo>
                    <a:pt x="2228" y="916"/>
                  </a:lnTo>
                  <a:lnTo>
                    <a:pt x="2228" y="904"/>
                  </a:lnTo>
                  <a:lnTo>
                    <a:pt x="2228" y="892"/>
                  </a:lnTo>
                  <a:lnTo>
                    <a:pt x="2216" y="880"/>
                  </a:lnTo>
                  <a:lnTo>
                    <a:pt x="2216" y="874"/>
                  </a:lnTo>
                  <a:lnTo>
                    <a:pt x="2214" y="868"/>
                  </a:lnTo>
                  <a:lnTo>
                    <a:pt x="2214" y="865"/>
                  </a:lnTo>
                  <a:lnTo>
                    <a:pt x="2213" y="863"/>
                  </a:lnTo>
                  <a:lnTo>
                    <a:pt x="2211" y="862"/>
                  </a:lnTo>
                  <a:lnTo>
                    <a:pt x="2210" y="861"/>
                  </a:lnTo>
                  <a:lnTo>
                    <a:pt x="2210" y="843"/>
                  </a:lnTo>
                  <a:lnTo>
                    <a:pt x="2204" y="836"/>
                  </a:lnTo>
                  <a:lnTo>
                    <a:pt x="2198" y="827"/>
                  </a:lnTo>
                  <a:lnTo>
                    <a:pt x="2193" y="819"/>
                  </a:lnTo>
                  <a:lnTo>
                    <a:pt x="2191" y="813"/>
                  </a:lnTo>
                  <a:lnTo>
                    <a:pt x="2181" y="812"/>
                  </a:lnTo>
                  <a:lnTo>
                    <a:pt x="2169" y="809"/>
                  </a:lnTo>
                  <a:lnTo>
                    <a:pt x="2156" y="807"/>
                  </a:lnTo>
                  <a:lnTo>
                    <a:pt x="2142" y="806"/>
                  </a:lnTo>
                  <a:lnTo>
                    <a:pt x="2136" y="813"/>
                  </a:lnTo>
                  <a:lnTo>
                    <a:pt x="2136" y="825"/>
                  </a:lnTo>
                  <a:lnTo>
                    <a:pt x="2132" y="826"/>
                  </a:lnTo>
                  <a:lnTo>
                    <a:pt x="2127" y="828"/>
                  </a:lnTo>
                  <a:lnTo>
                    <a:pt x="2125" y="833"/>
                  </a:lnTo>
                  <a:lnTo>
                    <a:pt x="2124" y="837"/>
                  </a:lnTo>
                  <a:lnTo>
                    <a:pt x="2117" y="843"/>
                  </a:lnTo>
                  <a:lnTo>
                    <a:pt x="2104" y="844"/>
                  </a:lnTo>
                  <a:lnTo>
                    <a:pt x="2083" y="846"/>
                  </a:lnTo>
                  <a:lnTo>
                    <a:pt x="2059" y="848"/>
                  </a:lnTo>
                  <a:lnTo>
                    <a:pt x="2038" y="849"/>
                  </a:lnTo>
                  <a:lnTo>
                    <a:pt x="2016" y="833"/>
                  </a:lnTo>
                  <a:lnTo>
                    <a:pt x="1979" y="808"/>
                  </a:lnTo>
                  <a:lnTo>
                    <a:pt x="1960" y="795"/>
                  </a:lnTo>
                  <a:lnTo>
                    <a:pt x="1944" y="783"/>
                  </a:lnTo>
                  <a:lnTo>
                    <a:pt x="1938" y="777"/>
                  </a:lnTo>
                  <a:lnTo>
                    <a:pt x="1932" y="771"/>
                  </a:lnTo>
                  <a:lnTo>
                    <a:pt x="1930" y="767"/>
                  </a:lnTo>
                  <a:lnTo>
                    <a:pt x="1929" y="764"/>
                  </a:lnTo>
                  <a:lnTo>
                    <a:pt x="1922" y="757"/>
                  </a:lnTo>
                  <a:lnTo>
                    <a:pt x="1910" y="757"/>
                  </a:lnTo>
                  <a:lnTo>
                    <a:pt x="1897" y="739"/>
                  </a:lnTo>
                  <a:lnTo>
                    <a:pt x="1888" y="736"/>
                  </a:lnTo>
                  <a:lnTo>
                    <a:pt x="1879" y="733"/>
                  </a:lnTo>
                  <a:lnTo>
                    <a:pt x="1879" y="729"/>
                  </a:lnTo>
                  <a:lnTo>
                    <a:pt x="1878" y="728"/>
                  </a:lnTo>
                  <a:lnTo>
                    <a:pt x="1877" y="727"/>
                  </a:lnTo>
                  <a:lnTo>
                    <a:pt x="1876" y="727"/>
                  </a:lnTo>
                  <a:lnTo>
                    <a:pt x="1875" y="727"/>
                  </a:lnTo>
                  <a:lnTo>
                    <a:pt x="1874" y="726"/>
                  </a:lnTo>
                  <a:lnTo>
                    <a:pt x="1874" y="724"/>
                  </a:lnTo>
                  <a:lnTo>
                    <a:pt x="1873" y="721"/>
                  </a:lnTo>
                  <a:lnTo>
                    <a:pt x="1866" y="718"/>
                  </a:lnTo>
                  <a:lnTo>
                    <a:pt x="1856" y="712"/>
                  </a:lnTo>
                  <a:lnTo>
                    <a:pt x="1843" y="702"/>
                  </a:lnTo>
                  <a:lnTo>
                    <a:pt x="1829" y="691"/>
                  </a:lnTo>
                  <a:lnTo>
                    <a:pt x="1816" y="679"/>
                  </a:lnTo>
                  <a:lnTo>
                    <a:pt x="1805" y="666"/>
                  </a:lnTo>
                  <a:lnTo>
                    <a:pt x="1800" y="661"/>
                  </a:lnTo>
                  <a:lnTo>
                    <a:pt x="1797" y="655"/>
                  </a:lnTo>
                  <a:lnTo>
                    <a:pt x="1795" y="651"/>
                  </a:lnTo>
                  <a:lnTo>
                    <a:pt x="1794" y="647"/>
                  </a:lnTo>
                  <a:lnTo>
                    <a:pt x="1788" y="645"/>
                  </a:lnTo>
                  <a:lnTo>
                    <a:pt x="1782" y="641"/>
                  </a:lnTo>
                  <a:lnTo>
                    <a:pt x="1778" y="634"/>
                  </a:lnTo>
                  <a:lnTo>
                    <a:pt x="1776" y="628"/>
                  </a:lnTo>
                  <a:lnTo>
                    <a:pt x="1763" y="623"/>
                  </a:lnTo>
                  <a:lnTo>
                    <a:pt x="1757" y="612"/>
                  </a:lnTo>
                  <a:lnTo>
                    <a:pt x="1742" y="592"/>
                  </a:lnTo>
                  <a:lnTo>
                    <a:pt x="1734" y="581"/>
                  </a:lnTo>
                  <a:lnTo>
                    <a:pt x="1728" y="570"/>
                  </a:lnTo>
                  <a:lnTo>
                    <a:pt x="1722" y="562"/>
                  </a:lnTo>
                  <a:lnTo>
                    <a:pt x="1721" y="556"/>
                  </a:lnTo>
                  <a:lnTo>
                    <a:pt x="1717" y="556"/>
                  </a:lnTo>
                  <a:lnTo>
                    <a:pt x="1715" y="555"/>
                  </a:lnTo>
                  <a:lnTo>
                    <a:pt x="1714" y="554"/>
                  </a:lnTo>
                  <a:lnTo>
                    <a:pt x="1714" y="553"/>
                  </a:lnTo>
                  <a:lnTo>
                    <a:pt x="1714" y="551"/>
                  </a:lnTo>
                  <a:lnTo>
                    <a:pt x="1713" y="550"/>
                  </a:lnTo>
                  <a:lnTo>
                    <a:pt x="1712" y="550"/>
                  </a:lnTo>
                  <a:lnTo>
                    <a:pt x="1709" y="549"/>
                  </a:lnTo>
                  <a:lnTo>
                    <a:pt x="1708" y="545"/>
                  </a:lnTo>
                  <a:lnTo>
                    <a:pt x="1704" y="541"/>
                  </a:lnTo>
                  <a:lnTo>
                    <a:pt x="1701" y="538"/>
                  </a:lnTo>
                  <a:lnTo>
                    <a:pt x="1696" y="537"/>
                  </a:lnTo>
                  <a:lnTo>
                    <a:pt x="1684" y="531"/>
                  </a:lnTo>
                  <a:lnTo>
                    <a:pt x="1684" y="525"/>
                  </a:lnTo>
                  <a:lnTo>
                    <a:pt x="1682" y="520"/>
                  </a:lnTo>
                  <a:lnTo>
                    <a:pt x="1679" y="519"/>
                  </a:lnTo>
                  <a:lnTo>
                    <a:pt x="1672" y="519"/>
                  </a:lnTo>
                  <a:lnTo>
                    <a:pt x="1665" y="510"/>
                  </a:lnTo>
                  <a:lnTo>
                    <a:pt x="1660" y="500"/>
                  </a:lnTo>
                  <a:lnTo>
                    <a:pt x="1647" y="500"/>
                  </a:lnTo>
                  <a:lnTo>
                    <a:pt x="1641" y="495"/>
                  </a:lnTo>
                  <a:lnTo>
                    <a:pt x="1635" y="489"/>
                  </a:lnTo>
                  <a:lnTo>
                    <a:pt x="1633" y="481"/>
                  </a:lnTo>
                  <a:lnTo>
                    <a:pt x="1628" y="471"/>
                  </a:lnTo>
                  <a:lnTo>
                    <a:pt x="1625" y="466"/>
                  </a:lnTo>
                  <a:lnTo>
                    <a:pt x="1622" y="462"/>
                  </a:lnTo>
                  <a:lnTo>
                    <a:pt x="1619" y="459"/>
                  </a:lnTo>
                  <a:lnTo>
                    <a:pt x="1617" y="458"/>
                  </a:lnTo>
                  <a:lnTo>
                    <a:pt x="1616" y="437"/>
                  </a:lnTo>
                  <a:lnTo>
                    <a:pt x="1614" y="413"/>
                  </a:lnTo>
                  <a:lnTo>
                    <a:pt x="1610" y="389"/>
                  </a:lnTo>
                  <a:lnTo>
                    <a:pt x="1607" y="363"/>
                  </a:lnTo>
                  <a:lnTo>
                    <a:pt x="1604" y="338"/>
                  </a:lnTo>
                  <a:lnTo>
                    <a:pt x="1602" y="314"/>
                  </a:lnTo>
                  <a:lnTo>
                    <a:pt x="1599" y="290"/>
                  </a:lnTo>
                  <a:lnTo>
                    <a:pt x="1598" y="268"/>
                  </a:lnTo>
                  <a:lnTo>
                    <a:pt x="1593" y="262"/>
                  </a:lnTo>
                  <a:lnTo>
                    <a:pt x="1588" y="261"/>
                  </a:lnTo>
                  <a:lnTo>
                    <a:pt x="1584" y="259"/>
                  </a:lnTo>
                  <a:lnTo>
                    <a:pt x="1581" y="255"/>
                  </a:lnTo>
                  <a:lnTo>
                    <a:pt x="1580" y="250"/>
                  </a:lnTo>
                  <a:lnTo>
                    <a:pt x="1574" y="245"/>
                  </a:lnTo>
                  <a:lnTo>
                    <a:pt x="1561" y="245"/>
                  </a:lnTo>
                  <a:lnTo>
                    <a:pt x="1556" y="238"/>
                  </a:lnTo>
                  <a:lnTo>
                    <a:pt x="1549" y="232"/>
                  </a:lnTo>
                  <a:lnTo>
                    <a:pt x="1543" y="226"/>
                  </a:lnTo>
                  <a:lnTo>
                    <a:pt x="1541" y="219"/>
                  </a:lnTo>
                  <a:lnTo>
                    <a:pt x="1537" y="208"/>
                  </a:lnTo>
                  <a:lnTo>
                    <a:pt x="1533" y="203"/>
                  </a:lnTo>
                  <a:lnTo>
                    <a:pt x="1530" y="199"/>
                  </a:lnTo>
                  <a:lnTo>
                    <a:pt x="1528" y="197"/>
                  </a:lnTo>
                  <a:lnTo>
                    <a:pt x="1525" y="195"/>
                  </a:lnTo>
                  <a:lnTo>
                    <a:pt x="1525" y="180"/>
                  </a:lnTo>
                  <a:lnTo>
                    <a:pt x="1525" y="162"/>
                  </a:lnTo>
                  <a:lnTo>
                    <a:pt x="1525" y="144"/>
                  </a:lnTo>
                  <a:lnTo>
                    <a:pt x="1525" y="128"/>
                  </a:lnTo>
                  <a:lnTo>
                    <a:pt x="1512" y="116"/>
                  </a:lnTo>
                  <a:lnTo>
                    <a:pt x="1512" y="111"/>
                  </a:lnTo>
                  <a:lnTo>
                    <a:pt x="1512" y="104"/>
                  </a:lnTo>
                  <a:lnTo>
                    <a:pt x="1511" y="102"/>
                  </a:lnTo>
                  <a:lnTo>
                    <a:pt x="1510" y="99"/>
                  </a:lnTo>
                  <a:lnTo>
                    <a:pt x="1509" y="98"/>
                  </a:lnTo>
                  <a:lnTo>
                    <a:pt x="1507" y="97"/>
                  </a:lnTo>
                  <a:lnTo>
                    <a:pt x="1507" y="79"/>
                  </a:lnTo>
                  <a:lnTo>
                    <a:pt x="1503" y="79"/>
                  </a:lnTo>
                  <a:lnTo>
                    <a:pt x="1501" y="78"/>
                  </a:lnTo>
                  <a:lnTo>
                    <a:pt x="1501" y="77"/>
                  </a:lnTo>
                  <a:lnTo>
                    <a:pt x="1501" y="76"/>
                  </a:lnTo>
                  <a:lnTo>
                    <a:pt x="1500" y="75"/>
                  </a:lnTo>
                  <a:lnTo>
                    <a:pt x="1500" y="74"/>
                  </a:lnTo>
                  <a:lnTo>
                    <a:pt x="1498" y="74"/>
                  </a:lnTo>
                  <a:lnTo>
                    <a:pt x="1494" y="73"/>
                  </a:lnTo>
                  <a:lnTo>
                    <a:pt x="1494" y="69"/>
                  </a:lnTo>
                  <a:lnTo>
                    <a:pt x="1492" y="66"/>
                  </a:lnTo>
                  <a:lnTo>
                    <a:pt x="1491" y="64"/>
                  </a:lnTo>
                  <a:lnTo>
                    <a:pt x="1489" y="62"/>
                  </a:lnTo>
                  <a:lnTo>
                    <a:pt x="1484" y="58"/>
                  </a:lnTo>
                  <a:lnTo>
                    <a:pt x="1482" y="55"/>
                  </a:lnTo>
                  <a:lnTo>
                    <a:pt x="1465" y="55"/>
                  </a:lnTo>
                  <a:lnTo>
                    <a:pt x="1444" y="56"/>
                  </a:lnTo>
                  <a:lnTo>
                    <a:pt x="1434" y="56"/>
                  </a:lnTo>
                  <a:lnTo>
                    <a:pt x="1425" y="57"/>
                  </a:lnTo>
                  <a:lnTo>
                    <a:pt x="1418" y="59"/>
                  </a:lnTo>
                  <a:lnTo>
                    <a:pt x="1415" y="60"/>
                  </a:lnTo>
                  <a:lnTo>
                    <a:pt x="1395" y="60"/>
                  </a:lnTo>
                  <a:lnTo>
                    <a:pt x="1372" y="60"/>
                  </a:lnTo>
                  <a:lnTo>
                    <a:pt x="1348" y="59"/>
                  </a:lnTo>
                  <a:lnTo>
                    <a:pt x="1324" y="56"/>
                  </a:lnTo>
                  <a:lnTo>
                    <a:pt x="1311" y="55"/>
                  </a:lnTo>
                  <a:lnTo>
                    <a:pt x="1300" y="51"/>
                  </a:lnTo>
                  <a:lnTo>
                    <a:pt x="1289" y="49"/>
                  </a:lnTo>
                  <a:lnTo>
                    <a:pt x="1279" y="45"/>
                  </a:lnTo>
                  <a:lnTo>
                    <a:pt x="1270" y="41"/>
                  </a:lnTo>
                  <a:lnTo>
                    <a:pt x="1262" y="36"/>
                  </a:lnTo>
                  <a:lnTo>
                    <a:pt x="1255" y="30"/>
                  </a:lnTo>
                  <a:lnTo>
                    <a:pt x="1250" y="24"/>
                  </a:lnTo>
                  <a:lnTo>
                    <a:pt x="1244" y="24"/>
                  </a:lnTo>
                  <a:lnTo>
                    <a:pt x="1238" y="20"/>
                  </a:lnTo>
                  <a:lnTo>
                    <a:pt x="1231" y="17"/>
                  </a:lnTo>
                  <a:lnTo>
                    <a:pt x="1225" y="12"/>
                  </a:lnTo>
                  <a:lnTo>
                    <a:pt x="1206" y="12"/>
                  </a:lnTo>
                  <a:lnTo>
                    <a:pt x="1186" y="15"/>
                  </a:lnTo>
                  <a:lnTo>
                    <a:pt x="1168" y="17"/>
                  </a:lnTo>
                  <a:lnTo>
                    <a:pt x="1152" y="18"/>
                  </a:lnTo>
                  <a:lnTo>
                    <a:pt x="1152" y="21"/>
                  </a:lnTo>
                  <a:lnTo>
                    <a:pt x="1149" y="25"/>
                  </a:lnTo>
                  <a:lnTo>
                    <a:pt x="1147" y="27"/>
                  </a:lnTo>
                  <a:lnTo>
                    <a:pt x="1144" y="30"/>
                  </a:lnTo>
                  <a:lnTo>
                    <a:pt x="1134" y="35"/>
                  </a:lnTo>
                  <a:lnTo>
                    <a:pt x="1120" y="39"/>
                  </a:lnTo>
                  <a:lnTo>
                    <a:pt x="1105" y="43"/>
                  </a:lnTo>
                  <a:lnTo>
                    <a:pt x="1087" y="46"/>
                  </a:lnTo>
                  <a:lnTo>
                    <a:pt x="1068" y="48"/>
                  </a:lnTo>
                  <a:lnTo>
                    <a:pt x="1048" y="50"/>
                  </a:lnTo>
                  <a:lnTo>
                    <a:pt x="1007" y="53"/>
                  </a:lnTo>
                  <a:lnTo>
                    <a:pt x="969" y="54"/>
                  </a:lnTo>
                  <a:lnTo>
                    <a:pt x="938" y="55"/>
                  </a:lnTo>
                  <a:lnTo>
                    <a:pt x="919" y="55"/>
                  </a:lnTo>
                  <a:lnTo>
                    <a:pt x="914" y="43"/>
                  </a:lnTo>
                  <a:lnTo>
                    <a:pt x="908" y="41"/>
                  </a:lnTo>
                  <a:lnTo>
                    <a:pt x="903" y="39"/>
                  </a:lnTo>
                  <a:lnTo>
                    <a:pt x="899" y="37"/>
                  </a:lnTo>
                  <a:lnTo>
                    <a:pt x="897" y="35"/>
                  </a:lnTo>
                  <a:lnTo>
                    <a:pt x="896" y="33"/>
                  </a:lnTo>
                  <a:lnTo>
                    <a:pt x="896" y="30"/>
                  </a:lnTo>
                  <a:lnTo>
                    <a:pt x="884" y="25"/>
                  </a:lnTo>
                  <a:lnTo>
                    <a:pt x="871" y="18"/>
                  </a:lnTo>
                  <a:lnTo>
                    <a:pt x="859" y="0"/>
                  </a:lnTo>
                  <a:lnTo>
                    <a:pt x="844" y="1"/>
                  </a:lnTo>
                  <a:lnTo>
                    <a:pt x="826" y="6"/>
                  </a:lnTo>
                  <a:lnTo>
                    <a:pt x="810" y="10"/>
                  </a:lnTo>
                  <a:lnTo>
                    <a:pt x="798" y="12"/>
                  </a:lnTo>
                  <a:lnTo>
                    <a:pt x="791" y="18"/>
                  </a:lnTo>
                  <a:lnTo>
                    <a:pt x="786" y="24"/>
                  </a:lnTo>
                  <a:lnTo>
                    <a:pt x="782" y="30"/>
                  </a:lnTo>
                  <a:lnTo>
                    <a:pt x="777" y="39"/>
                  </a:lnTo>
                  <a:lnTo>
                    <a:pt x="770" y="46"/>
                  </a:lnTo>
                  <a:lnTo>
                    <a:pt x="768" y="48"/>
                  </a:lnTo>
                  <a:lnTo>
                    <a:pt x="768" y="53"/>
                  </a:lnTo>
                  <a:lnTo>
                    <a:pt x="767" y="57"/>
                  </a:lnTo>
                  <a:lnTo>
                    <a:pt x="765" y="58"/>
                  </a:lnTo>
                  <a:lnTo>
                    <a:pt x="764" y="59"/>
                  </a:lnTo>
                  <a:lnTo>
                    <a:pt x="763" y="60"/>
                  </a:lnTo>
                  <a:lnTo>
                    <a:pt x="761" y="60"/>
                  </a:lnTo>
                  <a:lnTo>
                    <a:pt x="761" y="66"/>
                  </a:lnTo>
                  <a:lnTo>
                    <a:pt x="760" y="73"/>
                  </a:lnTo>
                  <a:lnTo>
                    <a:pt x="760" y="75"/>
                  </a:lnTo>
                  <a:lnTo>
                    <a:pt x="759" y="77"/>
                  </a:lnTo>
                  <a:lnTo>
                    <a:pt x="756" y="78"/>
                  </a:lnTo>
                  <a:lnTo>
                    <a:pt x="755" y="79"/>
                  </a:lnTo>
                  <a:lnTo>
                    <a:pt x="755" y="85"/>
                  </a:lnTo>
                  <a:lnTo>
                    <a:pt x="754" y="91"/>
                  </a:lnTo>
                  <a:lnTo>
                    <a:pt x="753" y="93"/>
                  </a:lnTo>
                  <a:lnTo>
                    <a:pt x="752" y="95"/>
                  </a:lnTo>
                  <a:lnTo>
                    <a:pt x="751" y="97"/>
                  </a:lnTo>
                  <a:lnTo>
                    <a:pt x="749" y="97"/>
                  </a:lnTo>
                  <a:lnTo>
                    <a:pt x="745" y="106"/>
                  </a:lnTo>
                  <a:lnTo>
                    <a:pt x="743" y="116"/>
                  </a:lnTo>
                  <a:lnTo>
                    <a:pt x="739" y="116"/>
                  </a:lnTo>
                  <a:lnTo>
                    <a:pt x="734" y="116"/>
                  </a:lnTo>
                  <a:lnTo>
                    <a:pt x="733" y="117"/>
                  </a:lnTo>
                  <a:lnTo>
                    <a:pt x="732" y="118"/>
                  </a:lnTo>
                  <a:lnTo>
                    <a:pt x="731" y="120"/>
                  </a:lnTo>
                  <a:lnTo>
                    <a:pt x="731" y="122"/>
                  </a:lnTo>
                  <a:lnTo>
                    <a:pt x="726" y="122"/>
                  </a:lnTo>
                  <a:lnTo>
                    <a:pt x="722" y="123"/>
                  </a:lnTo>
                  <a:lnTo>
                    <a:pt x="721" y="123"/>
                  </a:lnTo>
                  <a:lnTo>
                    <a:pt x="720" y="124"/>
                  </a:lnTo>
                  <a:lnTo>
                    <a:pt x="719" y="126"/>
                  </a:lnTo>
                  <a:lnTo>
                    <a:pt x="719" y="128"/>
                  </a:lnTo>
                  <a:lnTo>
                    <a:pt x="703" y="128"/>
                  </a:lnTo>
                  <a:lnTo>
                    <a:pt x="681" y="130"/>
                  </a:lnTo>
                  <a:lnTo>
                    <a:pt x="669" y="131"/>
                  </a:lnTo>
                  <a:lnTo>
                    <a:pt x="659" y="133"/>
                  </a:lnTo>
                  <a:lnTo>
                    <a:pt x="656" y="134"/>
                  </a:lnTo>
                  <a:lnTo>
                    <a:pt x="654" y="136"/>
                  </a:lnTo>
                  <a:lnTo>
                    <a:pt x="652" y="139"/>
                  </a:lnTo>
                  <a:lnTo>
                    <a:pt x="652" y="141"/>
                  </a:lnTo>
                  <a:lnTo>
                    <a:pt x="596" y="142"/>
                  </a:lnTo>
                  <a:lnTo>
                    <a:pt x="539" y="144"/>
                  </a:lnTo>
                  <a:lnTo>
                    <a:pt x="481" y="150"/>
                  </a:lnTo>
                  <a:lnTo>
                    <a:pt x="422" y="156"/>
                  </a:lnTo>
                  <a:lnTo>
                    <a:pt x="362" y="163"/>
                  </a:lnTo>
                  <a:lnTo>
                    <a:pt x="303" y="172"/>
                  </a:lnTo>
                  <a:lnTo>
                    <a:pt x="244" y="180"/>
                  </a:lnTo>
                  <a:lnTo>
                    <a:pt x="185" y="189"/>
                  </a:lnTo>
                  <a:lnTo>
                    <a:pt x="185" y="192"/>
                  </a:lnTo>
                  <a:lnTo>
                    <a:pt x="172" y="202"/>
                  </a:lnTo>
                  <a:lnTo>
                    <a:pt x="147" y="224"/>
                  </a:lnTo>
                  <a:lnTo>
                    <a:pt x="132" y="237"/>
                  </a:lnTo>
                  <a:lnTo>
                    <a:pt x="119" y="248"/>
                  </a:lnTo>
                  <a:lnTo>
                    <a:pt x="108" y="257"/>
                  </a:lnTo>
                  <a:lnTo>
                    <a:pt x="100" y="261"/>
                  </a:lnTo>
                  <a:lnTo>
                    <a:pt x="100" y="265"/>
                  </a:lnTo>
                  <a:lnTo>
                    <a:pt x="98" y="268"/>
                  </a:lnTo>
                  <a:lnTo>
                    <a:pt x="96" y="271"/>
                  </a:lnTo>
                  <a:lnTo>
                    <a:pt x="92" y="274"/>
                  </a:lnTo>
                  <a:lnTo>
                    <a:pt x="87" y="278"/>
                  </a:lnTo>
                  <a:lnTo>
                    <a:pt x="84" y="283"/>
                  </a:lnTo>
                  <a:lnTo>
                    <a:pt x="74" y="288"/>
                  </a:lnTo>
                  <a:lnTo>
                    <a:pt x="63" y="293"/>
                  </a:lnTo>
                  <a:lnTo>
                    <a:pt x="53" y="298"/>
                  </a:lnTo>
                  <a:lnTo>
                    <a:pt x="45" y="312"/>
                  </a:lnTo>
                  <a:lnTo>
                    <a:pt x="36" y="329"/>
                  </a:lnTo>
                  <a:lnTo>
                    <a:pt x="26" y="335"/>
                  </a:lnTo>
                  <a:lnTo>
                    <a:pt x="24" y="341"/>
                  </a:lnTo>
                  <a:lnTo>
                    <a:pt x="21" y="347"/>
                  </a:lnTo>
                  <a:lnTo>
                    <a:pt x="17" y="351"/>
                  </a:lnTo>
                  <a:lnTo>
                    <a:pt x="15" y="354"/>
                  </a:lnTo>
                  <a:lnTo>
                    <a:pt x="13" y="355"/>
                  </a:lnTo>
                  <a:lnTo>
                    <a:pt x="11" y="356"/>
                  </a:lnTo>
                  <a:lnTo>
                    <a:pt x="10" y="364"/>
                  </a:lnTo>
                  <a:lnTo>
                    <a:pt x="7" y="372"/>
                  </a:lnTo>
                  <a:lnTo>
                    <a:pt x="4" y="377"/>
                  </a:lnTo>
                  <a:lnTo>
                    <a:pt x="0" y="383"/>
                  </a:lnTo>
                  <a:lnTo>
                    <a:pt x="0" y="425"/>
                  </a:lnTo>
                  <a:lnTo>
                    <a:pt x="4" y="432"/>
                  </a:lnTo>
                  <a:lnTo>
                    <a:pt x="13" y="450"/>
                  </a:lnTo>
                  <a:lnTo>
                    <a:pt x="22" y="468"/>
                  </a:lnTo>
                  <a:lnTo>
                    <a:pt x="26" y="478"/>
                  </a:lnTo>
                  <a:lnTo>
                    <a:pt x="30" y="479"/>
                  </a:lnTo>
                  <a:lnTo>
                    <a:pt x="32" y="483"/>
                  </a:lnTo>
                  <a:lnTo>
                    <a:pt x="34" y="485"/>
                  </a:lnTo>
                  <a:lnTo>
                    <a:pt x="36" y="487"/>
                  </a:lnTo>
                  <a:lnTo>
                    <a:pt x="39" y="488"/>
                  </a:lnTo>
                  <a:lnTo>
                    <a:pt x="42" y="488"/>
                  </a:lnTo>
                  <a:lnTo>
                    <a:pt x="43" y="495"/>
                  </a:lnTo>
                  <a:lnTo>
                    <a:pt x="47" y="500"/>
                  </a:lnTo>
                  <a:lnTo>
                    <a:pt x="51" y="506"/>
                  </a:lnTo>
                  <a:lnTo>
                    <a:pt x="55" y="512"/>
                  </a:lnTo>
                  <a:lnTo>
                    <a:pt x="60" y="518"/>
                  </a:lnTo>
                  <a:lnTo>
                    <a:pt x="64" y="524"/>
                  </a:lnTo>
                  <a:lnTo>
                    <a:pt x="68" y="530"/>
                  </a:lnTo>
                  <a:lnTo>
                    <a:pt x="69" y="536"/>
                  </a:lnTo>
                  <a:lnTo>
                    <a:pt x="127" y="594"/>
                  </a:lnTo>
                  <a:lnTo>
                    <a:pt x="137" y="594"/>
                  </a:lnTo>
                  <a:lnTo>
                    <a:pt x="144" y="598"/>
                  </a:lnTo>
                  <a:lnTo>
                    <a:pt x="154" y="602"/>
                  </a:lnTo>
                  <a:lnTo>
                    <a:pt x="165" y="604"/>
                  </a:lnTo>
                  <a:lnTo>
                    <a:pt x="175" y="605"/>
                  </a:lnTo>
                  <a:lnTo>
                    <a:pt x="186" y="608"/>
                  </a:lnTo>
                  <a:lnTo>
                    <a:pt x="204" y="612"/>
                  </a:lnTo>
                  <a:lnTo>
                    <a:pt x="223" y="614"/>
                  </a:lnTo>
                  <a:lnTo>
                    <a:pt x="237" y="615"/>
                  </a:lnTo>
                  <a:lnTo>
                    <a:pt x="243" y="618"/>
                  </a:lnTo>
                  <a:lnTo>
                    <a:pt x="249" y="622"/>
                  </a:lnTo>
                  <a:lnTo>
                    <a:pt x="255" y="625"/>
                  </a:lnTo>
                  <a:lnTo>
                    <a:pt x="262" y="628"/>
                  </a:lnTo>
                  <a:lnTo>
                    <a:pt x="269" y="632"/>
                  </a:lnTo>
                  <a:lnTo>
                    <a:pt x="275" y="634"/>
                  </a:lnTo>
                  <a:lnTo>
                    <a:pt x="281" y="637"/>
                  </a:lnTo>
                  <a:lnTo>
                    <a:pt x="285" y="642"/>
                  </a:lnTo>
                  <a:lnTo>
                    <a:pt x="293" y="642"/>
                  </a:lnTo>
                  <a:lnTo>
                    <a:pt x="301" y="643"/>
                  </a:lnTo>
                  <a:lnTo>
                    <a:pt x="304" y="644"/>
                  </a:lnTo>
                  <a:lnTo>
                    <a:pt x="307" y="646"/>
                  </a:lnTo>
                  <a:lnTo>
                    <a:pt x="310" y="649"/>
                  </a:lnTo>
                  <a:lnTo>
                    <a:pt x="312" y="652"/>
                  </a:lnTo>
                  <a:lnTo>
                    <a:pt x="328" y="652"/>
                  </a:lnTo>
                  <a:lnTo>
                    <a:pt x="332" y="656"/>
                  </a:lnTo>
                  <a:lnTo>
                    <a:pt x="338" y="659"/>
                  </a:lnTo>
                  <a:lnTo>
                    <a:pt x="345" y="662"/>
                  </a:lnTo>
                  <a:lnTo>
                    <a:pt x="352" y="663"/>
                  </a:lnTo>
                  <a:lnTo>
                    <a:pt x="369" y="666"/>
                  </a:lnTo>
                  <a:lnTo>
                    <a:pt x="387" y="668"/>
                  </a:lnTo>
                  <a:lnTo>
                    <a:pt x="424" y="669"/>
                  </a:lnTo>
                  <a:lnTo>
                    <a:pt x="455" y="668"/>
                  </a:lnTo>
                  <a:lnTo>
                    <a:pt x="455" y="666"/>
                  </a:lnTo>
                  <a:lnTo>
                    <a:pt x="456" y="665"/>
                  </a:lnTo>
                  <a:lnTo>
                    <a:pt x="457" y="664"/>
                  </a:lnTo>
                  <a:lnTo>
                    <a:pt x="458" y="664"/>
                  </a:lnTo>
                  <a:lnTo>
                    <a:pt x="463" y="665"/>
                  </a:lnTo>
                  <a:lnTo>
                    <a:pt x="467" y="666"/>
                  </a:lnTo>
                  <a:lnTo>
                    <a:pt x="477" y="671"/>
                  </a:lnTo>
                  <a:lnTo>
                    <a:pt x="481" y="673"/>
                  </a:lnTo>
                  <a:lnTo>
                    <a:pt x="496" y="679"/>
                  </a:lnTo>
                  <a:lnTo>
                    <a:pt x="501" y="684"/>
                  </a:lnTo>
                  <a:lnTo>
                    <a:pt x="510" y="692"/>
                  </a:lnTo>
                  <a:lnTo>
                    <a:pt x="515" y="697"/>
                  </a:lnTo>
                  <a:lnTo>
                    <a:pt x="519" y="702"/>
                  </a:lnTo>
                  <a:lnTo>
                    <a:pt x="522" y="707"/>
                  </a:lnTo>
                  <a:lnTo>
                    <a:pt x="523" y="710"/>
                  </a:lnTo>
                  <a:lnTo>
                    <a:pt x="530" y="713"/>
                  </a:lnTo>
                  <a:lnTo>
                    <a:pt x="539" y="721"/>
                  </a:lnTo>
                  <a:lnTo>
                    <a:pt x="547" y="728"/>
                  </a:lnTo>
                  <a:lnTo>
                    <a:pt x="550" y="731"/>
                  </a:lnTo>
                  <a:lnTo>
                    <a:pt x="556" y="737"/>
                  </a:lnTo>
                  <a:lnTo>
                    <a:pt x="560" y="747"/>
                  </a:lnTo>
                  <a:lnTo>
                    <a:pt x="566" y="758"/>
                  </a:lnTo>
                  <a:lnTo>
                    <a:pt x="569" y="760"/>
                  </a:lnTo>
                  <a:lnTo>
                    <a:pt x="572" y="764"/>
                  </a:lnTo>
                  <a:lnTo>
                    <a:pt x="576" y="769"/>
                  </a:lnTo>
                  <a:lnTo>
                    <a:pt x="576" y="774"/>
                  </a:lnTo>
                  <a:lnTo>
                    <a:pt x="583" y="778"/>
                  </a:lnTo>
                  <a:lnTo>
                    <a:pt x="590" y="783"/>
                  </a:lnTo>
                  <a:lnTo>
                    <a:pt x="594" y="785"/>
                  </a:lnTo>
                  <a:lnTo>
                    <a:pt x="596" y="788"/>
                  </a:lnTo>
                  <a:lnTo>
                    <a:pt x="597" y="791"/>
                  </a:lnTo>
                  <a:lnTo>
                    <a:pt x="597" y="795"/>
                  </a:lnTo>
                  <a:lnTo>
                    <a:pt x="608" y="806"/>
                  </a:lnTo>
                  <a:lnTo>
                    <a:pt x="614" y="808"/>
                  </a:lnTo>
                  <a:lnTo>
                    <a:pt x="619" y="812"/>
                  </a:lnTo>
                  <a:lnTo>
                    <a:pt x="624" y="816"/>
                  </a:lnTo>
                  <a:lnTo>
                    <a:pt x="629" y="822"/>
                  </a:lnTo>
                  <a:lnTo>
                    <a:pt x="634" y="826"/>
                  </a:lnTo>
                  <a:lnTo>
                    <a:pt x="639" y="831"/>
                  </a:lnTo>
                  <a:lnTo>
                    <a:pt x="645" y="835"/>
                  </a:lnTo>
                  <a:lnTo>
                    <a:pt x="650" y="837"/>
                  </a:lnTo>
                  <a:lnTo>
                    <a:pt x="652" y="839"/>
                  </a:lnTo>
                  <a:lnTo>
                    <a:pt x="654" y="843"/>
                  </a:lnTo>
                  <a:lnTo>
                    <a:pt x="657" y="846"/>
                  </a:lnTo>
                  <a:lnTo>
                    <a:pt x="662" y="849"/>
                  </a:lnTo>
                  <a:lnTo>
                    <a:pt x="667" y="853"/>
                  </a:lnTo>
                  <a:lnTo>
                    <a:pt x="673" y="856"/>
                  </a:lnTo>
                  <a:lnTo>
                    <a:pt x="677" y="857"/>
                  </a:lnTo>
                  <a:lnTo>
                    <a:pt x="682" y="858"/>
                  </a:lnTo>
                  <a:lnTo>
                    <a:pt x="687" y="867"/>
                  </a:lnTo>
                  <a:lnTo>
                    <a:pt x="701" y="882"/>
                  </a:lnTo>
                  <a:lnTo>
                    <a:pt x="715" y="897"/>
                  </a:lnTo>
                  <a:lnTo>
                    <a:pt x="724" y="906"/>
                  </a:lnTo>
                  <a:lnTo>
                    <a:pt x="730" y="908"/>
                  </a:lnTo>
                  <a:lnTo>
                    <a:pt x="733" y="910"/>
                  </a:lnTo>
                  <a:lnTo>
                    <a:pt x="736" y="914"/>
                  </a:lnTo>
                  <a:lnTo>
                    <a:pt x="740" y="919"/>
                  </a:lnTo>
                  <a:lnTo>
                    <a:pt x="742" y="924"/>
                  </a:lnTo>
                  <a:lnTo>
                    <a:pt x="744" y="928"/>
                  </a:lnTo>
                  <a:lnTo>
                    <a:pt x="748" y="931"/>
                  </a:lnTo>
                  <a:lnTo>
                    <a:pt x="751" y="932"/>
                  </a:lnTo>
                  <a:lnTo>
                    <a:pt x="751" y="952"/>
                  </a:lnTo>
                  <a:lnTo>
                    <a:pt x="751" y="971"/>
                  </a:lnTo>
                  <a:lnTo>
                    <a:pt x="751" y="990"/>
                  </a:lnTo>
                  <a:lnTo>
                    <a:pt x="752" y="1010"/>
                  </a:lnTo>
                  <a:lnTo>
                    <a:pt x="753" y="1011"/>
                  </a:lnTo>
                  <a:lnTo>
                    <a:pt x="754" y="1012"/>
                  </a:lnTo>
                  <a:lnTo>
                    <a:pt x="756" y="1014"/>
                  </a:lnTo>
                  <a:lnTo>
                    <a:pt x="759" y="1014"/>
                  </a:lnTo>
                  <a:lnTo>
                    <a:pt x="762" y="1029"/>
                  </a:lnTo>
                  <a:lnTo>
                    <a:pt x="770" y="1054"/>
                  </a:lnTo>
                  <a:lnTo>
                    <a:pt x="774" y="1067"/>
                  </a:lnTo>
                  <a:lnTo>
                    <a:pt x="779" y="1077"/>
                  </a:lnTo>
                  <a:lnTo>
                    <a:pt x="781" y="1082"/>
                  </a:lnTo>
                  <a:lnTo>
                    <a:pt x="783" y="1085"/>
                  </a:lnTo>
                  <a:lnTo>
                    <a:pt x="784" y="1087"/>
                  </a:lnTo>
                  <a:lnTo>
                    <a:pt x="787" y="1087"/>
                  </a:lnTo>
                  <a:lnTo>
                    <a:pt x="789" y="1098"/>
                  </a:lnTo>
                  <a:lnTo>
                    <a:pt x="792" y="1114"/>
                  </a:lnTo>
                  <a:lnTo>
                    <a:pt x="796" y="1122"/>
                  </a:lnTo>
                  <a:lnTo>
                    <a:pt x="799" y="1127"/>
                  </a:lnTo>
                  <a:lnTo>
                    <a:pt x="802" y="1132"/>
                  </a:lnTo>
                  <a:lnTo>
                    <a:pt x="806" y="1134"/>
                  </a:lnTo>
                  <a:lnTo>
                    <a:pt x="806" y="1162"/>
                  </a:lnTo>
                  <a:lnTo>
                    <a:pt x="813" y="1171"/>
                  </a:lnTo>
                  <a:lnTo>
                    <a:pt x="822" y="1185"/>
                  </a:lnTo>
                  <a:lnTo>
                    <a:pt x="827" y="1193"/>
                  </a:lnTo>
                  <a:lnTo>
                    <a:pt x="830" y="1202"/>
                  </a:lnTo>
                  <a:lnTo>
                    <a:pt x="832" y="1210"/>
                  </a:lnTo>
                  <a:lnTo>
                    <a:pt x="832" y="1217"/>
                  </a:lnTo>
                  <a:lnTo>
                    <a:pt x="837" y="1219"/>
                  </a:lnTo>
                  <a:lnTo>
                    <a:pt x="840" y="1223"/>
                  </a:lnTo>
                  <a:lnTo>
                    <a:pt x="844" y="1228"/>
                  </a:lnTo>
                  <a:lnTo>
                    <a:pt x="847" y="1233"/>
                  </a:lnTo>
                  <a:lnTo>
                    <a:pt x="855" y="1247"/>
                  </a:lnTo>
                  <a:lnTo>
                    <a:pt x="861" y="1262"/>
                  </a:lnTo>
                  <a:lnTo>
                    <a:pt x="870" y="1276"/>
                  </a:lnTo>
                  <a:lnTo>
                    <a:pt x="878" y="1288"/>
                  </a:lnTo>
                  <a:lnTo>
                    <a:pt x="883" y="1293"/>
                  </a:lnTo>
                  <a:lnTo>
                    <a:pt x="887" y="1297"/>
                  </a:lnTo>
                  <a:lnTo>
                    <a:pt x="893" y="1299"/>
                  </a:lnTo>
                  <a:lnTo>
                    <a:pt x="897" y="1300"/>
                  </a:lnTo>
                  <a:lnTo>
                    <a:pt x="898" y="1305"/>
                  </a:lnTo>
                  <a:lnTo>
                    <a:pt x="899" y="1308"/>
                  </a:lnTo>
                  <a:lnTo>
                    <a:pt x="900" y="1309"/>
                  </a:lnTo>
                  <a:lnTo>
                    <a:pt x="903" y="1309"/>
                  </a:lnTo>
                  <a:lnTo>
                    <a:pt x="904" y="1309"/>
                  </a:lnTo>
                  <a:lnTo>
                    <a:pt x="905" y="1310"/>
                  </a:lnTo>
                  <a:lnTo>
                    <a:pt x="906" y="1313"/>
                  </a:lnTo>
                  <a:lnTo>
                    <a:pt x="907" y="1318"/>
                  </a:lnTo>
                  <a:lnTo>
                    <a:pt x="912" y="1320"/>
                  </a:lnTo>
                  <a:lnTo>
                    <a:pt x="918" y="1324"/>
                  </a:lnTo>
                  <a:lnTo>
                    <a:pt x="925" y="1330"/>
                  </a:lnTo>
                  <a:lnTo>
                    <a:pt x="933" y="1337"/>
                  </a:lnTo>
                  <a:lnTo>
                    <a:pt x="947" y="1349"/>
                  </a:lnTo>
                  <a:lnTo>
                    <a:pt x="953" y="1355"/>
                  </a:lnTo>
                  <a:lnTo>
                    <a:pt x="972" y="1355"/>
                  </a:lnTo>
                  <a:lnTo>
                    <a:pt x="981" y="1374"/>
                  </a:lnTo>
                  <a:lnTo>
                    <a:pt x="988" y="1375"/>
                  </a:lnTo>
                  <a:lnTo>
                    <a:pt x="996" y="1376"/>
                  </a:lnTo>
                  <a:lnTo>
                    <a:pt x="1004" y="1380"/>
                  </a:lnTo>
                  <a:lnTo>
                    <a:pt x="1013" y="1383"/>
                  </a:lnTo>
                  <a:lnTo>
                    <a:pt x="1022" y="1386"/>
                  </a:lnTo>
                  <a:lnTo>
                    <a:pt x="1030" y="1390"/>
                  </a:lnTo>
                  <a:lnTo>
                    <a:pt x="1038" y="1392"/>
                  </a:lnTo>
                  <a:lnTo>
                    <a:pt x="1046" y="1392"/>
                  </a:lnTo>
                  <a:lnTo>
                    <a:pt x="1053" y="1400"/>
                  </a:lnTo>
                  <a:lnTo>
                    <a:pt x="1062" y="1406"/>
                  </a:lnTo>
                  <a:lnTo>
                    <a:pt x="1072" y="1412"/>
                  </a:lnTo>
                  <a:lnTo>
                    <a:pt x="1082" y="1418"/>
                  </a:lnTo>
                  <a:lnTo>
                    <a:pt x="1092" y="1422"/>
                  </a:lnTo>
                  <a:lnTo>
                    <a:pt x="1103" y="1426"/>
                  </a:lnTo>
                  <a:lnTo>
                    <a:pt x="1111" y="1429"/>
                  </a:lnTo>
                  <a:lnTo>
                    <a:pt x="1119" y="1429"/>
                  </a:lnTo>
                  <a:lnTo>
                    <a:pt x="1138" y="1442"/>
                  </a:lnTo>
                  <a:lnTo>
                    <a:pt x="1181" y="1471"/>
                  </a:lnTo>
                  <a:lnTo>
                    <a:pt x="1204" y="1486"/>
                  </a:lnTo>
                  <a:lnTo>
                    <a:pt x="1224" y="1499"/>
                  </a:lnTo>
                  <a:lnTo>
                    <a:pt x="1241" y="1509"/>
                  </a:lnTo>
                  <a:lnTo>
                    <a:pt x="1249" y="1512"/>
                  </a:lnTo>
                  <a:lnTo>
                    <a:pt x="1258" y="1531"/>
                  </a:lnTo>
                  <a:lnTo>
                    <a:pt x="1269" y="1533"/>
                  </a:lnTo>
                  <a:lnTo>
                    <a:pt x="1284" y="1537"/>
                  </a:lnTo>
                  <a:lnTo>
                    <a:pt x="1292" y="1539"/>
                  </a:lnTo>
                  <a:lnTo>
                    <a:pt x="1298" y="1543"/>
                  </a:lnTo>
                  <a:lnTo>
                    <a:pt x="1302" y="1546"/>
                  </a:lnTo>
                  <a:lnTo>
                    <a:pt x="1305" y="1549"/>
                  </a:lnTo>
                  <a:lnTo>
                    <a:pt x="1331" y="1549"/>
                  </a:lnTo>
                  <a:lnTo>
                    <a:pt x="1341" y="1568"/>
                  </a:lnTo>
                  <a:lnTo>
                    <a:pt x="1368" y="1568"/>
                  </a:lnTo>
                  <a:lnTo>
                    <a:pt x="1369" y="1570"/>
                  </a:lnTo>
                  <a:lnTo>
                    <a:pt x="1370" y="1573"/>
                  </a:lnTo>
                  <a:lnTo>
                    <a:pt x="1372" y="1575"/>
                  </a:lnTo>
                  <a:lnTo>
                    <a:pt x="1373" y="1576"/>
                  </a:lnTo>
                  <a:lnTo>
                    <a:pt x="1377" y="1577"/>
                  </a:lnTo>
                  <a:lnTo>
                    <a:pt x="1383" y="1577"/>
                  </a:lnTo>
                  <a:lnTo>
                    <a:pt x="1387" y="1577"/>
                  </a:lnTo>
                  <a:lnTo>
                    <a:pt x="1392" y="1578"/>
                  </a:lnTo>
                  <a:lnTo>
                    <a:pt x="1394" y="1579"/>
                  </a:lnTo>
                  <a:lnTo>
                    <a:pt x="1395" y="1580"/>
                  </a:lnTo>
                  <a:lnTo>
                    <a:pt x="1396" y="1583"/>
                  </a:lnTo>
                  <a:lnTo>
                    <a:pt x="1396" y="1586"/>
                  </a:lnTo>
                  <a:lnTo>
                    <a:pt x="1415" y="1586"/>
                  </a:lnTo>
                  <a:lnTo>
                    <a:pt x="1425" y="1595"/>
                  </a:lnTo>
                  <a:lnTo>
                    <a:pt x="1439" y="1604"/>
                  </a:lnTo>
                  <a:lnTo>
                    <a:pt x="1445" y="1607"/>
                  </a:lnTo>
                  <a:lnTo>
                    <a:pt x="1451" y="1611"/>
                  </a:lnTo>
                  <a:lnTo>
                    <a:pt x="1456" y="1613"/>
                  </a:lnTo>
                  <a:lnTo>
                    <a:pt x="1461" y="1614"/>
                  </a:lnTo>
                  <a:lnTo>
                    <a:pt x="1462" y="1621"/>
                  </a:lnTo>
                  <a:lnTo>
                    <a:pt x="1464" y="1625"/>
                  </a:lnTo>
                  <a:lnTo>
                    <a:pt x="1466" y="1628"/>
                  </a:lnTo>
                  <a:lnTo>
                    <a:pt x="1470" y="1632"/>
                  </a:lnTo>
                  <a:lnTo>
                    <a:pt x="1474" y="1634"/>
                  </a:lnTo>
                  <a:lnTo>
                    <a:pt x="1477" y="1636"/>
                  </a:lnTo>
                  <a:lnTo>
                    <a:pt x="1479" y="1639"/>
                  </a:lnTo>
                  <a:lnTo>
                    <a:pt x="1480" y="1642"/>
                  </a:lnTo>
                  <a:lnTo>
                    <a:pt x="1498" y="1642"/>
                  </a:lnTo>
                  <a:lnTo>
                    <a:pt x="1503" y="1649"/>
                  </a:lnTo>
                  <a:lnTo>
                    <a:pt x="1510" y="1655"/>
                  </a:lnTo>
                  <a:lnTo>
                    <a:pt x="1518" y="1662"/>
                  </a:lnTo>
                  <a:lnTo>
                    <a:pt x="1528" y="1668"/>
                  </a:lnTo>
                  <a:lnTo>
                    <a:pt x="1539" y="1672"/>
                  </a:lnTo>
                  <a:lnTo>
                    <a:pt x="1550" y="1675"/>
                  </a:lnTo>
                  <a:lnTo>
                    <a:pt x="1561" y="1678"/>
                  </a:lnTo>
                  <a:lnTo>
                    <a:pt x="1573" y="1679"/>
                  </a:lnTo>
                  <a:lnTo>
                    <a:pt x="1581" y="1697"/>
                  </a:lnTo>
                  <a:lnTo>
                    <a:pt x="1612" y="1699"/>
                  </a:lnTo>
                  <a:lnTo>
                    <a:pt x="1647" y="1702"/>
                  </a:lnTo>
                  <a:lnTo>
                    <a:pt x="1684" y="1704"/>
                  </a:lnTo>
                  <a:lnTo>
                    <a:pt x="1720" y="1707"/>
                  </a:lnTo>
                  <a:lnTo>
                    <a:pt x="1720" y="170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1" name="Freeform 57"/>
            <p:cNvSpPr>
              <a:spLocks noChangeAspect="1"/>
            </p:cNvSpPr>
            <p:nvPr/>
          </p:nvSpPr>
          <p:spPr bwMode="gray">
            <a:xfrm rot="355651">
              <a:off x="6777161" y="2574925"/>
              <a:ext cx="326908" cy="198016"/>
            </a:xfrm>
            <a:custGeom>
              <a:avLst/>
              <a:gdLst/>
              <a:ahLst/>
              <a:cxnLst>
                <a:cxn ang="0">
                  <a:pos x="652" y="539"/>
                </a:cxn>
                <a:cxn ang="0">
                  <a:pos x="679" y="573"/>
                </a:cxn>
                <a:cxn ang="0">
                  <a:pos x="745" y="594"/>
                </a:cxn>
                <a:cxn ang="0">
                  <a:pos x="782" y="462"/>
                </a:cxn>
                <a:cxn ang="0">
                  <a:pos x="810" y="407"/>
                </a:cxn>
                <a:cxn ang="0">
                  <a:pos x="835" y="386"/>
                </a:cxn>
                <a:cxn ang="0">
                  <a:pos x="868" y="354"/>
                </a:cxn>
                <a:cxn ang="0">
                  <a:pos x="891" y="321"/>
                </a:cxn>
                <a:cxn ang="0">
                  <a:pos x="1004" y="237"/>
                </a:cxn>
                <a:cxn ang="0">
                  <a:pos x="1037" y="212"/>
                </a:cxn>
                <a:cxn ang="0">
                  <a:pos x="1231" y="199"/>
                </a:cxn>
                <a:cxn ang="0">
                  <a:pos x="1287" y="145"/>
                </a:cxn>
                <a:cxn ang="0">
                  <a:pos x="1303" y="123"/>
                </a:cxn>
                <a:cxn ang="0">
                  <a:pos x="1325" y="66"/>
                </a:cxn>
                <a:cxn ang="0">
                  <a:pos x="1366" y="49"/>
                </a:cxn>
                <a:cxn ang="0">
                  <a:pos x="1402" y="11"/>
                </a:cxn>
                <a:cxn ang="0">
                  <a:pos x="1470" y="4"/>
                </a:cxn>
                <a:cxn ang="0">
                  <a:pos x="1537" y="28"/>
                </a:cxn>
                <a:cxn ang="0">
                  <a:pos x="1572" y="57"/>
                </a:cxn>
                <a:cxn ang="0">
                  <a:pos x="1596" y="93"/>
                </a:cxn>
                <a:cxn ang="0">
                  <a:pos x="1626" y="193"/>
                </a:cxn>
                <a:cxn ang="0">
                  <a:pos x="1658" y="237"/>
                </a:cxn>
                <a:cxn ang="0">
                  <a:pos x="1717" y="276"/>
                </a:cxn>
                <a:cxn ang="0">
                  <a:pos x="1747" y="298"/>
                </a:cxn>
                <a:cxn ang="0">
                  <a:pos x="1774" y="346"/>
                </a:cxn>
                <a:cxn ang="0">
                  <a:pos x="1749" y="448"/>
                </a:cxn>
                <a:cxn ang="0">
                  <a:pos x="1722" y="559"/>
                </a:cxn>
                <a:cxn ang="0">
                  <a:pos x="1764" y="622"/>
                </a:cxn>
                <a:cxn ang="0">
                  <a:pos x="1795" y="769"/>
                </a:cxn>
                <a:cxn ang="0">
                  <a:pos x="1792" y="938"/>
                </a:cxn>
                <a:cxn ang="0">
                  <a:pos x="1701" y="919"/>
                </a:cxn>
                <a:cxn ang="0">
                  <a:pos x="1640" y="897"/>
                </a:cxn>
                <a:cxn ang="0">
                  <a:pos x="1607" y="880"/>
                </a:cxn>
                <a:cxn ang="0">
                  <a:pos x="1506" y="854"/>
                </a:cxn>
                <a:cxn ang="0">
                  <a:pos x="1434" y="842"/>
                </a:cxn>
                <a:cxn ang="0">
                  <a:pos x="1348" y="825"/>
                </a:cxn>
                <a:cxn ang="0">
                  <a:pos x="1274" y="766"/>
                </a:cxn>
                <a:cxn ang="0">
                  <a:pos x="1217" y="713"/>
                </a:cxn>
                <a:cxn ang="0">
                  <a:pos x="1174" y="687"/>
                </a:cxn>
                <a:cxn ang="0">
                  <a:pos x="1054" y="713"/>
                </a:cxn>
                <a:cxn ang="0">
                  <a:pos x="1001" y="756"/>
                </a:cxn>
                <a:cxn ang="0">
                  <a:pos x="948" y="797"/>
                </a:cxn>
                <a:cxn ang="0">
                  <a:pos x="886" y="841"/>
                </a:cxn>
                <a:cxn ang="0">
                  <a:pos x="812" y="930"/>
                </a:cxn>
                <a:cxn ang="0">
                  <a:pos x="797" y="976"/>
                </a:cxn>
                <a:cxn ang="0">
                  <a:pos x="779" y="999"/>
                </a:cxn>
                <a:cxn ang="0">
                  <a:pos x="750" y="1032"/>
                </a:cxn>
                <a:cxn ang="0">
                  <a:pos x="713" y="1071"/>
                </a:cxn>
                <a:cxn ang="0">
                  <a:pos x="691" y="1085"/>
                </a:cxn>
                <a:cxn ang="0">
                  <a:pos x="635" y="1119"/>
                </a:cxn>
                <a:cxn ang="0">
                  <a:pos x="524" y="1192"/>
                </a:cxn>
                <a:cxn ang="0">
                  <a:pos x="486" y="1221"/>
                </a:cxn>
                <a:cxn ang="0">
                  <a:pos x="368" y="1232"/>
                </a:cxn>
                <a:cxn ang="0">
                  <a:pos x="99" y="1207"/>
                </a:cxn>
                <a:cxn ang="0">
                  <a:pos x="25" y="1138"/>
                </a:cxn>
                <a:cxn ang="0">
                  <a:pos x="51" y="1115"/>
                </a:cxn>
                <a:cxn ang="0">
                  <a:pos x="73" y="1077"/>
                </a:cxn>
                <a:cxn ang="0">
                  <a:pos x="199" y="998"/>
                </a:cxn>
                <a:cxn ang="0">
                  <a:pos x="281" y="917"/>
                </a:cxn>
                <a:cxn ang="0">
                  <a:pos x="332" y="817"/>
                </a:cxn>
                <a:cxn ang="0">
                  <a:pos x="479" y="707"/>
                </a:cxn>
                <a:cxn ang="0">
                  <a:pos x="549" y="590"/>
                </a:cxn>
                <a:cxn ang="0">
                  <a:pos x="572" y="563"/>
                </a:cxn>
              </a:cxnLst>
              <a:rect l="0" t="0" r="r" b="b"/>
              <a:pathLst>
                <a:path w="1796" h="1235">
                  <a:moveTo>
                    <a:pt x="613" y="545"/>
                  </a:moveTo>
                  <a:lnTo>
                    <a:pt x="617" y="546"/>
                  </a:lnTo>
                  <a:lnTo>
                    <a:pt x="630" y="537"/>
                  </a:lnTo>
                  <a:lnTo>
                    <a:pt x="641" y="528"/>
                  </a:lnTo>
                  <a:lnTo>
                    <a:pt x="641" y="537"/>
                  </a:lnTo>
                  <a:lnTo>
                    <a:pt x="647" y="537"/>
                  </a:lnTo>
                  <a:lnTo>
                    <a:pt x="650" y="538"/>
                  </a:lnTo>
                  <a:lnTo>
                    <a:pt x="652" y="538"/>
                  </a:lnTo>
                  <a:lnTo>
                    <a:pt x="652" y="539"/>
                  </a:lnTo>
                  <a:lnTo>
                    <a:pt x="652" y="541"/>
                  </a:lnTo>
                  <a:lnTo>
                    <a:pt x="652" y="542"/>
                  </a:lnTo>
                  <a:lnTo>
                    <a:pt x="653" y="542"/>
                  </a:lnTo>
                  <a:lnTo>
                    <a:pt x="655" y="542"/>
                  </a:lnTo>
                  <a:lnTo>
                    <a:pt x="660" y="546"/>
                  </a:lnTo>
                  <a:lnTo>
                    <a:pt x="662" y="554"/>
                  </a:lnTo>
                  <a:lnTo>
                    <a:pt x="665" y="561"/>
                  </a:lnTo>
                  <a:lnTo>
                    <a:pt x="670" y="565"/>
                  </a:lnTo>
                  <a:lnTo>
                    <a:pt x="679" y="573"/>
                  </a:lnTo>
                  <a:lnTo>
                    <a:pt x="689" y="580"/>
                  </a:lnTo>
                  <a:lnTo>
                    <a:pt x="691" y="584"/>
                  </a:lnTo>
                  <a:lnTo>
                    <a:pt x="693" y="588"/>
                  </a:lnTo>
                  <a:lnTo>
                    <a:pt x="702" y="588"/>
                  </a:lnTo>
                  <a:lnTo>
                    <a:pt x="704" y="591"/>
                  </a:lnTo>
                  <a:lnTo>
                    <a:pt x="710" y="592"/>
                  </a:lnTo>
                  <a:lnTo>
                    <a:pt x="718" y="593"/>
                  </a:lnTo>
                  <a:lnTo>
                    <a:pt x="727" y="593"/>
                  </a:lnTo>
                  <a:lnTo>
                    <a:pt x="745" y="594"/>
                  </a:lnTo>
                  <a:lnTo>
                    <a:pt x="755" y="594"/>
                  </a:lnTo>
                  <a:lnTo>
                    <a:pt x="768" y="580"/>
                  </a:lnTo>
                  <a:lnTo>
                    <a:pt x="769" y="565"/>
                  </a:lnTo>
                  <a:lnTo>
                    <a:pt x="770" y="548"/>
                  </a:lnTo>
                  <a:lnTo>
                    <a:pt x="772" y="532"/>
                  </a:lnTo>
                  <a:lnTo>
                    <a:pt x="776" y="514"/>
                  </a:lnTo>
                  <a:lnTo>
                    <a:pt x="778" y="496"/>
                  </a:lnTo>
                  <a:lnTo>
                    <a:pt x="780" y="479"/>
                  </a:lnTo>
                  <a:lnTo>
                    <a:pt x="782" y="462"/>
                  </a:lnTo>
                  <a:lnTo>
                    <a:pt x="782" y="448"/>
                  </a:lnTo>
                  <a:lnTo>
                    <a:pt x="793" y="442"/>
                  </a:lnTo>
                  <a:lnTo>
                    <a:pt x="793" y="439"/>
                  </a:lnTo>
                  <a:lnTo>
                    <a:pt x="794" y="433"/>
                  </a:lnTo>
                  <a:lnTo>
                    <a:pt x="796" y="427"/>
                  </a:lnTo>
                  <a:lnTo>
                    <a:pt x="798" y="420"/>
                  </a:lnTo>
                  <a:lnTo>
                    <a:pt x="801" y="414"/>
                  </a:lnTo>
                  <a:lnTo>
                    <a:pt x="806" y="410"/>
                  </a:lnTo>
                  <a:lnTo>
                    <a:pt x="810" y="407"/>
                  </a:lnTo>
                  <a:lnTo>
                    <a:pt x="816" y="405"/>
                  </a:lnTo>
                  <a:lnTo>
                    <a:pt x="816" y="402"/>
                  </a:lnTo>
                  <a:lnTo>
                    <a:pt x="818" y="399"/>
                  </a:lnTo>
                  <a:lnTo>
                    <a:pt x="822" y="397"/>
                  </a:lnTo>
                  <a:lnTo>
                    <a:pt x="825" y="395"/>
                  </a:lnTo>
                  <a:lnTo>
                    <a:pt x="826" y="394"/>
                  </a:lnTo>
                  <a:lnTo>
                    <a:pt x="828" y="392"/>
                  </a:lnTo>
                  <a:lnTo>
                    <a:pt x="832" y="389"/>
                  </a:lnTo>
                  <a:lnTo>
                    <a:pt x="835" y="386"/>
                  </a:lnTo>
                  <a:lnTo>
                    <a:pt x="843" y="383"/>
                  </a:lnTo>
                  <a:lnTo>
                    <a:pt x="848" y="382"/>
                  </a:lnTo>
                  <a:lnTo>
                    <a:pt x="851" y="380"/>
                  </a:lnTo>
                  <a:lnTo>
                    <a:pt x="854" y="374"/>
                  </a:lnTo>
                  <a:lnTo>
                    <a:pt x="858" y="370"/>
                  </a:lnTo>
                  <a:lnTo>
                    <a:pt x="863" y="368"/>
                  </a:lnTo>
                  <a:lnTo>
                    <a:pt x="864" y="363"/>
                  </a:lnTo>
                  <a:lnTo>
                    <a:pt x="866" y="359"/>
                  </a:lnTo>
                  <a:lnTo>
                    <a:pt x="868" y="354"/>
                  </a:lnTo>
                  <a:lnTo>
                    <a:pt x="872" y="349"/>
                  </a:lnTo>
                  <a:lnTo>
                    <a:pt x="875" y="343"/>
                  </a:lnTo>
                  <a:lnTo>
                    <a:pt x="878" y="338"/>
                  </a:lnTo>
                  <a:lnTo>
                    <a:pt x="881" y="334"/>
                  </a:lnTo>
                  <a:lnTo>
                    <a:pt x="882" y="330"/>
                  </a:lnTo>
                  <a:lnTo>
                    <a:pt x="885" y="328"/>
                  </a:lnTo>
                  <a:lnTo>
                    <a:pt x="889" y="325"/>
                  </a:lnTo>
                  <a:lnTo>
                    <a:pt x="891" y="322"/>
                  </a:lnTo>
                  <a:lnTo>
                    <a:pt x="891" y="321"/>
                  </a:lnTo>
                  <a:lnTo>
                    <a:pt x="894" y="320"/>
                  </a:lnTo>
                  <a:lnTo>
                    <a:pt x="900" y="317"/>
                  </a:lnTo>
                  <a:lnTo>
                    <a:pt x="906" y="313"/>
                  </a:lnTo>
                  <a:lnTo>
                    <a:pt x="915" y="307"/>
                  </a:lnTo>
                  <a:lnTo>
                    <a:pt x="933" y="295"/>
                  </a:lnTo>
                  <a:lnTo>
                    <a:pt x="953" y="279"/>
                  </a:lnTo>
                  <a:lnTo>
                    <a:pt x="973" y="264"/>
                  </a:lnTo>
                  <a:lnTo>
                    <a:pt x="990" y="249"/>
                  </a:lnTo>
                  <a:lnTo>
                    <a:pt x="1004" y="237"/>
                  </a:lnTo>
                  <a:lnTo>
                    <a:pt x="1009" y="230"/>
                  </a:lnTo>
                  <a:lnTo>
                    <a:pt x="1012" y="230"/>
                  </a:lnTo>
                  <a:lnTo>
                    <a:pt x="1017" y="228"/>
                  </a:lnTo>
                  <a:lnTo>
                    <a:pt x="1022" y="226"/>
                  </a:lnTo>
                  <a:lnTo>
                    <a:pt x="1027" y="224"/>
                  </a:lnTo>
                  <a:lnTo>
                    <a:pt x="1030" y="220"/>
                  </a:lnTo>
                  <a:lnTo>
                    <a:pt x="1034" y="217"/>
                  </a:lnTo>
                  <a:lnTo>
                    <a:pt x="1036" y="215"/>
                  </a:lnTo>
                  <a:lnTo>
                    <a:pt x="1037" y="212"/>
                  </a:lnTo>
                  <a:lnTo>
                    <a:pt x="1059" y="211"/>
                  </a:lnTo>
                  <a:lnTo>
                    <a:pt x="1083" y="210"/>
                  </a:lnTo>
                  <a:lnTo>
                    <a:pt x="1108" y="209"/>
                  </a:lnTo>
                  <a:lnTo>
                    <a:pt x="1134" y="207"/>
                  </a:lnTo>
                  <a:lnTo>
                    <a:pt x="1160" y="206"/>
                  </a:lnTo>
                  <a:lnTo>
                    <a:pt x="1184" y="203"/>
                  </a:lnTo>
                  <a:lnTo>
                    <a:pt x="1208" y="203"/>
                  </a:lnTo>
                  <a:lnTo>
                    <a:pt x="1230" y="202"/>
                  </a:lnTo>
                  <a:lnTo>
                    <a:pt x="1231" y="199"/>
                  </a:lnTo>
                  <a:lnTo>
                    <a:pt x="1233" y="196"/>
                  </a:lnTo>
                  <a:lnTo>
                    <a:pt x="1237" y="192"/>
                  </a:lnTo>
                  <a:lnTo>
                    <a:pt x="1240" y="190"/>
                  </a:lnTo>
                  <a:lnTo>
                    <a:pt x="1248" y="186"/>
                  </a:lnTo>
                  <a:lnTo>
                    <a:pt x="1254" y="183"/>
                  </a:lnTo>
                  <a:lnTo>
                    <a:pt x="1259" y="174"/>
                  </a:lnTo>
                  <a:lnTo>
                    <a:pt x="1275" y="164"/>
                  </a:lnTo>
                  <a:lnTo>
                    <a:pt x="1287" y="155"/>
                  </a:lnTo>
                  <a:lnTo>
                    <a:pt x="1287" y="145"/>
                  </a:lnTo>
                  <a:lnTo>
                    <a:pt x="1288" y="145"/>
                  </a:lnTo>
                  <a:lnTo>
                    <a:pt x="1289" y="144"/>
                  </a:lnTo>
                  <a:lnTo>
                    <a:pt x="1290" y="143"/>
                  </a:lnTo>
                  <a:lnTo>
                    <a:pt x="1292" y="141"/>
                  </a:lnTo>
                  <a:lnTo>
                    <a:pt x="1292" y="136"/>
                  </a:lnTo>
                  <a:lnTo>
                    <a:pt x="1292" y="132"/>
                  </a:lnTo>
                  <a:lnTo>
                    <a:pt x="1295" y="129"/>
                  </a:lnTo>
                  <a:lnTo>
                    <a:pt x="1299" y="125"/>
                  </a:lnTo>
                  <a:lnTo>
                    <a:pt x="1303" y="123"/>
                  </a:lnTo>
                  <a:lnTo>
                    <a:pt x="1306" y="122"/>
                  </a:lnTo>
                  <a:lnTo>
                    <a:pt x="1307" y="116"/>
                  </a:lnTo>
                  <a:lnTo>
                    <a:pt x="1309" y="110"/>
                  </a:lnTo>
                  <a:lnTo>
                    <a:pt x="1312" y="103"/>
                  </a:lnTo>
                  <a:lnTo>
                    <a:pt x="1315" y="96"/>
                  </a:lnTo>
                  <a:lnTo>
                    <a:pt x="1318" y="88"/>
                  </a:lnTo>
                  <a:lnTo>
                    <a:pt x="1322" y="81"/>
                  </a:lnTo>
                  <a:lnTo>
                    <a:pt x="1324" y="73"/>
                  </a:lnTo>
                  <a:lnTo>
                    <a:pt x="1325" y="66"/>
                  </a:lnTo>
                  <a:lnTo>
                    <a:pt x="1329" y="61"/>
                  </a:lnTo>
                  <a:lnTo>
                    <a:pt x="1338" y="61"/>
                  </a:lnTo>
                  <a:lnTo>
                    <a:pt x="1348" y="61"/>
                  </a:lnTo>
                  <a:lnTo>
                    <a:pt x="1350" y="58"/>
                  </a:lnTo>
                  <a:lnTo>
                    <a:pt x="1352" y="57"/>
                  </a:lnTo>
                  <a:lnTo>
                    <a:pt x="1354" y="56"/>
                  </a:lnTo>
                  <a:lnTo>
                    <a:pt x="1357" y="56"/>
                  </a:lnTo>
                  <a:lnTo>
                    <a:pt x="1362" y="53"/>
                  </a:lnTo>
                  <a:lnTo>
                    <a:pt x="1366" y="49"/>
                  </a:lnTo>
                  <a:lnTo>
                    <a:pt x="1371" y="46"/>
                  </a:lnTo>
                  <a:lnTo>
                    <a:pt x="1372" y="43"/>
                  </a:lnTo>
                  <a:lnTo>
                    <a:pt x="1381" y="43"/>
                  </a:lnTo>
                  <a:lnTo>
                    <a:pt x="1383" y="41"/>
                  </a:lnTo>
                  <a:lnTo>
                    <a:pt x="1386" y="35"/>
                  </a:lnTo>
                  <a:lnTo>
                    <a:pt x="1391" y="30"/>
                  </a:lnTo>
                  <a:lnTo>
                    <a:pt x="1395" y="28"/>
                  </a:lnTo>
                  <a:lnTo>
                    <a:pt x="1395" y="18"/>
                  </a:lnTo>
                  <a:lnTo>
                    <a:pt x="1402" y="11"/>
                  </a:lnTo>
                  <a:lnTo>
                    <a:pt x="1410" y="5"/>
                  </a:lnTo>
                  <a:lnTo>
                    <a:pt x="1429" y="5"/>
                  </a:lnTo>
                  <a:lnTo>
                    <a:pt x="1429" y="3"/>
                  </a:lnTo>
                  <a:lnTo>
                    <a:pt x="1431" y="1"/>
                  </a:lnTo>
                  <a:lnTo>
                    <a:pt x="1433" y="1"/>
                  </a:lnTo>
                  <a:lnTo>
                    <a:pt x="1436" y="0"/>
                  </a:lnTo>
                  <a:lnTo>
                    <a:pt x="1443" y="0"/>
                  </a:lnTo>
                  <a:lnTo>
                    <a:pt x="1452" y="1"/>
                  </a:lnTo>
                  <a:lnTo>
                    <a:pt x="1470" y="4"/>
                  </a:lnTo>
                  <a:lnTo>
                    <a:pt x="1480" y="5"/>
                  </a:lnTo>
                  <a:lnTo>
                    <a:pt x="1485" y="8"/>
                  </a:lnTo>
                  <a:lnTo>
                    <a:pt x="1491" y="13"/>
                  </a:lnTo>
                  <a:lnTo>
                    <a:pt x="1499" y="16"/>
                  </a:lnTo>
                  <a:lnTo>
                    <a:pt x="1507" y="19"/>
                  </a:lnTo>
                  <a:lnTo>
                    <a:pt x="1515" y="23"/>
                  </a:lnTo>
                  <a:lnTo>
                    <a:pt x="1524" y="26"/>
                  </a:lnTo>
                  <a:lnTo>
                    <a:pt x="1530" y="27"/>
                  </a:lnTo>
                  <a:lnTo>
                    <a:pt x="1537" y="28"/>
                  </a:lnTo>
                  <a:lnTo>
                    <a:pt x="1539" y="32"/>
                  </a:lnTo>
                  <a:lnTo>
                    <a:pt x="1542" y="34"/>
                  </a:lnTo>
                  <a:lnTo>
                    <a:pt x="1545" y="37"/>
                  </a:lnTo>
                  <a:lnTo>
                    <a:pt x="1549" y="38"/>
                  </a:lnTo>
                  <a:lnTo>
                    <a:pt x="1557" y="42"/>
                  </a:lnTo>
                  <a:lnTo>
                    <a:pt x="1565" y="43"/>
                  </a:lnTo>
                  <a:lnTo>
                    <a:pt x="1565" y="52"/>
                  </a:lnTo>
                  <a:lnTo>
                    <a:pt x="1568" y="53"/>
                  </a:lnTo>
                  <a:lnTo>
                    <a:pt x="1572" y="57"/>
                  </a:lnTo>
                  <a:lnTo>
                    <a:pt x="1574" y="62"/>
                  </a:lnTo>
                  <a:lnTo>
                    <a:pt x="1575" y="66"/>
                  </a:lnTo>
                  <a:lnTo>
                    <a:pt x="1584" y="71"/>
                  </a:lnTo>
                  <a:lnTo>
                    <a:pt x="1588" y="75"/>
                  </a:lnTo>
                  <a:lnTo>
                    <a:pt x="1590" y="81"/>
                  </a:lnTo>
                  <a:lnTo>
                    <a:pt x="1592" y="86"/>
                  </a:lnTo>
                  <a:lnTo>
                    <a:pt x="1593" y="90"/>
                  </a:lnTo>
                  <a:lnTo>
                    <a:pt x="1595" y="92"/>
                  </a:lnTo>
                  <a:lnTo>
                    <a:pt x="1596" y="93"/>
                  </a:lnTo>
                  <a:lnTo>
                    <a:pt x="1599" y="94"/>
                  </a:lnTo>
                  <a:lnTo>
                    <a:pt x="1600" y="105"/>
                  </a:lnTo>
                  <a:lnTo>
                    <a:pt x="1603" y="119"/>
                  </a:lnTo>
                  <a:lnTo>
                    <a:pt x="1607" y="132"/>
                  </a:lnTo>
                  <a:lnTo>
                    <a:pt x="1612" y="145"/>
                  </a:lnTo>
                  <a:lnTo>
                    <a:pt x="1617" y="159"/>
                  </a:lnTo>
                  <a:lnTo>
                    <a:pt x="1622" y="171"/>
                  </a:lnTo>
                  <a:lnTo>
                    <a:pt x="1625" y="183"/>
                  </a:lnTo>
                  <a:lnTo>
                    <a:pt x="1626" y="193"/>
                  </a:lnTo>
                  <a:lnTo>
                    <a:pt x="1631" y="199"/>
                  </a:lnTo>
                  <a:lnTo>
                    <a:pt x="1636" y="207"/>
                  </a:lnTo>
                  <a:lnTo>
                    <a:pt x="1643" y="216"/>
                  </a:lnTo>
                  <a:lnTo>
                    <a:pt x="1650" y="221"/>
                  </a:lnTo>
                  <a:lnTo>
                    <a:pt x="1650" y="226"/>
                  </a:lnTo>
                  <a:lnTo>
                    <a:pt x="1651" y="229"/>
                  </a:lnTo>
                  <a:lnTo>
                    <a:pt x="1652" y="232"/>
                  </a:lnTo>
                  <a:lnTo>
                    <a:pt x="1653" y="235"/>
                  </a:lnTo>
                  <a:lnTo>
                    <a:pt x="1658" y="237"/>
                  </a:lnTo>
                  <a:lnTo>
                    <a:pt x="1664" y="240"/>
                  </a:lnTo>
                  <a:lnTo>
                    <a:pt x="1667" y="247"/>
                  </a:lnTo>
                  <a:lnTo>
                    <a:pt x="1669" y="255"/>
                  </a:lnTo>
                  <a:lnTo>
                    <a:pt x="1683" y="259"/>
                  </a:lnTo>
                  <a:lnTo>
                    <a:pt x="1697" y="264"/>
                  </a:lnTo>
                  <a:lnTo>
                    <a:pt x="1700" y="268"/>
                  </a:lnTo>
                  <a:lnTo>
                    <a:pt x="1702" y="273"/>
                  </a:lnTo>
                  <a:lnTo>
                    <a:pt x="1716" y="273"/>
                  </a:lnTo>
                  <a:lnTo>
                    <a:pt x="1717" y="276"/>
                  </a:lnTo>
                  <a:lnTo>
                    <a:pt x="1719" y="277"/>
                  </a:lnTo>
                  <a:lnTo>
                    <a:pt x="1722" y="278"/>
                  </a:lnTo>
                  <a:lnTo>
                    <a:pt x="1726" y="278"/>
                  </a:lnTo>
                  <a:lnTo>
                    <a:pt x="1730" y="283"/>
                  </a:lnTo>
                  <a:lnTo>
                    <a:pt x="1735" y="292"/>
                  </a:lnTo>
                  <a:lnTo>
                    <a:pt x="1738" y="293"/>
                  </a:lnTo>
                  <a:lnTo>
                    <a:pt x="1741" y="294"/>
                  </a:lnTo>
                  <a:lnTo>
                    <a:pt x="1744" y="296"/>
                  </a:lnTo>
                  <a:lnTo>
                    <a:pt x="1747" y="298"/>
                  </a:lnTo>
                  <a:lnTo>
                    <a:pt x="1751" y="304"/>
                  </a:lnTo>
                  <a:lnTo>
                    <a:pt x="1756" y="311"/>
                  </a:lnTo>
                  <a:lnTo>
                    <a:pt x="1759" y="317"/>
                  </a:lnTo>
                  <a:lnTo>
                    <a:pt x="1764" y="324"/>
                  </a:lnTo>
                  <a:lnTo>
                    <a:pt x="1766" y="326"/>
                  </a:lnTo>
                  <a:lnTo>
                    <a:pt x="1768" y="328"/>
                  </a:lnTo>
                  <a:lnTo>
                    <a:pt x="1770" y="330"/>
                  </a:lnTo>
                  <a:lnTo>
                    <a:pt x="1773" y="330"/>
                  </a:lnTo>
                  <a:lnTo>
                    <a:pt x="1774" y="346"/>
                  </a:lnTo>
                  <a:lnTo>
                    <a:pt x="1777" y="365"/>
                  </a:lnTo>
                  <a:lnTo>
                    <a:pt x="1780" y="386"/>
                  </a:lnTo>
                  <a:lnTo>
                    <a:pt x="1782" y="405"/>
                  </a:lnTo>
                  <a:lnTo>
                    <a:pt x="1777" y="410"/>
                  </a:lnTo>
                  <a:lnTo>
                    <a:pt x="1768" y="414"/>
                  </a:lnTo>
                  <a:lnTo>
                    <a:pt x="1764" y="424"/>
                  </a:lnTo>
                  <a:lnTo>
                    <a:pt x="1758" y="433"/>
                  </a:lnTo>
                  <a:lnTo>
                    <a:pt x="1749" y="438"/>
                  </a:lnTo>
                  <a:lnTo>
                    <a:pt x="1749" y="448"/>
                  </a:lnTo>
                  <a:lnTo>
                    <a:pt x="1739" y="452"/>
                  </a:lnTo>
                  <a:lnTo>
                    <a:pt x="1735" y="474"/>
                  </a:lnTo>
                  <a:lnTo>
                    <a:pt x="1726" y="510"/>
                  </a:lnTo>
                  <a:lnTo>
                    <a:pt x="1721" y="529"/>
                  </a:lnTo>
                  <a:lnTo>
                    <a:pt x="1720" y="545"/>
                  </a:lnTo>
                  <a:lnTo>
                    <a:pt x="1720" y="552"/>
                  </a:lnTo>
                  <a:lnTo>
                    <a:pt x="1720" y="556"/>
                  </a:lnTo>
                  <a:lnTo>
                    <a:pt x="1721" y="558"/>
                  </a:lnTo>
                  <a:lnTo>
                    <a:pt x="1722" y="559"/>
                  </a:lnTo>
                  <a:lnTo>
                    <a:pt x="1724" y="561"/>
                  </a:lnTo>
                  <a:lnTo>
                    <a:pt x="1726" y="561"/>
                  </a:lnTo>
                  <a:lnTo>
                    <a:pt x="1726" y="575"/>
                  </a:lnTo>
                  <a:lnTo>
                    <a:pt x="1730" y="580"/>
                  </a:lnTo>
                  <a:lnTo>
                    <a:pt x="1739" y="584"/>
                  </a:lnTo>
                  <a:lnTo>
                    <a:pt x="1739" y="594"/>
                  </a:lnTo>
                  <a:lnTo>
                    <a:pt x="1750" y="605"/>
                  </a:lnTo>
                  <a:lnTo>
                    <a:pt x="1758" y="613"/>
                  </a:lnTo>
                  <a:lnTo>
                    <a:pt x="1764" y="622"/>
                  </a:lnTo>
                  <a:lnTo>
                    <a:pt x="1765" y="632"/>
                  </a:lnTo>
                  <a:lnTo>
                    <a:pt x="1768" y="645"/>
                  </a:lnTo>
                  <a:lnTo>
                    <a:pt x="1774" y="660"/>
                  </a:lnTo>
                  <a:lnTo>
                    <a:pt x="1779" y="677"/>
                  </a:lnTo>
                  <a:lnTo>
                    <a:pt x="1786" y="695"/>
                  </a:lnTo>
                  <a:lnTo>
                    <a:pt x="1791" y="712"/>
                  </a:lnTo>
                  <a:lnTo>
                    <a:pt x="1795" y="731"/>
                  </a:lnTo>
                  <a:lnTo>
                    <a:pt x="1796" y="749"/>
                  </a:lnTo>
                  <a:lnTo>
                    <a:pt x="1795" y="769"/>
                  </a:lnTo>
                  <a:lnTo>
                    <a:pt x="1793" y="807"/>
                  </a:lnTo>
                  <a:lnTo>
                    <a:pt x="1792" y="827"/>
                  </a:lnTo>
                  <a:lnTo>
                    <a:pt x="1793" y="845"/>
                  </a:lnTo>
                  <a:lnTo>
                    <a:pt x="1793" y="852"/>
                  </a:lnTo>
                  <a:lnTo>
                    <a:pt x="1794" y="857"/>
                  </a:lnTo>
                  <a:lnTo>
                    <a:pt x="1795" y="861"/>
                  </a:lnTo>
                  <a:lnTo>
                    <a:pt x="1796" y="862"/>
                  </a:lnTo>
                  <a:lnTo>
                    <a:pt x="1796" y="933"/>
                  </a:lnTo>
                  <a:lnTo>
                    <a:pt x="1792" y="938"/>
                  </a:lnTo>
                  <a:lnTo>
                    <a:pt x="1773" y="938"/>
                  </a:lnTo>
                  <a:lnTo>
                    <a:pt x="1755" y="936"/>
                  </a:lnTo>
                  <a:lnTo>
                    <a:pt x="1746" y="934"/>
                  </a:lnTo>
                  <a:lnTo>
                    <a:pt x="1738" y="932"/>
                  </a:lnTo>
                  <a:lnTo>
                    <a:pt x="1731" y="928"/>
                  </a:lnTo>
                  <a:lnTo>
                    <a:pt x="1726" y="923"/>
                  </a:lnTo>
                  <a:lnTo>
                    <a:pt x="1719" y="923"/>
                  </a:lnTo>
                  <a:lnTo>
                    <a:pt x="1710" y="921"/>
                  </a:lnTo>
                  <a:lnTo>
                    <a:pt x="1701" y="919"/>
                  </a:lnTo>
                  <a:lnTo>
                    <a:pt x="1691" y="915"/>
                  </a:lnTo>
                  <a:lnTo>
                    <a:pt x="1681" y="912"/>
                  </a:lnTo>
                  <a:lnTo>
                    <a:pt x="1672" y="908"/>
                  </a:lnTo>
                  <a:lnTo>
                    <a:pt x="1664" y="903"/>
                  </a:lnTo>
                  <a:lnTo>
                    <a:pt x="1660" y="900"/>
                  </a:lnTo>
                  <a:lnTo>
                    <a:pt x="1652" y="900"/>
                  </a:lnTo>
                  <a:lnTo>
                    <a:pt x="1645" y="899"/>
                  </a:lnTo>
                  <a:lnTo>
                    <a:pt x="1643" y="898"/>
                  </a:lnTo>
                  <a:lnTo>
                    <a:pt x="1640" y="897"/>
                  </a:lnTo>
                  <a:lnTo>
                    <a:pt x="1638" y="893"/>
                  </a:lnTo>
                  <a:lnTo>
                    <a:pt x="1636" y="891"/>
                  </a:lnTo>
                  <a:lnTo>
                    <a:pt x="1629" y="890"/>
                  </a:lnTo>
                  <a:lnTo>
                    <a:pt x="1623" y="888"/>
                  </a:lnTo>
                  <a:lnTo>
                    <a:pt x="1621" y="886"/>
                  </a:lnTo>
                  <a:lnTo>
                    <a:pt x="1619" y="884"/>
                  </a:lnTo>
                  <a:lnTo>
                    <a:pt x="1617" y="883"/>
                  </a:lnTo>
                  <a:lnTo>
                    <a:pt x="1617" y="881"/>
                  </a:lnTo>
                  <a:lnTo>
                    <a:pt x="1607" y="880"/>
                  </a:lnTo>
                  <a:lnTo>
                    <a:pt x="1595" y="878"/>
                  </a:lnTo>
                  <a:lnTo>
                    <a:pt x="1588" y="875"/>
                  </a:lnTo>
                  <a:lnTo>
                    <a:pt x="1584" y="873"/>
                  </a:lnTo>
                  <a:lnTo>
                    <a:pt x="1581" y="871"/>
                  </a:lnTo>
                  <a:lnTo>
                    <a:pt x="1580" y="868"/>
                  </a:lnTo>
                  <a:lnTo>
                    <a:pt x="1565" y="868"/>
                  </a:lnTo>
                  <a:lnTo>
                    <a:pt x="1547" y="861"/>
                  </a:lnTo>
                  <a:lnTo>
                    <a:pt x="1527" y="856"/>
                  </a:lnTo>
                  <a:lnTo>
                    <a:pt x="1506" y="854"/>
                  </a:lnTo>
                  <a:lnTo>
                    <a:pt x="1485" y="853"/>
                  </a:lnTo>
                  <a:lnTo>
                    <a:pt x="1481" y="850"/>
                  </a:lnTo>
                  <a:lnTo>
                    <a:pt x="1478" y="847"/>
                  </a:lnTo>
                  <a:lnTo>
                    <a:pt x="1473" y="846"/>
                  </a:lnTo>
                  <a:lnTo>
                    <a:pt x="1469" y="845"/>
                  </a:lnTo>
                  <a:lnTo>
                    <a:pt x="1461" y="844"/>
                  </a:lnTo>
                  <a:lnTo>
                    <a:pt x="1452" y="843"/>
                  </a:lnTo>
                  <a:lnTo>
                    <a:pt x="1443" y="843"/>
                  </a:lnTo>
                  <a:lnTo>
                    <a:pt x="1434" y="842"/>
                  </a:lnTo>
                  <a:lnTo>
                    <a:pt x="1431" y="841"/>
                  </a:lnTo>
                  <a:lnTo>
                    <a:pt x="1427" y="840"/>
                  </a:lnTo>
                  <a:lnTo>
                    <a:pt x="1423" y="837"/>
                  </a:lnTo>
                  <a:lnTo>
                    <a:pt x="1419" y="834"/>
                  </a:lnTo>
                  <a:lnTo>
                    <a:pt x="1405" y="833"/>
                  </a:lnTo>
                  <a:lnTo>
                    <a:pt x="1391" y="831"/>
                  </a:lnTo>
                  <a:lnTo>
                    <a:pt x="1379" y="828"/>
                  </a:lnTo>
                  <a:lnTo>
                    <a:pt x="1367" y="825"/>
                  </a:lnTo>
                  <a:lnTo>
                    <a:pt x="1348" y="825"/>
                  </a:lnTo>
                  <a:lnTo>
                    <a:pt x="1342" y="822"/>
                  </a:lnTo>
                  <a:lnTo>
                    <a:pt x="1334" y="820"/>
                  </a:lnTo>
                  <a:lnTo>
                    <a:pt x="1325" y="809"/>
                  </a:lnTo>
                  <a:lnTo>
                    <a:pt x="1315" y="796"/>
                  </a:lnTo>
                  <a:lnTo>
                    <a:pt x="1304" y="792"/>
                  </a:lnTo>
                  <a:lnTo>
                    <a:pt x="1292" y="787"/>
                  </a:lnTo>
                  <a:lnTo>
                    <a:pt x="1287" y="777"/>
                  </a:lnTo>
                  <a:lnTo>
                    <a:pt x="1278" y="773"/>
                  </a:lnTo>
                  <a:lnTo>
                    <a:pt x="1274" y="766"/>
                  </a:lnTo>
                  <a:lnTo>
                    <a:pt x="1265" y="755"/>
                  </a:lnTo>
                  <a:lnTo>
                    <a:pt x="1256" y="745"/>
                  </a:lnTo>
                  <a:lnTo>
                    <a:pt x="1249" y="740"/>
                  </a:lnTo>
                  <a:lnTo>
                    <a:pt x="1245" y="735"/>
                  </a:lnTo>
                  <a:lnTo>
                    <a:pt x="1240" y="726"/>
                  </a:lnTo>
                  <a:lnTo>
                    <a:pt x="1230" y="726"/>
                  </a:lnTo>
                  <a:lnTo>
                    <a:pt x="1226" y="716"/>
                  </a:lnTo>
                  <a:lnTo>
                    <a:pt x="1221" y="716"/>
                  </a:lnTo>
                  <a:lnTo>
                    <a:pt x="1217" y="713"/>
                  </a:lnTo>
                  <a:lnTo>
                    <a:pt x="1211" y="710"/>
                  </a:lnTo>
                  <a:lnTo>
                    <a:pt x="1206" y="706"/>
                  </a:lnTo>
                  <a:lnTo>
                    <a:pt x="1200" y="701"/>
                  </a:lnTo>
                  <a:lnTo>
                    <a:pt x="1194" y="697"/>
                  </a:lnTo>
                  <a:lnTo>
                    <a:pt x="1191" y="692"/>
                  </a:lnTo>
                  <a:lnTo>
                    <a:pt x="1188" y="688"/>
                  </a:lnTo>
                  <a:lnTo>
                    <a:pt x="1183" y="688"/>
                  </a:lnTo>
                  <a:lnTo>
                    <a:pt x="1177" y="688"/>
                  </a:lnTo>
                  <a:lnTo>
                    <a:pt x="1174" y="687"/>
                  </a:lnTo>
                  <a:lnTo>
                    <a:pt x="1171" y="686"/>
                  </a:lnTo>
                  <a:lnTo>
                    <a:pt x="1170" y="684"/>
                  </a:lnTo>
                  <a:lnTo>
                    <a:pt x="1169" y="683"/>
                  </a:lnTo>
                  <a:lnTo>
                    <a:pt x="1113" y="683"/>
                  </a:lnTo>
                  <a:lnTo>
                    <a:pt x="1101" y="689"/>
                  </a:lnTo>
                  <a:lnTo>
                    <a:pt x="1084" y="697"/>
                  </a:lnTo>
                  <a:lnTo>
                    <a:pt x="1067" y="703"/>
                  </a:lnTo>
                  <a:lnTo>
                    <a:pt x="1056" y="707"/>
                  </a:lnTo>
                  <a:lnTo>
                    <a:pt x="1054" y="713"/>
                  </a:lnTo>
                  <a:lnTo>
                    <a:pt x="1052" y="721"/>
                  </a:lnTo>
                  <a:lnTo>
                    <a:pt x="1041" y="721"/>
                  </a:lnTo>
                  <a:lnTo>
                    <a:pt x="1039" y="726"/>
                  </a:lnTo>
                  <a:lnTo>
                    <a:pt x="1037" y="730"/>
                  </a:lnTo>
                  <a:lnTo>
                    <a:pt x="1030" y="731"/>
                  </a:lnTo>
                  <a:lnTo>
                    <a:pt x="1024" y="735"/>
                  </a:lnTo>
                  <a:lnTo>
                    <a:pt x="1018" y="738"/>
                  </a:lnTo>
                  <a:lnTo>
                    <a:pt x="1011" y="744"/>
                  </a:lnTo>
                  <a:lnTo>
                    <a:pt x="1001" y="756"/>
                  </a:lnTo>
                  <a:lnTo>
                    <a:pt x="990" y="768"/>
                  </a:lnTo>
                  <a:lnTo>
                    <a:pt x="981" y="768"/>
                  </a:lnTo>
                  <a:lnTo>
                    <a:pt x="976" y="773"/>
                  </a:lnTo>
                  <a:lnTo>
                    <a:pt x="971" y="783"/>
                  </a:lnTo>
                  <a:lnTo>
                    <a:pt x="967" y="784"/>
                  </a:lnTo>
                  <a:lnTo>
                    <a:pt x="960" y="787"/>
                  </a:lnTo>
                  <a:lnTo>
                    <a:pt x="954" y="792"/>
                  </a:lnTo>
                  <a:lnTo>
                    <a:pt x="952" y="796"/>
                  </a:lnTo>
                  <a:lnTo>
                    <a:pt x="948" y="797"/>
                  </a:lnTo>
                  <a:lnTo>
                    <a:pt x="942" y="801"/>
                  </a:lnTo>
                  <a:lnTo>
                    <a:pt x="937" y="804"/>
                  </a:lnTo>
                  <a:lnTo>
                    <a:pt x="930" y="808"/>
                  </a:lnTo>
                  <a:lnTo>
                    <a:pt x="924" y="814"/>
                  </a:lnTo>
                  <a:lnTo>
                    <a:pt x="919" y="818"/>
                  </a:lnTo>
                  <a:lnTo>
                    <a:pt x="915" y="822"/>
                  </a:lnTo>
                  <a:lnTo>
                    <a:pt x="914" y="825"/>
                  </a:lnTo>
                  <a:lnTo>
                    <a:pt x="902" y="831"/>
                  </a:lnTo>
                  <a:lnTo>
                    <a:pt x="886" y="841"/>
                  </a:lnTo>
                  <a:lnTo>
                    <a:pt x="870" y="854"/>
                  </a:lnTo>
                  <a:lnTo>
                    <a:pt x="852" y="871"/>
                  </a:lnTo>
                  <a:lnTo>
                    <a:pt x="844" y="879"/>
                  </a:lnTo>
                  <a:lnTo>
                    <a:pt x="836" y="888"/>
                  </a:lnTo>
                  <a:lnTo>
                    <a:pt x="829" y="897"/>
                  </a:lnTo>
                  <a:lnTo>
                    <a:pt x="823" y="905"/>
                  </a:lnTo>
                  <a:lnTo>
                    <a:pt x="818" y="914"/>
                  </a:lnTo>
                  <a:lnTo>
                    <a:pt x="814" y="922"/>
                  </a:lnTo>
                  <a:lnTo>
                    <a:pt x="812" y="930"/>
                  </a:lnTo>
                  <a:lnTo>
                    <a:pt x="810" y="938"/>
                  </a:lnTo>
                  <a:lnTo>
                    <a:pt x="809" y="938"/>
                  </a:lnTo>
                  <a:lnTo>
                    <a:pt x="808" y="940"/>
                  </a:lnTo>
                  <a:lnTo>
                    <a:pt x="807" y="942"/>
                  </a:lnTo>
                  <a:lnTo>
                    <a:pt x="807" y="946"/>
                  </a:lnTo>
                  <a:lnTo>
                    <a:pt x="806" y="951"/>
                  </a:lnTo>
                  <a:lnTo>
                    <a:pt x="806" y="957"/>
                  </a:lnTo>
                  <a:lnTo>
                    <a:pt x="797" y="966"/>
                  </a:lnTo>
                  <a:lnTo>
                    <a:pt x="797" y="976"/>
                  </a:lnTo>
                  <a:lnTo>
                    <a:pt x="794" y="976"/>
                  </a:lnTo>
                  <a:lnTo>
                    <a:pt x="793" y="978"/>
                  </a:lnTo>
                  <a:lnTo>
                    <a:pt x="793" y="981"/>
                  </a:lnTo>
                  <a:lnTo>
                    <a:pt x="793" y="985"/>
                  </a:lnTo>
                  <a:lnTo>
                    <a:pt x="789" y="986"/>
                  </a:lnTo>
                  <a:lnTo>
                    <a:pt x="786" y="987"/>
                  </a:lnTo>
                  <a:lnTo>
                    <a:pt x="784" y="989"/>
                  </a:lnTo>
                  <a:lnTo>
                    <a:pt x="781" y="993"/>
                  </a:lnTo>
                  <a:lnTo>
                    <a:pt x="779" y="999"/>
                  </a:lnTo>
                  <a:lnTo>
                    <a:pt x="778" y="1004"/>
                  </a:lnTo>
                  <a:lnTo>
                    <a:pt x="775" y="1004"/>
                  </a:lnTo>
                  <a:lnTo>
                    <a:pt x="771" y="1006"/>
                  </a:lnTo>
                  <a:lnTo>
                    <a:pt x="769" y="1007"/>
                  </a:lnTo>
                  <a:lnTo>
                    <a:pt x="767" y="1009"/>
                  </a:lnTo>
                  <a:lnTo>
                    <a:pt x="765" y="1016"/>
                  </a:lnTo>
                  <a:lnTo>
                    <a:pt x="764" y="1023"/>
                  </a:lnTo>
                  <a:lnTo>
                    <a:pt x="759" y="1027"/>
                  </a:lnTo>
                  <a:lnTo>
                    <a:pt x="750" y="1032"/>
                  </a:lnTo>
                  <a:lnTo>
                    <a:pt x="749" y="1036"/>
                  </a:lnTo>
                  <a:lnTo>
                    <a:pt x="748" y="1039"/>
                  </a:lnTo>
                  <a:lnTo>
                    <a:pt x="746" y="1042"/>
                  </a:lnTo>
                  <a:lnTo>
                    <a:pt x="743" y="1045"/>
                  </a:lnTo>
                  <a:lnTo>
                    <a:pt x="738" y="1052"/>
                  </a:lnTo>
                  <a:lnTo>
                    <a:pt x="731" y="1057"/>
                  </a:lnTo>
                  <a:lnTo>
                    <a:pt x="723" y="1062"/>
                  </a:lnTo>
                  <a:lnTo>
                    <a:pt x="718" y="1066"/>
                  </a:lnTo>
                  <a:lnTo>
                    <a:pt x="713" y="1071"/>
                  </a:lnTo>
                  <a:lnTo>
                    <a:pt x="712" y="1074"/>
                  </a:lnTo>
                  <a:lnTo>
                    <a:pt x="708" y="1075"/>
                  </a:lnTo>
                  <a:lnTo>
                    <a:pt x="703" y="1075"/>
                  </a:lnTo>
                  <a:lnTo>
                    <a:pt x="701" y="1076"/>
                  </a:lnTo>
                  <a:lnTo>
                    <a:pt x="700" y="1078"/>
                  </a:lnTo>
                  <a:lnTo>
                    <a:pt x="698" y="1081"/>
                  </a:lnTo>
                  <a:lnTo>
                    <a:pt x="698" y="1084"/>
                  </a:lnTo>
                  <a:lnTo>
                    <a:pt x="694" y="1084"/>
                  </a:lnTo>
                  <a:lnTo>
                    <a:pt x="691" y="1085"/>
                  </a:lnTo>
                  <a:lnTo>
                    <a:pt x="688" y="1087"/>
                  </a:lnTo>
                  <a:lnTo>
                    <a:pt x="685" y="1090"/>
                  </a:lnTo>
                  <a:lnTo>
                    <a:pt x="681" y="1094"/>
                  </a:lnTo>
                  <a:lnTo>
                    <a:pt x="679" y="1099"/>
                  </a:lnTo>
                  <a:lnTo>
                    <a:pt x="672" y="1101"/>
                  </a:lnTo>
                  <a:lnTo>
                    <a:pt x="662" y="1105"/>
                  </a:lnTo>
                  <a:lnTo>
                    <a:pt x="652" y="1112"/>
                  </a:lnTo>
                  <a:lnTo>
                    <a:pt x="646" y="1116"/>
                  </a:lnTo>
                  <a:lnTo>
                    <a:pt x="635" y="1119"/>
                  </a:lnTo>
                  <a:lnTo>
                    <a:pt x="624" y="1122"/>
                  </a:lnTo>
                  <a:lnTo>
                    <a:pt x="613" y="1128"/>
                  </a:lnTo>
                  <a:lnTo>
                    <a:pt x="602" y="1133"/>
                  </a:lnTo>
                  <a:lnTo>
                    <a:pt x="589" y="1140"/>
                  </a:lnTo>
                  <a:lnTo>
                    <a:pt x="578" y="1144"/>
                  </a:lnTo>
                  <a:lnTo>
                    <a:pt x="567" y="1149"/>
                  </a:lnTo>
                  <a:lnTo>
                    <a:pt x="556" y="1150"/>
                  </a:lnTo>
                  <a:lnTo>
                    <a:pt x="524" y="1183"/>
                  </a:lnTo>
                  <a:lnTo>
                    <a:pt x="524" y="1192"/>
                  </a:lnTo>
                  <a:lnTo>
                    <a:pt x="513" y="1192"/>
                  </a:lnTo>
                  <a:lnTo>
                    <a:pt x="513" y="1201"/>
                  </a:lnTo>
                  <a:lnTo>
                    <a:pt x="510" y="1203"/>
                  </a:lnTo>
                  <a:lnTo>
                    <a:pt x="508" y="1207"/>
                  </a:lnTo>
                  <a:lnTo>
                    <a:pt x="506" y="1210"/>
                  </a:lnTo>
                  <a:lnTo>
                    <a:pt x="505" y="1211"/>
                  </a:lnTo>
                  <a:lnTo>
                    <a:pt x="499" y="1212"/>
                  </a:lnTo>
                  <a:lnTo>
                    <a:pt x="492" y="1217"/>
                  </a:lnTo>
                  <a:lnTo>
                    <a:pt x="486" y="1221"/>
                  </a:lnTo>
                  <a:lnTo>
                    <a:pt x="481" y="1226"/>
                  </a:lnTo>
                  <a:lnTo>
                    <a:pt x="474" y="1226"/>
                  </a:lnTo>
                  <a:lnTo>
                    <a:pt x="465" y="1227"/>
                  </a:lnTo>
                  <a:lnTo>
                    <a:pt x="460" y="1228"/>
                  </a:lnTo>
                  <a:lnTo>
                    <a:pt x="457" y="1229"/>
                  </a:lnTo>
                  <a:lnTo>
                    <a:pt x="453" y="1231"/>
                  </a:lnTo>
                  <a:lnTo>
                    <a:pt x="453" y="1235"/>
                  </a:lnTo>
                  <a:lnTo>
                    <a:pt x="411" y="1234"/>
                  </a:lnTo>
                  <a:lnTo>
                    <a:pt x="368" y="1232"/>
                  </a:lnTo>
                  <a:lnTo>
                    <a:pt x="325" y="1230"/>
                  </a:lnTo>
                  <a:lnTo>
                    <a:pt x="281" y="1228"/>
                  </a:lnTo>
                  <a:lnTo>
                    <a:pt x="239" y="1225"/>
                  </a:lnTo>
                  <a:lnTo>
                    <a:pt x="196" y="1222"/>
                  </a:lnTo>
                  <a:lnTo>
                    <a:pt x="156" y="1221"/>
                  </a:lnTo>
                  <a:lnTo>
                    <a:pt x="118" y="1220"/>
                  </a:lnTo>
                  <a:lnTo>
                    <a:pt x="113" y="1216"/>
                  </a:lnTo>
                  <a:lnTo>
                    <a:pt x="108" y="1207"/>
                  </a:lnTo>
                  <a:lnTo>
                    <a:pt x="99" y="1207"/>
                  </a:lnTo>
                  <a:lnTo>
                    <a:pt x="97" y="1203"/>
                  </a:lnTo>
                  <a:lnTo>
                    <a:pt x="95" y="1200"/>
                  </a:lnTo>
                  <a:lnTo>
                    <a:pt x="91" y="1198"/>
                  </a:lnTo>
                  <a:lnTo>
                    <a:pt x="89" y="1197"/>
                  </a:lnTo>
                  <a:lnTo>
                    <a:pt x="86" y="1191"/>
                  </a:lnTo>
                  <a:lnTo>
                    <a:pt x="78" y="1182"/>
                  </a:lnTo>
                  <a:lnTo>
                    <a:pt x="66" y="1172"/>
                  </a:lnTo>
                  <a:lnTo>
                    <a:pt x="51" y="1160"/>
                  </a:lnTo>
                  <a:lnTo>
                    <a:pt x="25" y="1138"/>
                  </a:lnTo>
                  <a:lnTo>
                    <a:pt x="10" y="1126"/>
                  </a:lnTo>
                  <a:lnTo>
                    <a:pt x="4" y="1121"/>
                  </a:lnTo>
                  <a:lnTo>
                    <a:pt x="0" y="1115"/>
                  </a:lnTo>
                  <a:lnTo>
                    <a:pt x="0" y="1115"/>
                  </a:lnTo>
                  <a:lnTo>
                    <a:pt x="12" y="1118"/>
                  </a:lnTo>
                  <a:lnTo>
                    <a:pt x="25" y="1119"/>
                  </a:lnTo>
                  <a:lnTo>
                    <a:pt x="36" y="1119"/>
                  </a:lnTo>
                  <a:lnTo>
                    <a:pt x="47" y="1116"/>
                  </a:lnTo>
                  <a:lnTo>
                    <a:pt x="51" y="1115"/>
                  </a:lnTo>
                  <a:lnTo>
                    <a:pt x="56" y="1113"/>
                  </a:lnTo>
                  <a:lnTo>
                    <a:pt x="59" y="1111"/>
                  </a:lnTo>
                  <a:lnTo>
                    <a:pt x="62" y="1107"/>
                  </a:lnTo>
                  <a:lnTo>
                    <a:pt x="66" y="1103"/>
                  </a:lnTo>
                  <a:lnTo>
                    <a:pt x="67" y="1099"/>
                  </a:lnTo>
                  <a:lnTo>
                    <a:pt x="68" y="1093"/>
                  </a:lnTo>
                  <a:lnTo>
                    <a:pt x="69" y="1086"/>
                  </a:lnTo>
                  <a:lnTo>
                    <a:pt x="70" y="1082"/>
                  </a:lnTo>
                  <a:lnTo>
                    <a:pt x="73" y="1077"/>
                  </a:lnTo>
                  <a:lnTo>
                    <a:pt x="76" y="1073"/>
                  </a:lnTo>
                  <a:lnTo>
                    <a:pt x="80" y="1067"/>
                  </a:lnTo>
                  <a:lnTo>
                    <a:pt x="93" y="1057"/>
                  </a:lnTo>
                  <a:lnTo>
                    <a:pt x="107" y="1047"/>
                  </a:lnTo>
                  <a:lnTo>
                    <a:pt x="135" y="1029"/>
                  </a:lnTo>
                  <a:lnTo>
                    <a:pt x="154" y="1019"/>
                  </a:lnTo>
                  <a:lnTo>
                    <a:pt x="171" y="1013"/>
                  </a:lnTo>
                  <a:lnTo>
                    <a:pt x="185" y="1005"/>
                  </a:lnTo>
                  <a:lnTo>
                    <a:pt x="199" y="998"/>
                  </a:lnTo>
                  <a:lnTo>
                    <a:pt x="211" y="991"/>
                  </a:lnTo>
                  <a:lnTo>
                    <a:pt x="223" y="984"/>
                  </a:lnTo>
                  <a:lnTo>
                    <a:pt x="233" y="976"/>
                  </a:lnTo>
                  <a:lnTo>
                    <a:pt x="243" y="968"/>
                  </a:lnTo>
                  <a:lnTo>
                    <a:pt x="252" y="959"/>
                  </a:lnTo>
                  <a:lnTo>
                    <a:pt x="260" y="950"/>
                  </a:lnTo>
                  <a:lnTo>
                    <a:pt x="268" y="940"/>
                  </a:lnTo>
                  <a:lnTo>
                    <a:pt x="275" y="929"/>
                  </a:lnTo>
                  <a:lnTo>
                    <a:pt x="281" y="917"/>
                  </a:lnTo>
                  <a:lnTo>
                    <a:pt x="288" y="904"/>
                  </a:lnTo>
                  <a:lnTo>
                    <a:pt x="294" y="891"/>
                  </a:lnTo>
                  <a:lnTo>
                    <a:pt x="299" y="875"/>
                  </a:lnTo>
                  <a:lnTo>
                    <a:pt x="305" y="859"/>
                  </a:lnTo>
                  <a:lnTo>
                    <a:pt x="308" y="852"/>
                  </a:lnTo>
                  <a:lnTo>
                    <a:pt x="311" y="844"/>
                  </a:lnTo>
                  <a:lnTo>
                    <a:pt x="316" y="837"/>
                  </a:lnTo>
                  <a:lnTo>
                    <a:pt x="320" y="831"/>
                  </a:lnTo>
                  <a:lnTo>
                    <a:pt x="332" y="817"/>
                  </a:lnTo>
                  <a:lnTo>
                    <a:pt x="345" y="804"/>
                  </a:lnTo>
                  <a:lnTo>
                    <a:pt x="359" y="792"/>
                  </a:lnTo>
                  <a:lnTo>
                    <a:pt x="376" y="780"/>
                  </a:lnTo>
                  <a:lnTo>
                    <a:pt x="393" y="768"/>
                  </a:lnTo>
                  <a:lnTo>
                    <a:pt x="410" y="756"/>
                  </a:lnTo>
                  <a:lnTo>
                    <a:pt x="428" y="745"/>
                  </a:lnTo>
                  <a:lnTo>
                    <a:pt x="445" y="732"/>
                  </a:lnTo>
                  <a:lnTo>
                    <a:pt x="462" y="720"/>
                  </a:lnTo>
                  <a:lnTo>
                    <a:pt x="479" y="707"/>
                  </a:lnTo>
                  <a:lnTo>
                    <a:pt x="493" y="693"/>
                  </a:lnTo>
                  <a:lnTo>
                    <a:pt x="507" y="679"/>
                  </a:lnTo>
                  <a:lnTo>
                    <a:pt x="513" y="672"/>
                  </a:lnTo>
                  <a:lnTo>
                    <a:pt x="519" y="664"/>
                  </a:lnTo>
                  <a:lnTo>
                    <a:pt x="524" y="657"/>
                  </a:lnTo>
                  <a:lnTo>
                    <a:pt x="528" y="649"/>
                  </a:lnTo>
                  <a:lnTo>
                    <a:pt x="535" y="630"/>
                  </a:lnTo>
                  <a:lnTo>
                    <a:pt x="544" y="603"/>
                  </a:lnTo>
                  <a:lnTo>
                    <a:pt x="549" y="590"/>
                  </a:lnTo>
                  <a:lnTo>
                    <a:pt x="556" y="578"/>
                  </a:lnTo>
                  <a:lnTo>
                    <a:pt x="558" y="574"/>
                  </a:lnTo>
                  <a:lnTo>
                    <a:pt x="561" y="571"/>
                  </a:lnTo>
                  <a:lnTo>
                    <a:pt x="564" y="568"/>
                  </a:lnTo>
                  <a:lnTo>
                    <a:pt x="567" y="568"/>
                  </a:lnTo>
                  <a:lnTo>
                    <a:pt x="567" y="564"/>
                  </a:lnTo>
                  <a:lnTo>
                    <a:pt x="568" y="564"/>
                  </a:lnTo>
                  <a:lnTo>
                    <a:pt x="570" y="564"/>
                  </a:lnTo>
                  <a:lnTo>
                    <a:pt x="572" y="563"/>
                  </a:lnTo>
                  <a:lnTo>
                    <a:pt x="573" y="561"/>
                  </a:lnTo>
                  <a:lnTo>
                    <a:pt x="576" y="561"/>
                  </a:lnTo>
                  <a:lnTo>
                    <a:pt x="579" y="559"/>
                  </a:lnTo>
                  <a:lnTo>
                    <a:pt x="589" y="556"/>
                  </a:lnTo>
                  <a:lnTo>
                    <a:pt x="601" y="552"/>
                  </a:lnTo>
                  <a:lnTo>
                    <a:pt x="613" y="54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2" name="Freeform 58"/>
            <p:cNvSpPr>
              <a:spLocks noChangeAspect="1"/>
            </p:cNvSpPr>
            <p:nvPr/>
          </p:nvSpPr>
          <p:spPr bwMode="gray">
            <a:xfrm rot="355651">
              <a:off x="6999332" y="2509838"/>
              <a:ext cx="261314" cy="234213"/>
            </a:xfrm>
            <a:custGeom>
              <a:avLst/>
              <a:gdLst/>
              <a:ahLst/>
              <a:cxnLst>
                <a:cxn ang="0">
                  <a:pos x="691" y="73"/>
                </a:cxn>
                <a:cxn ang="0">
                  <a:pos x="753" y="35"/>
                </a:cxn>
                <a:cxn ang="0">
                  <a:pos x="833" y="10"/>
                </a:cxn>
                <a:cxn ang="0">
                  <a:pos x="993" y="4"/>
                </a:cxn>
                <a:cxn ang="0">
                  <a:pos x="1022" y="79"/>
                </a:cxn>
                <a:cxn ang="0">
                  <a:pos x="1061" y="109"/>
                </a:cxn>
                <a:cxn ang="0">
                  <a:pos x="1227" y="153"/>
                </a:cxn>
                <a:cxn ang="0">
                  <a:pos x="1283" y="181"/>
                </a:cxn>
                <a:cxn ang="0">
                  <a:pos x="1339" y="271"/>
                </a:cxn>
                <a:cxn ang="0">
                  <a:pos x="1378" y="305"/>
                </a:cxn>
                <a:cxn ang="0">
                  <a:pos x="1383" y="369"/>
                </a:cxn>
                <a:cxn ang="0">
                  <a:pos x="1425" y="403"/>
                </a:cxn>
                <a:cxn ang="0">
                  <a:pos x="1409" y="426"/>
                </a:cxn>
                <a:cxn ang="0">
                  <a:pos x="1349" y="475"/>
                </a:cxn>
                <a:cxn ang="0">
                  <a:pos x="1297" y="544"/>
                </a:cxn>
                <a:cxn ang="0">
                  <a:pos x="1263" y="564"/>
                </a:cxn>
                <a:cxn ang="0">
                  <a:pos x="1171" y="640"/>
                </a:cxn>
                <a:cxn ang="0">
                  <a:pos x="1113" y="691"/>
                </a:cxn>
                <a:cxn ang="0">
                  <a:pos x="1094" y="738"/>
                </a:cxn>
                <a:cxn ang="0">
                  <a:pos x="1144" y="797"/>
                </a:cxn>
                <a:cxn ang="0">
                  <a:pos x="1140" y="863"/>
                </a:cxn>
                <a:cxn ang="0">
                  <a:pos x="1094" y="897"/>
                </a:cxn>
                <a:cxn ang="0">
                  <a:pos x="1081" y="959"/>
                </a:cxn>
                <a:cxn ang="0">
                  <a:pos x="1104" y="980"/>
                </a:cxn>
                <a:cxn ang="0">
                  <a:pos x="1150" y="1010"/>
                </a:cxn>
                <a:cxn ang="0">
                  <a:pos x="1157" y="1038"/>
                </a:cxn>
                <a:cxn ang="0">
                  <a:pos x="1045" y="1076"/>
                </a:cxn>
                <a:cxn ang="0">
                  <a:pos x="1000" y="1121"/>
                </a:cxn>
                <a:cxn ang="0">
                  <a:pos x="1004" y="1170"/>
                </a:cxn>
                <a:cxn ang="0">
                  <a:pos x="966" y="1236"/>
                </a:cxn>
                <a:cxn ang="0">
                  <a:pos x="864" y="1260"/>
                </a:cxn>
                <a:cxn ang="0">
                  <a:pos x="797" y="1297"/>
                </a:cxn>
                <a:cxn ang="0">
                  <a:pos x="764" y="1324"/>
                </a:cxn>
                <a:cxn ang="0">
                  <a:pos x="628" y="1426"/>
                </a:cxn>
                <a:cxn ang="0">
                  <a:pos x="581" y="1392"/>
                </a:cxn>
                <a:cxn ang="0">
                  <a:pos x="562" y="1207"/>
                </a:cxn>
                <a:cxn ang="0">
                  <a:pos x="514" y="1122"/>
                </a:cxn>
                <a:cxn ang="0">
                  <a:pos x="514" y="1057"/>
                </a:cxn>
                <a:cxn ang="0">
                  <a:pos x="570" y="952"/>
                </a:cxn>
                <a:cxn ang="0">
                  <a:pos x="547" y="864"/>
                </a:cxn>
                <a:cxn ang="0">
                  <a:pos x="514" y="825"/>
                </a:cxn>
                <a:cxn ang="0">
                  <a:pos x="457" y="802"/>
                </a:cxn>
                <a:cxn ang="0">
                  <a:pos x="431" y="763"/>
                </a:cxn>
                <a:cxn ang="0">
                  <a:pos x="391" y="666"/>
                </a:cxn>
                <a:cxn ang="0">
                  <a:pos x="372" y="618"/>
                </a:cxn>
                <a:cxn ang="0">
                  <a:pos x="333" y="584"/>
                </a:cxn>
                <a:cxn ang="0">
                  <a:pos x="279" y="560"/>
                </a:cxn>
                <a:cxn ang="0">
                  <a:pos x="217" y="550"/>
                </a:cxn>
                <a:cxn ang="0">
                  <a:pos x="169" y="590"/>
                </a:cxn>
                <a:cxn ang="0">
                  <a:pos x="136" y="608"/>
                </a:cxn>
                <a:cxn ang="0">
                  <a:pos x="97" y="657"/>
                </a:cxn>
                <a:cxn ang="0">
                  <a:pos x="78" y="690"/>
                </a:cxn>
                <a:cxn ang="0">
                  <a:pos x="28" y="737"/>
                </a:cxn>
                <a:cxn ang="0">
                  <a:pos x="6" y="723"/>
                </a:cxn>
                <a:cxn ang="0">
                  <a:pos x="7" y="523"/>
                </a:cxn>
                <a:cxn ang="0">
                  <a:pos x="107" y="418"/>
                </a:cxn>
                <a:cxn ang="0">
                  <a:pos x="227" y="381"/>
                </a:cxn>
                <a:cxn ang="0">
                  <a:pos x="314" y="263"/>
                </a:cxn>
                <a:cxn ang="0">
                  <a:pos x="432" y="207"/>
                </a:cxn>
                <a:cxn ang="0">
                  <a:pos x="510" y="166"/>
                </a:cxn>
                <a:cxn ang="0">
                  <a:pos x="624" y="101"/>
                </a:cxn>
              </a:cxnLst>
              <a:rect l="0" t="0" r="r" b="b"/>
              <a:pathLst>
                <a:path w="1425" h="1461">
                  <a:moveTo>
                    <a:pt x="624" y="98"/>
                  </a:moveTo>
                  <a:lnTo>
                    <a:pt x="637" y="99"/>
                  </a:lnTo>
                  <a:lnTo>
                    <a:pt x="649" y="99"/>
                  </a:lnTo>
                  <a:lnTo>
                    <a:pt x="661" y="100"/>
                  </a:lnTo>
                  <a:lnTo>
                    <a:pt x="675" y="100"/>
                  </a:lnTo>
                  <a:lnTo>
                    <a:pt x="680" y="95"/>
                  </a:lnTo>
                  <a:lnTo>
                    <a:pt x="680" y="85"/>
                  </a:lnTo>
                  <a:lnTo>
                    <a:pt x="689" y="81"/>
                  </a:lnTo>
                  <a:lnTo>
                    <a:pt x="691" y="73"/>
                  </a:lnTo>
                  <a:lnTo>
                    <a:pt x="693" y="66"/>
                  </a:lnTo>
                  <a:lnTo>
                    <a:pt x="699" y="62"/>
                  </a:lnTo>
                  <a:lnTo>
                    <a:pt x="708" y="62"/>
                  </a:lnTo>
                  <a:lnTo>
                    <a:pt x="712" y="57"/>
                  </a:lnTo>
                  <a:lnTo>
                    <a:pt x="715" y="52"/>
                  </a:lnTo>
                  <a:lnTo>
                    <a:pt x="718" y="47"/>
                  </a:lnTo>
                  <a:lnTo>
                    <a:pt x="729" y="45"/>
                  </a:lnTo>
                  <a:lnTo>
                    <a:pt x="745" y="40"/>
                  </a:lnTo>
                  <a:lnTo>
                    <a:pt x="753" y="35"/>
                  </a:lnTo>
                  <a:lnTo>
                    <a:pt x="759" y="32"/>
                  </a:lnTo>
                  <a:lnTo>
                    <a:pt x="764" y="27"/>
                  </a:lnTo>
                  <a:lnTo>
                    <a:pt x="765" y="24"/>
                  </a:lnTo>
                  <a:lnTo>
                    <a:pt x="779" y="24"/>
                  </a:lnTo>
                  <a:lnTo>
                    <a:pt x="786" y="18"/>
                  </a:lnTo>
                  <a:lnTo>
                    <a:pt x="794" y="15"/>
                  </a:lnTo>
                  <a:lnTo>
                    <a:pt x="803" y="12"/>
                  </a:lnTo>
                  <a:lnTo>
                    <a:pt x="812" y="10"/>
                  </a:lnTo>
                  <a:lnTo>
                    <a:pt x="833" y="10"/>
                  </a:lnTo>
                  <a:lnTo>
                    <a:pt x="855" y="12"/>
                  </a:lnTo>
                  <a:lnTo>
                    <a:pt x="878" y="14"/>
                  </a:lnTo>
                  <a:lnTo>
                    <a:pt x="898" y="13"/>
                  </a:lnTo>
                  <a:lnTo>
                    <a:pt x="908" y="12"/>
                  </a:lnTo>
                  <a:lnTo>
                    <a:pt x="917" y="9"/>
                  </a:lnTo>
                  <a:lnTo>
                    <a:pt x="925" y="5"/>
                  </a:lnTo>
                  <a:lnTo>
                    <a:pt x="931" y="0"/>
                  </a:lnTo>
                  <a:lnTo>
                    <a:pt x="988" y="0"/>
                  </a:lnTo>
                  <a:lnTo>
                    <a:pt x="993" y="4"/>
                  </a:lnTo>
                  <a:lnTo>
                    <a:pt x="997" y="8"/>
                  </a:lnTo>
                  <a:lnTo>
                    <a:pt x="1003" y="13"/>
                  </a:lnTo>
                  <a:lnTo>
                    <a:pt x="1007" y="14"/>
                  </a:lnTo>
                  <a:lnTo>
                    <a:pt x="1008" y="27"/>
                  </a:lnTo>
                  <a:lnTo>
                    <a:pt x="1009" y="42"/>
                  </a:lnTo>
                  <a:lnTo>
                    <a:pt x="1013" y="54"/>
                  </a:lnTo>
                  <a:lnTo>
                    <a:pt x="1016" y="62"/>
                  </a:lnTo>
                  <a:lnTo>
                    <a:pt x="1016" y="76"/>
                  </a:lnTo>
                  <a:lnTo>
                    <a:pt x="1022" y="79"/>
                  </a:lnTo>
                  <a:lnTo>
                    <a:pt x="1027" y="86"/>
                  </a:lnTo>
                  <a:lnTo>
                    <a:pt x="1033" y="94"/>
                  </a:lnTo>
                  <a:lnTo>
                    <a:pt x="1035" y="100"/>
                  </a:lnTo>
                  <a:lnTo>
                    <a:pt x="1045" y="100"/>
                  </a:lnTo>
                  <a:lnTo>
                    <a:pt x="1046" y="101"/>
                  </a:lnTo>
                  <a:lnTo>
                    <a:pt x="1048" y="103"/>
                  </a:lnTo>
                  <a:lnTo>
                    <a:pt x="1051" y="104"/>
                  </a:lnTo>
                  <a:lnTo>
                    <a:pt x="1054" y="106"/>
                  </a:lnTo>
                  <a:lnTo>
                    <a:pt x="1061" y="109"/>
                  </a:lnTo>
                  <a:lnTo>
                    <a:pt x="1064" y="109"/>
                  </a:lnTo>
                  <a:lnTo>
                    <a:pt x="1076" y="110"/>
                  </a:lnTo>
                  <a:lnTo>
                    <a:pt x="1090" y="111"/>
                  </a:lnTo>
                  <a:lnTo>
                    <a:pt x="1103" y="114"/>
                  </a:lnTo>
                  <a:lnTo>
                    <a:pt x="1118" y="118"/>
                  </a:lnTo>
                  <a:lnTo>
                    <a:pt x="1146" y="125"/>
                  </a:lnTo>
                  <a:lnTo>
                    <a:pt x="1174" y="135"/>
                  </a:lnTo>
                  <a:lnTo>
                    <a:pt x="1201" y="144"/>
                  </a:lnTo>
                  <a:lnTo>
                    <a:pt x="1227" y="153"/>
                  </a:lnTo>
                  <a:lnTo>
                    <a:pt x="1239" y="157"/>
                  </a:lnTo>
                  <a:lnTo>
                    <a:pt x="1252" y="159"/>
                  </a:lnTo>
                  <a:lnTo>
                    <a:pt x="1263" y="161"/>
                  </a:lnTo>
                  <a:lnTo>
                    <a:pt x="1273" y="161"/>
                  </a:lnTo>
                  <a:lnTo>
                    <a:pt x="1275" y="168"/>
                  </a:lnTo>
                  <a:lnTo>
                    <a:pt x="1277" y="176"/>
                  </a:lnTo>
                  <a:lnTo>
                    <a:pt x="1280" y="177"/>
                  </a:lnTo>
                  <a:lnTo>
                    <a:pt x="1281" y="179"/>
                  </a:lnTo>
                  <a:lnTo>
                    <a:pt x="1283" y="181"/>
                  </a:lnTo>
                  <a:lnTo>
                    <a:pt x="1284" y="186"/>
                  </a:lnTo>
                  <a:lnTo>
                    <a:pt x="1286" y="194"/>
                  </a:lnTo>
                  <a:lnTo>
                    <a:pt x="1287" y="199"/>
                  </a:lnTo>
                  <a:lnTo>
                    <a:pt x="1296" y="209"/>
                  </a:lnTo>
                  <a:lnTo>
                    <a:pt x="1296" y="223"/>
                  </a:lnTo>
                  <a:lnTo>
                    <a:pt x="1309" y="235"/>
                  </a:lnTo>
                  <a:lnTo>
                    <a:pt x="1321" y="248"/>
                  </a:lnTo>
                  <a:lnTo>
                    <a:pt x="1332" y="260"/>
                  </a:lnTo>
                  <a:lnTo>
                    <a:pt x="1339" y="271"/>
                  </a:lnTo>
                  <a:lnTo>
                    <a:pt x="1351" y="275"/>
                  </a:lnTo>
                  <a:lnTo>
                    <a:pt x="1363" y="279"/>
                  </a:lnTo>
                  <a:lnTo>
                    <a:pt x="1368" y="290"/>
                  </a:lnTo>
                  <a:lnTo>
                    <a:pt x="1371" y="291"/>
                  </a:lnTo>
                  <a:lnTo>
                    <a:pt x="1374" y="293"/>
                  </a:lnTo>
                  <a:lnTo>
                    <a:pt x="1377" y="295"/>
                  </a:lnTo>
                  <a:lnTo>
                    <a:pt x="1377" y="298"/>
                  </a:lnTo>
                  <a:lnTo>
                    <a:pt x="1378" y="301"/>
                  </a:lnTo>
                  <a:lnTo>
                    <a:pt x="1378" y="305"/>
                  </a:lnTo>
                  <a:lnTo>
                    <a:pt x="1376" y="311"/>
                  </a:lnTo>
                  <a:lnTo>
                    <a:pt x="1373" y="319"/>
                  </a:lnTo>
                  <a:lnTo>
                    <a:pt x="1368" y="334"/>
                  </a:lnTo>
                  <a:lnTo>
                    <a:pt x="1366" y="345"/>
                  </a:lnTo>
                  <a:lnTo>
                    <a:pt x="1374" y="350"/>
                  </a:lnTo>
                  <a:lnTo>
                    <a:pt x="1380" y="360"/>
                  </a:lnTo>
                  <a:lnTo>
                    <a:pt x="1380" y="363"/>
                  </a:lnTo>
                  <a:lnTo>
                    <a:pt x="1381" y="367"/>
                  </a:lnTo>
                  <a:lnTo>
                    <a:pt x="1383" y="369"/>
                  </a:lnTo>
                  <a:lnTo>
                    <a:pt x="1387" y="372"/>
                  </a:lnTo>
                  <a:lnTo>
                    <a:pt x="1393" y="377"/>
                  </a:lnTo>
                  <a:lnTo>
                    <a:pt x="1402" y="381"/>
                  </a:lnTo>
                  <a:lnTo>
                    <a:pt x="1410" y="387"/>
                  </a:lnTo>
                  <a:lnTo>
                    <a:pt x="1418" y="391"/>
                  </a:lnTo>
                  <a:lnTo>
                    <a:pt x="1420" y="393"/>
                  </a:lnTo>
                  <a:lnTo>
                    <a:pt x="1422" y="397"/>
                  </a:lnTo>
                  <a:lnTo>
                    <a:pt x="1425" y="400"/>
                  </a:lnTo>
                  <a:lnTo>
                    <a:pt x="1425" y="403"/>
                  </a:lnTo>
                  <a:lnTo>
                    <a:pt x="1424" y="403"/>
                  </a:lnTo>
                  <a:lnTo>
                    <a:pt x="1422" y="404"/>
                  </a:lnTo>
                  <a:lnTo>
                    <a:pt x="1421" y="407"/>
                  </a:lnTo>
                  <a:lnTo>
                    <a:pt x="1420" y="409"/>
                  </a:lnTo>
                  <a:lnTo>
                    <a:pt x="1420" y="413"/>
                  </a:lnTo>
                  <a:lnTo>
                    <a:pt x="1420" y="418"/>
                  </a:lnTo>
                  <a:lnTo>
                    <a:pt x="1415" y="420"/>
                  </a:lnTo>
                  <a:lnTo>
                    <a:pt x="1410" y="422"/>
                  </a:lnTo>
                  <a:lnTo>
                    <a:pt x="1409" y="426"/>
                  </a:lnTo>
                  <a:lnTo>
                    <a:pt x="1408" y="429"/>
                  </a:lnTo>
                  <a:lnTo>
                    <a:pt x="1405" y="431"/>
                  </a:lnTo>
                  <a:lnTo>
                    <a:pt x="1401" y="431"/>
                  </a:lnTo>
                  <a:lnTo>
                    <a:pt x="1396" y="441"/>
                  </a:lnTo>
                  <a:lnTo>
                    <a:pt x="1384" y="448"/>
                  </a:lnTo>
                  <a:lnTo>
                    <a:pt x="1372" y="456"/>
                  </a:lnTo>
                  <a:lnTo>
                    <a:pt x="1364" y="463"/>
                  </a:lnTo>
                  <a:lnTo>
                    <a:pt x="1353" y="469"/>
                  </a:lnTo>
                  <a:lnTo>
                    <a:pt x="1349" y="475"/>
                  </a:lnTo>
                  <a:lnTo>
                    <a:pt x="1344" y="479"/>
                  </a:lnTo>
                  <a:lnTo>
                    <a:pt x="1339" y="484"/>
                  </a:lnTo>
                  <a:lnTo>
                    <a:pt x="1336" y="500"/>
                  </a:lnTo>
                  <a:lnTo>
                    <a:pt x="1334" y="517"/>
                  </a:lnTo>
                  <a:lnTo>
                    <a:pt x="1328" y="522"/>
                  </a:lnTo>
                  <a:lnTo>
                    <a:pt x="1316" y="532"/>
                  </a:lnTo>
                  <a:lnTo>
                    <a:pt x="1311" y="536"/>
                  </a:lnTo>
                  <a:lnTo>
                    <a:pt x="1304" y="541"/>
                  </a:lnTo>
                  <a:lnTo>
                    <a:pt x="1297" y="544"/>
                  </a:lnTo>
                  <a:lnTo>
                    <a:pt x="1292" y="545"/>
                  </a:lnTo>
                  <a:lnTo>
                    <a:pt x="1291" y="550"/>
                  </a:lnTo>
                  <a:lnTo>
                    <a:pt x="1288" y="553"/>
                  </a:lnTo>
                  <a:lnTo>
                    <a:pt x="1285" y="556"/>
                  </a:lnTo>
                  <a:lnTo>
                    <a:pt x="1281" y="558"/>
                  </a:lnTo>
                  <a:lnTo>
                    <a:pt x="1276" y="561"/>
                  </a:lnTo>
                  <a:lnTo>
                    <a:pt x="1272" y="563"/>
                  </a:lnTo>
                  <a:lnTo>
                    <a:pt x="1267" y="564"/>
                  </a:lnTo>
                  <a:lnTo>
                    <a:pt x="1263" y="564"/>
                  </a:lnTo>
                  <a:lnTo>
                    <a:pt x="1258" y="571"/>
                  </a:lnTo>
                  <a:lnTo>
                    <a:pt x="1248" y="581"/>
                  </a:lnTo>
                  <a:lnTo>
                    <a:pt x="1235" y="593"/>
                  </a:lnTo>
                  <a:lnTo>
                    <a:pt x="1219" y="606"/>
                  </a:lnTo>
                  <a:lnTo>
                    <a:pt x="1204" y="619"/>
                  </a:lnTo>
                  <a:lnTo>
                    <a:pt x="1188" y="630"/>
                  </a:lnTo>
                  <a:lnTo>
                    <a:pt x="1182" y="634"/>
                  </a:lnTo>
                  <a:lnTo>
                    <a:pt x="1177" y="638"/>
                  </a:lnTo>
                  <a:lnTo>
                    <a:pt x="1171" y="640"/>
                  </a:lnTo>
                  <a:lnTo>
                    <a:pt x="1168" y="640"/>
                  </a:lnTo>
                  <a:lnTo>
                    <a:pt x="1163" y="650"/>
                  </a:lnTo>
                  <a:lnTo>
                    <a:pt x="1157" y="652"/>
                  </a:lnTo>
                  <a:lnTo>
                    <a:pt x="1149" y="654"/>
                  </a:lnTo>
                  <a:lnTo>
                    <a:pt x="1143" y="661"/>
                  </a:lnTo>
                  <a:lnTo>
                    <a:pt x="1130" y="672"/>
                  </a:lnTo>
                  <a:lnTo>
                    <a:pt x="1123" y="679"/>
                  </a:lnTo>
                  <a:lnTo>
                    <a:pt x="1118" y="686"/>
                  </a:lnTo>
                  <a:lnTo>
                    <a:pt x="1113" y="691"/>
                  </a:lnTo>
                  <a:lnTo>
                    <a:pt x="1111" y="697"/>
                  </a:lnTo>
                  <a:lnTo>
                    <a:pt x="1105" y="698"/>
                  </a:lnTo>
                  <a:lnTo>
                    <a:pt x="1101" y="701"/>
                  </a:lnTo>
                  <a:lnTo>
                    <a:pt x="1099" y="705"/>
                  </a:lnTo>
                  <a:lnTo>
                    <a:pt x="1095" y="710"/>
                  </a:lnTo>
                  <a:lnTo>
                    <a:pt x="1094" y="716"/>
                  </a:lnTo>
                  <a:lnTo>
                    <a:pt x="1094" y="723"/>
                  </a:lnTo>
                  <a:lnTo>
                    <a:pt x="1094" y="730"/>
                  </a:lnTo>
                  <a:lnTo>
                    <a:pt x="1094" y="738"/>
                  </a:lnTo>
                  <a:lnTo>
                    <a:pt x="1099" y="765"/>
                  </a:lnTo>
                  <a:lnTo>
                    <a:pt x="1102" y="778"/>
                  </a:lnTo>
                  <a:lnTo>
                    <a:pt x="1109" y="781"/>
                  </a:lnTo>
                  <a:lnTo>
                    <a:pt x="1117" y="783"/>
                  </a:lnTo>
                  <a:lnTo>
                    <a:pt x="1118" y="786"/>
                  </a:lnTo>
                  <a:lnTo>
                    <a:pt x="1121" y="790"/>
                  </a:lnTo>
                  <a:lnTo>
                    <a:pt x="1127" y="794"/>
                  </a:lnTo>
                  <a:lnTo>
                    <a:pt x="1130" y="797"/>
                  </a:lnTo>
                  <a:lnTo>
                    <a:pt x="1144" y="797"/>
                  </a:lnTo>
                  <a:lnTo>
                    <a:pt x="1146" y="800"/>
                  </a:lnTo>
                  <a:lnTo>
                    <a:pt x="1148" y="802"/>
                  </a:lnTo>
                  <a:lnTo>
                    <a:pt x="1151" y="802"/>
                  </a:lnTo>
                  <a:lnTo>
                    <a:pt x="1155" y="802"/>
                  </a:lnTo>
                  <a:lnTo>
                    <a:pt x="1153" y="817"/>
                  </a:lnTo>
                  <a:lnTo>
                    <a:pt x="1152" y="834"/>
                  </a:lnTo>
                  <a:lnTo>
                    <a:pt x="1150" y="851"/>
                  </a:lnTo>
                  <a:lnTo>
                    <a:pt x="1149" y="863"/>
                  </a:lnTo>
                  <a:lnTo>
                    <a:pt x="1140" y="863"/>
                  </a:lnTo>
                  <a:lnTo>
                    <a:pt x="1138" y="871"/>
                  </a:lnTo>
                  <a:lnTo>
                    <a:pt x="1136" y="878"/>
                  </a:lnTo>
                  <a:lnTo>
                    <a:pt x="1126" y="878"/>
                  </a:lnTo>
                  <a:lnTo>
                    <a:pt x="1121" y="882"/>
                  </a:lnTo>
                  <a:lnTo>
                    <a:pt x="1113" y="887"/>
                  </a:lnTo>
                  <a:lnTo>
                    <a:pt x="1105" y="890"/>
                  </a:lnTo>
                  <a:lnTo>
                    <a:pt x="1098" y="892"/>
                  </a:lnTo>
                  <a:lnTo>
                    <a:pt x="1096" y="894"/>
                  </a:lnTo>
                  <a:lnTo>
                    <a:pt x="1094" y="897"/>
                  </a:lnTo>
                  <a:lnTo>
                    <a:pt x="1091" y="897"/>
                  </a:lnTo>
                  <a:lnTo>
                    <a:pt x="1088" y="897"/>
                  </a:lnTo>
                  <a:lnTo>
                    <a:pt x="1083" y="901"/>
                  </a:lnTo>
                  <a:lnTo>
                    <a:pt x="1079" y="907"/>
                  </a:lnTo>
                  <a:lnTo>
                    <a:pt x="1079" y="918"/>
                  </a:lnTo>
                  <a:lnTo>
                    <a:pt x="1079" y="932"/>
                  </a:lnTo>
                  <a:lnTo>
                    <a:pt x="1079" y="946"/>
                  </a:lnTo>
                  <a:lnTo>
                    <a:pt x="1079" y="958"/>
                  </a:lnTo>
                  <a:lnTo>
                    <a:pt x="1081" y="959"/>
                  </a:lnTo>
                  <a:lnTo>
                    <a:pt x="1082" y="961"/>
                  </a:lnTo>
                  <a:lnTo>
                    <a:pt x="1083" y="965"/>
                  </a:lnTo>
                  <a:lnTo>
                    <a:pt x="1083" y="968"/>
                  </a:lnTo>
                  <a:lnTo>
                    <a:pt x="1088" y="973"/>
                  </a:lnTo>
                  <a:lnTo>
                    <a:pt x="1098" y="973"/>
                  </a:lnTo>
                  <a:lnTo>
                    <a:pt x="1098" y="975"/>
                  </a:lnTo>
                  <a:lnTo>
                    <a:pt x="1099" y="976"/>
                  </a:lnTo>
                  <a:lnTo>
                    <a:pt x="1102" y="978"/>
                  </a:lnTo>
                  <a:lnTo>
                    <a:pt x="1104" y="980"/>
                  </a:lnTo>
                  <a:lnTo>
                    <a:pt x="1112" y="984"/>
                  </a:lnTo>
                  <a:lnTo>
                    <a:pt x="1121" y="988"/>
                  </a:lnTo>
                  <a:lnTo>
                    <a:pt x="1130" y="993"/>
                  </a:lnTo>
                  <a:lnTo>
                    <a:pt x="1137" y="998"/>
                  </a:lnTo>
                  <a:lnTo>
                    <a:pt x="1140" y="1000"/>
                  </a:lnTo>
                  <a:lnTo>
                    <a:pt x="1142" y="1004"/>
                  </a:lnTo>
                  <a:lnTo>
                    <a:pt x="1144" y="1007"/>
                  </a:lnTo>
                  <a:lnTo>
                    <a:pt x="1144" y="1010"/>
                  </a:lnTo>
                  <a:lnTo>
                    <a:pt x="1150" y="1010"/>
                  </a:lnTo>
                  <a:lnTo>
                    <a:pt x="1153" y="1012"/>
                  </a:lnTo>
                  <a:lnTo>
                    <a:pt x="1155" y="1012"/>
                  </a:lnTo>
                  <a:lnTo>
                    <a:pt x="1156" y="1013"/>
                  </a:lnTo>
                  <a:lnTo>
                    <a:pt x="1156" y="1014"/>
                  </a:lnTo>
                  <a:lnTo>
                    <a:pt x="1156" y="1015"/>
                  </a:lnTo>
                  <a:lnTo>
                    <a:pt x="1157" y="1015"/>
                  </a:lnTo>
                  <a:lnTo>
                    <a:pt x="1159" y="1015"/>
                  </a:lnTo>
                  <a:lnTo>
                    <a:pt x="1158" y="1027"/>
                  </a:lnTo>
                  <a:lnTo>
                    <a:pt x="1157" y="1038"/>
                  </a:lnTo>
                  <a:lnTo>
                    <a:pt x="1155" y="1050"/>
                  </a:lnTo>
                  <a:lnTo>
                    <a:pt x="1155" y="1058"/>
                  </a:lnTo>
                  <a:lnTo>
                    <a:pt x="1141" y="1058"/>
                  </a:lnTo>
                  <a:lnTo>
                    <a:pt x="1127" y="1061"/>
                  </a:lnTo>
                  <a:lnTo>
                    <a:pt x="1111" y="1064"/>
                  </a:lnTo>
                  <a:lnTo>
                    <a:pt x="1094" y="1067"/>
                  </a:lnTo>
                  <a:lnTo>
                    <a:pt x="1078" y="1071"/>
                  </a:lnTo>
                  <a:lnTo>
                    <a:pt x="1062" y="1074"/>
                  </a:lnTo>
                  <a:lnTo>
                    <a:pt x="1045" y="1076"/>
                  </a:lnTo>
                  <a:lnTo>
                    <a:pt x="1031" y="1077"/>
                  </a:lnTo>
                  <a:lnTo>
                    <a:pt x="1028" y="1082"/>
                  </a:lnTo>
                  <a:lnTo>
                    <a:pt x="1026" y="1086"/>
                  </a:lnTo>
                  <a:lnTo>
                    <a:pt x="1016" y="1086"/>
                  </a:lnTo>
                  <a:lnTo>
                    <a:pt x="1012" y="1091"/>
                  </a:lnTo>
                  <a:lnTo>
                    <a:pt x="1007" y="1101"/>
                  </a:lnTo>
                  <a:lnTo>
                    <a:pt x="1003" y="1105"/>
                  </a:lnTo>
                  <a:lnTo>
                    <a:pt x="1003" y="1120"/>
                  </a:lnTo>
                  <a:lnTo>
                    <a:pt x="1000" y="1121"/>
                  </a:lnTo>
                  <a:lnTo>
                    <a:pt x="999" y="1125"/>
                  </a:lnTo>
                  <a:lnTo>
                    <a:pt x="998" y="1132"/>
                  </a:lnTo>
                  <a:lnTo>
                    <a:pt x="998" y="1139"/>
                  </a:lnTo>
                  <a:lnTo>
                    <a:pt x="997" y="1153"/>
                  </a:lnTo>
                  <a:lnTo>
                    <a:pt x="997" y="1162"/>
                  </a:lnTo>
                  <a:lnTo>
                    <a:pt x="999" y="1163"/>
                  </a:lnTo>
                  <a:lnTo>
                    <a:pt x="1000" y="1165"/>
                  </a:lnTo>
                  <a:lnTo>
                    <a:pt x="1003" y="1167"/>
                  </a:lnTo>
                  <a:lnTo>
                    <a:pt x="1004" y="1170"/>
                  </a:lnTo>
                  <a:lnTo>
                    <a:pt x="1006" y="1178"/>
                  </a:lnTo>
                  <a:lnTo>
                    <a:pt x="1008" y="1187"/>
                  </a:lnTo>
                  <a:lnTo>
                    <a:pt x="1011" y="1207"/>
                  </a:lnTo>
                  <a:lnTo>
                    <a:pt x="1012" y="1219"/>
                  </a:lnTo>
                  <a:lnTo>
                    <a:pt x="1000" y="1221"/>
                  </a:lnTo>
                  <a:lnTo>
                    <a:pt x="985" y="1227"/>
                  </a:lnTo>
                  <a:lnTo>
                    <a:pt x="977" y="1230"/>
                  </a:lnTo>
                  <a:lnTo>
                    <a:pt x="970" y="1234"/>
                  </a:lnTo>
                  <a:lnTo>
                    <a:pt x="966" y="1236"/>
                  </a:lnTo>
                  <a:lnTo>
                    <a:pt x="965" y="1238"/>
                  </a:lnTo>
                  <a:lnTo>
                    <a:pt x="952" y="1239"/>
                  </a:lnTo>
                  <a:lnTo>
                    <a:pt x="938" y="1240"/>
                  </a:lnTo>
                  <a:lnTo>
                    <a:pt x="922" y="1243"/>
                  </a:lnTo>
                  <a:lnTo>
                    <a:pt x="906" y="1246"/>
                  </a:lnTo>
                  <a:lnTo>
                    <a:pt x="890" y="1249"/>
                  </a:lnTo>
                  <a:lnTo>
                    <a:pt x="877" y="1255"/>
                  </a:lnTo>
                  <a:lnTo>
                    <a:pt x="870" y="1257"/>
                  </a:lnTo>
                  <a:lnTo>
                    <a:pt x="864" y="1260"/>
                  </a:lnTo>
                  <a:lnTo>
                    <a:pt x="859" y="1264"/>
                  </a:lnTo>
                  <a:lnTo>
                    <a:pt x="855" y="1267"/>
                  </a:lnTo>
                  <a:lnTo>
                    <a:pt x="841" y="1267"/>
                  </a:lnTo>
                  <a:lnTo>
                    <a:pt x="834" y="1273"/>
                  </a:lnTo>
                  <a:lnTo>
                    <a:pt x="822" y="1281"/>
                  </a:lnTo>
                  <a:lnTo>
                    <a:pt x="811" y="1287"/>
                  </a:lnTo>
                  <a:lnTo>
                    <a:pt x="803" y="1291"/>
                  </a:lnTo>
                  <a:lnTo>
                    <a:pt x="802" y="1294"/>
                  </a:lnTo>
                  <a:lnTo>
                    <a:pt x="797" y="1297"/>
                  </a:lnTo>
                  <a:lnTo>
                    <a:pt x="793" y="1300"/>
                  </a:lnTo>
                  <a:lnTo>
                    <a:pt x="788" y="1300"/>
                  </a:lnTo>
                  <a:lnTo>
                    <a:pt x="786" y="1305"/>
                  </a:lnTo>
                  <a:lnTo>
                    <a:pt x="784" y="1310"/>
                  </a:lnTo>
                  <a:lnTo>
                    <a:pt x="775" y="1310"/>
                  </a:lnTo>
                  <a:lnTo>
                    <a:pt x="769" y="1314"/>
                  </a:lnTo>
                  <a:lnTo>
                    <a:pt x="769" y="1317"/>
                  </a:lnTo>
                  <a:lnTo>
                    <a:pt x="767" y="1321"/>
                  </a:lnTo>
                  <a:lnTo>
                    <a:pt x="764" y="1324"/>
                  </a:lnTo>
                  <a:lnTo>
                    <a:pt x="758" y="1326"/>
                  </a:lnTo>
                  <a:lnTo>
                    <a:pt x="747" y="1333"/>
                  </a:lnTo>
                  <a:lnTo>
                    <a:pt x="733" y="1339"/>
                  </a:lnTo>
                  <a:lnTo>
                    <a:pt x="718" y="1345"/>
                  </a:lnTo>
                  <a:lnTo>
                    <a:pt x="702" y="1352"/>
                  </a:lnTo>
                  <a:lnTo>
                    <a:pt x="689" y="1360"/>
                  </a:lnTo>
                  <a:lnTo>
                    <a:pt x="679" y="1369"/>
                  </a:lnTo>
                  <a:lnTo>
                    <a:pt x="652" y="1398"/>
                  </a:lnTo>
                  <a:lnTo>
                    <a:pt x="628" y="1426"/>
                  </a:lnTo>
                  <a:lnTo>
                    <a:pt x="616" y="1437"/>
                  </a:lnTo>
                  <a:lnTo>
                    <a:pt x="605" y="1448"/>
                  </a:lnTo>
                  <a:lnTo>
                    <a:pt x="594" y="1456"/>
                  </a:lnTo>
                  <a:lnTo>
                    <a:pt x="584" y="1461"/>
                  </a:lnTo>
                  <a:lnTo>
                    <a:pt x="584" y="1409"/>
                  </a:lnTo>
                  <a:lnTo>
                    <a:pt x="583" y="1408"/>
                  </a:lnTo>
                  <a:lnTo>
                    <a:pt x="582" y="1404"/>
                  </a:lnTo>
                  <a:lnTo>
                    <a:pt x="581" y="1399"/>
                  </a:lnTo>
                  <a:lnTo>
                    <a:pt x="581" y="1392"/>
                  </a:lnTo>
                  <a:lnTo>
                    <a:pt x="580" y="1374"/>
                  </a:lnTo>
                  <a:lnTo>
                    <a:pt x="581" y="1354"/>
                  </a:lnTo>
                  <a:lnTo>
                    <a:pt x="583" y="1316"/>
                  </a:lnTo>
                  <a:lnTo>
                    <a:pt x="584" y="1296"/>
                  </a:lnTo>
                  <a:lnTo>
                    <a:pt x="583" y="1278"/>
                  </a:lnTo>
                  <a:lnTo>
                    <a:pt x="579" y="1259"/>
                  </a:lnTo>
                  <a:lnTo>
                    <a:pt x="574" y="1242"/>
                  </a:lnTo>
                  <a:lnTo>
                    <a:pt x="567" y="1224"/>
                  </a:lnTo>
                  <a:lnTo>
                    <a:pt x="562" y="1207"/>
                  </a:lnTo>
                  <a:lnTo>
                    <a:pt x="556" y="1192"/>
                  </a:lnTo>
                  <a:lnTo>
                    <a:pt x="553" y="1179"/>
                  </a:lnTo>
                  <a:lnTo>
                    <a:pt x="552" y="1169"/>
                  </a:lnTo>
                  <a:lnTo>
                    <a:pt x="546" y="1160"/>
                  </a:lnTo>
                  <a:lnTo>
                    <a:pt x="538" y="1152"/>
                  </a:lnTo>
                  <a:lnTo>
                    <a:pt x="527" y="1141"/>
                  </a:lnTo>
                  <a:lnTo>
                    <a:pt x="527" y="1131"/>
                  </a:lnTo>
                  <a:lnTo>
                    <a:pt x="518" y="1127"/>
                  </a:lnTo>
                  <a:lnTo>
                    <a:pt x="514" y="1122"/>
                  </a:lnTo>
                  <a:lnTo>
                    <a:pt x="514" y="1108"/>
                  </a:lnTo>
                  <a:lnTo>
                    <a:pt x="512" y="1108"/>
                  </a:lnTo>
                  <a:lnTo>
                    <a:pt x="510" y="1106"/>
                  </a:lnTo>
                  <a:lnTo>
                    <a:pt x="509" y="1105"/>
                  </a:lnTo>
                  <a:lnTo>
                    <a:pt x="508" y="1103"/>
                  </a:lnTo>
                  <a:lnTo>
                    <a:pt x="508" y="1099"/>
                  </a:lnTo>
                  <a:lnTo>
                    <a:pt x="508" y="1092"/>
                  </a:lnTo>
                  <a:lnTo>
                    <a:pt x="509" y="1076"/>
                  </a:lnTo>
                  <a:lnTo>
                    <a:pt x="514" y="1057"/>
                  </a:lnTo>
                  <a:lnTo>
                    <a:pt x="523" y="1021"/>
                  </a:lnTo>
                  <a:lnTo>
                    <a:pt x="527" y="999"/>
                  </a:lnTo>
                  <a:lnTo>
                    <a:pt x="537" y="995"/>
                  </a:lnTo>
                  <a:lnTo>
                    <a:pt x="537" y="985"/>
                  </a:lnTo>
                  <a:lnTo>
                    <a:pt x="546" y="980"/>
                  </a:lnTo>
                  <a:lnTo>
                    <a:pt x="552" y="971"/>
                  </a:lnTo>
                  <a:lnTo>
                    <a:pt x="556" y="961"/>
                  </a:lnTo>
                  <a:lnTo>
                    <a:pt x="565" y="957"/>
                  </a:lnTo>
                  <a:lnTo>
                    <a:pt x="570" y="952"/>
                  </a:lnTo>
                  <a:lnTo>
                    <a:pt x="568" y="933"/>
                  </a:lnTo>
                  <a:lnTo>
                    <a:pt x="565" y="912"/>
                  </a:lnTo>
                  <a:lnTo>
                    <a:pt x="562" y="893"/>
                  </a:lnTo>
                  <a:lnTo>
                    <a:pt x="561" y="877"/>
                  </a:lnTo>
                  <a:lnTo>
                    <a:pt x="558" y="877"/>
                  </a:lnTo>
                  <a:lnTo>
                    <a:pt x="556" y="875"/>
                  </a:lnTo>
                  <a:lnTo>
                    <a:pt x="554" y="873"/>
                  </a:lnTo>
                  <a:lnTo>
                    <a:pt x="552" y="871"/>
                  </a:lnTo>
                  <a:lnTo>
                    <a:pt x="547" y="864"/>
                  </a:lnTo>
                  <a:lnTo>
                    <a:pt x="544" y="858"/>
                  </a:lnTo>
                  <a:lnTo>
                    <a:pt x="539" y="851"/>
                  </a:lnTo>
                  <a:lnTo>
                    <a:pt x="535" y="845"/>
                  </a:lnTo>
                  <a:lnTo>
                    <a:pt x="532" y="843"/>
                  </a:lnTo>
                  <a:lnTo>
                    <a:pt x="529" y="841"/>
                  </a:lnTo>
                  <a:lnTo>
                    <a:pt x="526" y="840"/>
                  </a:lnTo>
                  <a:lnTo>
                    <a:pt x="523" y="839"/>
                  </a:lnTo>
                  <a:lnTo>
                    <a:pt x="518" y="830"/>
                  </a:lnTo>
                  <a:lnTo>
                    <a:pt x="514" y="825"/>
                  </a:lnTo>
                  <a:lnTo>
                    <a:pt x="510" y="825"/>
                  </a:lnTo>
                  <a:lnTo>
                    <a:pt x="507" y="824"/>
                  </a:lnTo>
                  <a:lnTo>
                    <a:pt x="505" y="823"/>
                  </a:lnTo>
                  <a:lnTo>
                    <a:pt x="504" y="820"/>
                  </a:lnTo>
                  <a:lnTo>
                    <a:pt x="490" y="820"/>
                  </a:lnTo>
                  <a:lnTo>
                    <a:pt x="488" y="815"/>
                  </a:lnTo>
                  <a:lnTo>
                    <a:pt x="485" y="811"/>
                  </a:lnTo>
                  <a:lnTo>
                    <a:pt x="471" y="806"/>
                  </a:lnTo>
                  <a:lnTo>
                    <a:pt x="457" y="802"/>
                  </a:lnTo>
                  <a:lnTo>
                    <a:pt x="455" y="794"/>
                  </a:lnTo>
                  <a:lnTo>
                    <a:pt x="452" y="787"/>
                  </a:lnTo>
                  <a:lnTo>
                    <a:pt x="446" y="784"/>
                  </a:lnTo>
                  <a:lnTo>
                    <a:pt x="441" y="782"/>
                  </a:lnTo>
                  <a:lnTo>
                    <a:pt x="440" y="779"/>
                  </a:lnTo>
                  <a:lnTo>
                    <a:pt x="439" y="776"/>
                  </a:lnTo>
                  <a:lnTo>
                    <a:pt x="438" y="773"/>
                  </a:lnTo>
                  <a:lnTo>
                    <a:pt x="438" y="768"/>
                  </a:lnTo>
                  <a:lnTo>
                    <a:pt x="431" y="763"/>
                  </a:lnTo>
                  <a:lnTo>
                    <a:pt x="424" y="754"/>
                  </a:lnTo>
                  <a:lnTo>
                    <a:pt x="419" y="746"/>
                  </a:lnTo>
                  <a:lnTo>
                    <a:pt x="414" y="740"/>
                  </a:lnTo>
                  <a:lnTo>
                    <a:pt x="413" y="730"/>
                  </a:lnTo>
                  <a:lnTo>
                    <a:pt x="410" y="718"/>
                  </a:lnTo>
                  <a:lnTo>
                    <a:pt x="405" y="706"/>
                  </a:lnTo>
                  <a:lnTo>
                    <a:pt x="400" y="692"/>
                  </a:lnTo>
                  <a:lnTo>
                    <a:pt x="395" y="679"/>
                  </a:lnTo>
                  <a:lnTo>
                    <a:pt x="391" y="666"/>
                  </a:lnTo>
                  <a:lnTo>
                    <a:pt x="388" y="652"/>
                  </a:lnTo>
                  <a:lnTo>
                    <a:pt x="387" y="641"/>
                  </a:lnTo>
                  <a:lnTo>
                    <a:pt x="384" y="640"/>
                  </a:lnTo>
                  <a:lnTo>
                    <a:pt x="383" y="639"/>
                  </a:lnTo>
                  <a:lnTo>
                    <a:pt x="381" y="637"/>
                  </a:lnTo>
                  <a:lnTo>
                    <a:pt x="380" y="633"/>
                  </a:lnTo>
                  <a:lnTo>
                    <a:pt x="378" y="628"/>
                  </a:lnTo>
                  <a:lnTo>
                    <a:pt x="376" y="622"/>
                  </a:lnTo>
                  <a:lnTo>
                    <a:pt x="372" y="618"/>
                  </a:lnTo>
                  <a:lnTo>
                    <a:pt x="363" y="613"/>
                  </a:lnTo>
                  <a:lnTo>
                    <a:pt x="362" y="609"/>
                  </a:lnTo>
                  <a:lnTo>
                    <a:pt x="360" y="604"/>
                  </a:lnTo>
                  <a:lnTo>
                    <a:pt x="356" y="600"/>
                  </a:lnTo>
                  <a:lnTo>
                    <a:pt x="353" y="599"/>
                  </a:lnTo>
                  <a:lnTo>
                    <a:pt x="353" y="590"/>
                  </a:lnTo>
                  <a:lnTo>
                    <a:pt x="345" y="589"/>
                  </a:lnTo>
                  <a:lnTo>
                    <a:pt x="337" y="585"/>
                  </a:lnTo>
                  <a:lnTo>
                    <a:pt x="333" y="584"/>
                  </a:lnTo>
                  <a:lnTo>
                    <a:pt x="330" y="581"/>
                  </a:lnTo>
                  <a:lnTo>
                    <a:pt x="327" y="579"/>
                  </a:lnTo>
                  <a:lnTo>
                    <a:pt x="325" y="575"/>
                  </a:lnTo>
                  <a:lnTo>
                    <a:pt x="318" y="574"/>
                  </a:lnTo>
                  <a:lnTo>
                    <a:pt x="312" y="573"/>
                  </a:lnTo>
                  <a:lnTo>
                    <a:pt x="303" y="570"/>
                  </a:lnTo>
                  <a:lnTo>
                    <a:pt x="295" y="566"/>
                  </a:lnTo>
                  <a:lnTo>
                    <a:pt x="287" y="563"/>
                  </a:lnTo>
                  <a:lnTo>
                    <a:pt x="279" y="560"/>
                  </a:lnTo>
                  <a:lnTo>
                    <a:pt x="273" y="555"/>
                  </a:lnTo>
                  <a:lnTo>
                    <a:pt x="268" y="552"/>
                  </a:lnTo>
                  <a:lnTo>
                    <a:pt x="258" y="551"/>
                  </a:lnTo>
                  <a:lnTo>
                    <a:pt x="240" y="548"/>
                  </a:lnTo>
                  <a:lnTo>
                    <a:pt x="231" y="547"/>
                  </a:lnTo>
                  <a:lnTo>
                    <a:pt x="224" y="547"/>
                  </a:lnTo>
                  <a:lnTo>
                    <a:pt x="221" y="548"/>
                  </a:lnTo>
                  <a:lnTo>
                    <a:pt x="219" y="548"/>
                  </a:lnTo>
                  <a:lnTo>
                    <a:pt x="217" y="550"/>
                  </a:lnTo>
                  <a:lnTo>
                    <a:pt x="217" y="552"/>
                  </a:lnTo>
                  <a:lnTo>
                    <a:pt x="198" y="552"/>
                  </a:lnTo>
                  <a:lnTo>
                    <a:pt x="190" y="558"/>
                  </a:lnTo>
                  <a:lnTo>
                    <a:pt x="183" y="565"/>
                  </a:lnTo>
                  <a:lnTo>
                    <a:pt x="183" y="575"/>
                  </a:lnTo>
                  <a:lnTo>
                    <a:pt x="179" y="577"/>
                  </a:lnTo>
                  <a:lnTo>
                    <a:pt x="174" y="582"/>
                  </a:lnTo>
                  <a:lnTo>
                    <a:pt x="171" y="588"/>
                  </a:lnTo>
                  <a:lnTo>
                    <a:pt x="169" y="590"/>
                  </a:lnTo>
                  <a:lnTo>
                    <a:pt x="160" y="590"/>
                  </a:lnTo>
                  <a:lnTo>
                    <a:pt x="159" y="593"/>
                  </a:lnTo>
                  <a:lnTo>
                    <a:pt x="154" y="596"/>
                  </a:lnTo>
                  <a:lnTo>
                    <a:pt x="150" y="600"/>
                  </a:lnTo>
                  <a:lnTo>
                    <a:pt x="145" y="603"/>
                  </a:lnTo>
                  <a:lnTo>
                    <a:pt x="142" y="603"/>
                  </a:lnTo>
                  <a:lnTo>
                    <a:pt x="140" y="604"/>
                  </a:lnTo>
                  <a:lnTo>
                    <a:pt x="138" y="605"/>
                  </a:lnTo>
                  <a:lnTo>
                    <a:pt x="136" y="608"/>
                  </a:lnTo>
                  <a:lnTo>
                    <a:pt x="126" y="608"/>
                  </a:lnTo>
                  <a:lnTo>
                    <a:pt x="117" y="608"/>
                  </a:lnTo>
                  <a:lnTo>
                    <a:pt x="113" y="613"/>
                  </a:lnTo>
                  <a:lnTo>
                    <a:pt x="112" y="620"/>
                  </a:lnTo>
                  <a:lnTo>
                    <a:pt x="110" y="628"/>
                  </a:lnTo>
                  <a:lnTo>
                    <a:pt x="106" y="635"/>
                  </a:lnTo>
                  <a:lnTo>
                    <a:pt x="103" y="643"/>
                  </a:lnTo>
                  <a:lnTo>
                    <a:pt x="100" y="650"/>
                  </a:lnTo>
                  <a:lnTo>
                    <a:pt x="97" y="657"/>
                  </a:lnTo>
                  <a:lnTo>
                    <a:pt x="95" y="663"/>
                  </a:lnTo>
                  <a:lnTo>
                    <a:pt x="94" y="669"/>
                  </a:lnTo>
                  <a:lnTo>
                    <a:pt x="91" y="670"/>
                  </a:lnTo>
                  <a:lnTo>
                    <a:pt x="87" y="672"/>
                  </a:lnTo>
                  <a:lnTo>
                    <a:pt x="83" y="676"/>
                  </a:lnTo>
                  <a:lnTo>
                    <a:pt x="80" y="679"/>
                  </a:lnTo>
                  <a:lnTo>
                    <a:pt x="80" y="683"/>
                  </a:lnTo>
                  <a:lnTo>
                    <a:pt x="80" y="688"/>
                  </a:lnTo>
                  <a:lnTo>
                    <a:pt x="78" y="690"/>
                  </a:lnTo>
                  <a:lnTo>
                    <a:pt x="77" y="691"/>
                  </a:lnTo>
                  <a:lnTo>
                    <a:pt x="76" y="692"/>
                  </a:lnTo>
                  <a:lnTo>
                    <a:pt x="75" y="692"/>
                  </a:lnTo>
                  <a:lnTo>
                    <a:pt x="75" y="702"/>
                  </a:lnTo>
                  <a:lnTo>
                    <a:pt x="63" y="711"/>
                  </a:lnTo>
                  <a:lnTo>
                    <a:pt x="47" y="721"/>
                  </a:lnTo>
                  <a:lnTo>
                    <a:pt x="42" y="730"/>
                  </a:lnTo>
                  <a:lnTo>
                    <a:pt x="36" y="733"/>
                  </a:lnTo>
                  <a:lnTo>
                    <a:pt x="28" y="737"/>
                  </a:lnTo>
                  <a:lnTo>
                    <a:pt x="25" y="739"/>
                  </a:lnTo>
                  <a:lnTo>
                    <a:pt x="21" y="743"/>
                  </a:lnTo>
                  <a:lnTo>
                    <a:pt x="19" y="746"/>
                  </a:lnTo>
                  <a:lnTo>
                    <a:pt x="18" y="749"/>
                  </a:lnTo>
                  <a:lnTo>
                    <a:pt x="13" y="749"/>
                  </a:lnTo>
                  <a:lnTo>
                    <a:pt x="6" y="749"/>
                  </a:lnTo>
                  <a:lnTo>
                    <a:pt x="6" y="740"/>
                  </a:lnTo>
                  <a:lnTo>
                    <a:pt x="6" y="731"/>
                  </a:lnTo>
                  <a:lnTo>
                    <a:pt x="6" y="723"/>
                  </a:lnTo>
                  <a:lnTo>
                    <a:pt x="6" y="713"/>
                  </a:lnTo>
                  <a:lnTo>
                    <a:pt x="6" y="679"/>
                  </a:lnTo>
                  <a:lnTo>
                    <a:pt x="4" y="646"/>
                  </a:lnTo>
                  <a:lnTo>
                    <a:pt x="3" y="615"/>
                  </a:lnTo>
                  <a:lnTo>
                    <a:pt x="0" y="588"/>
                  </a:lnTo>
                  <a:lnTo>
                    <a:pt x="0" y="562"/>
                  </a:lnTo>
                  <a:lnTo>
                    <a:pt x="3" y="541"/>
                  </a:lnTo>
                  <a:lnTo>
                    <a:pt x="5" y="531"/>
                  </a:lnTo>
                  <a:lnTo>
                    <a:pt x="7" y="523"/>
                  </a:lnTo>
                  <a:lnTo>
                    <a:pt x="11" y="516"/>
                  </a:lnTo>
                  <a:lnTo>
                    <a:pt x="16" y="510"/>
                  </a:lnTo>
                  <a:lnTo>
                    <a:pt x="33" y="492"/>
                  </a:lnTo>
                  <a:lnTo>
                    <a:pt x="53" y="468"/>
                  </a:lnTo>
                  <a:lnTo>
                    <a:pt x="73" y="446"/>
                  </a:lnTo>
                  <a:lnTo>
                    <a:pt x="90" y="427"/>
                  </a:lnTo>
                  <a:lnTo>
                    <a:pt x="94" y="423"/>
                  </a:lnTo>
                  <a:lnTo>
                    <a:pt x="100" y="421"/>
                  </a:lnTo>
                  <a:lnTo>
                    <a:pt x="107" y="418"/>
                  </a:lnTo>
                  <a:lnTo>
                    <a:pt x="116" y="415"/>
                  </a:lnTo>
                  <a:lnTo>
                    <a:pt x="136" y="409"/>
                  </a:lnTo>
                  <a:lnTo>
                    <a:pt x="159" y="404"/>
                  </a:lnTo>
                  <a:lnTo>
                    <a:pt x="180" y="399"/>
                  </a:lnTo>
                  <a:lnTo>
                    <a:pt x="200" y="393"/>
                  </a:lnTo>
                  <a:lnTo>
                    <a:pt x="209" y="391"/>
                  </a:lnTo>
                  <a:lnTo>
                    <a:pt x="217" y="388"/>
                  </a:lnTo>
                  <a:lnTo>
                    <a:pt x="222" y="384"/>
                  </a:lnTo>
                  <a:lnTo>
                    <a:pt x="227" y="381"/>
                  </a:lnTo>
                  <a:lnTo>
                    <a:pt x="238" y="369"/>
                  </a:lnTo>
                  <a:lnTo>
                    <a:pt x="248" y="355"/>
                  </a:lnTo>
                  <a:lnTo>
                    <a:pt x="258" y="339"/>
                  </a:lnTo>
                  <a:lnTo>
                    <a:pt x="267" y="323"/>
                  </a:lnTo>
                  <a:lnTo>
                    <a:pt x="277" y="306"/>
                  </a:lnTo>
                  <a:lnTo>
                    <a:pt x="286" y="292"/>
                  </a:lnTo>
                  <a:lnTo>
                    <a:pt x="294" y="279"/>
                  </a:lnTo>
                  <a:lnTo>
                    <a:pt x="301" y="271"/>
                  </a:lnTo>
                  <a:lnTo>
                    <a:pt x="314" y="263"/>
                  </a:lnTo>
                  <a:lnTo>
                    <a:pt x="332" y="254"/>
                  </a:lnTo>
                  <a:lnTo>
                    <a:pt x="349" y="246"/>
                  </a:lnTo>
                  <a:lnTo>
                    <a:pt x="356" y="243"/>
                  </a:lnTo>
                  <a:lnTo>
                    <a:pt x="361" y="239"/>
                  </a:lnTo>
                  <a:lnTo>
                    <a:pt x="368" y="236"/>
                  </a:lnTo>
                  <a:lnTo>
                    <a:pt x="375" y="231"/>
                  </a:lnTo>
                  <a:lnTo>
                    <a:pt x="385" y="227"/>
                  </a:lnTo>
                  <a:lnTo>
                    <a:pt x="408" y="217"/>
                  </a:lnTo>
                  <a:lnTo>
                    <a:pt x="432" y="207"/>
                  </a:lnTo>
                  <a:lnTo>
                    <a:pt x="456" y="198"/>
                  </a:lnTo>
                  <a:lnTo>
                    <a:pt x="476" y="190"/>
                  </a:lnTo>
                  <a:lnTo>
                    <a:pt x="484" y="187"/>
                  </a:lnTo>
                  <a:lnTo>
                    <a:pt x="489" y="183"/>
                  </a:lnTo>
                  <a:lnTo>
                    <a:pt x="493" y="181"/>
                  </a:lnTo>
                  <a:lnTo>
                    <a:pt x="495" y="179"/>
                  </a:lnTo>
                  <a:lnTo>
                    <a:pt x="497" y="175"/>
                  </a:lnTo>
                  <a:lnTo>
                    <a:pt x="503" y="171"/>
                  </a:lnTo>
                  <a:lnTo>
                    <a:pt x="510" y="166"/>
                  </a:lnTo>
                  <a:lnTo>
                    <a:pt x="520" y="161"/>
                  </a:lnTo>
                  <a:lnTo>
                    <a:pt x="543" y="150"/>
                  </a:lnTo>
                  <a:lnTo>
                    <a:pt x="567" y="138"/>
                  </a:lnTo>
                  <a:lnTo>
                    <a:pt x="591" y="127"/>
                  </a:lnTo>
                  <a:lnTo>
                    <a:pt x="610" y="115"/>
                  </a:lnTo>
                  <a:lnTo>
                    <a:pt x="618" y="110"/>
                  </a:lnTo>
                  <a:lnTo>
                    <a:pt x="622" y="105"/>
                  </a:lnTo>
                  <a:lnTo>
                    <a:pt x="624" y="103"/>
                  </a:lnTo>
                  <a:lnTo>
                    <a:pt x="624" y="101"/>
                  </a:lnTo>
                  <a:lnTo>
                    <a:pt x="624" y="99"/>
                  </a:lnTo>
                  <a:lnTo>
                    <a:pt x="624" y="9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3" name="Freeform 59"/>
            <p:cNvSpPr>
              <a:spLocks noChangeAspect="1"/>
            </p:cNvSpPr>
            <p:nvPr/>
          </p:nvSpPr>
          <p:spPr bwMode="gray">
            <a:xfrm rot="355651">
              <a:off x="7140040" y="2557463"/>
              <a:ext cx="308922" cy="203340"/>
            </a:xfrm>
            <a:custGeom>
              <a:avLst/>
              <a:gdLst/>
              <a:ahLst/>
              <a:cxnLst>
                <a:cxn ang="0">
                  <a:pos x="427" y="228"/>
                </a:cxn>
                <a:cxn ang="0">
                  <a:pos x="507" y="245"/>
                </a:cxn>
                <a:cxn ang="0">
                  <a:pos x="620" y="228"/>
                </a:cxn>
                <a:cxn ang="0">
                  <a:pos x="666" y="207"/>
                </a:cxn>
                <a:cxn ang="0">
                  <a:pos x="845" y="206"/>
                </a:cxn>
                <a:cxn ang="0">
                  <a:pos x="909" y="169"/>
                </a:cxn>
                <a:cxn ang="0">
                  <a:pos x="952" y="138"/>
                </a:cxn>
                <a:cxn ang="0">
                  <a:pos x="990" y="109"/>
                </a:cxn>
                <a:cxn ang="0">
                  <a:pos x="1063" y="99"/>
                </a:cxn>
                <a:cxn ang="0">
                  <a:pos x="1381" y="64"/>
                </a:cxn>
                <a:cxn ang="0">
                  <a:pos x="1513" y="21"/>
                </a:cxn>
                <a:cxn ang="0">
                  <a:pos x="1570" y="2"/>
                </a:cxn>
                <a:cxn ang="0">
                  <a:pos x="1614" y="23"/>
                </a:cxn>
                <a:cxn ang="0">
                  <a:pos x="1628" y="51"/>
                </a:cxn>
                <a:cxn ang="0">
                  <a:pos x="1636" y="224"/>
                </a:cxn>
                <a:cxn ang="0">
                  <a:pos x="1632" y="425"/>
                </a:cxn>
                <a:cxn ang="0">
                  <a:pos x="1652" y="473"/>
                </a:cxn>
                <a:cxn ang="0">
                  <a:pos x="1689" y="516"/>
                </a:cxn>
                <a:cxn ang="0">
                  <a:pos x="1693" y="548"/>
                </a:cxn>
                <a:cxn ang="0">
                  <a:pos x="1655" y="604"/>
                </a:cxn>
                <a:cxn ang="0">
                  <a:pos x="1564" y="736"/>
                </a:cxn>
                <a:cxn ang="0">
                  <a:pos x="1501" y="879"/>
                </a:cxn>
                <a:cxn ang="0">
                  <a:pos x="1487" y="943"/>
                </a:cxn>
                <a:cxn ang="0">
                  <a:pos x="1177" y="960"/>
                </a:cxn>
                <a:cxn ang="0">
                  <a:pos x="1178" y="1110"/>
                </a:cxn>
                <a:cxn ang="0">
                  <a:pos x="1176" y="1198"/>
                </a:cxn>
                <a:cxn ang="0">
                  <a:pos x="1151" y="1258"/>
                </a:cxn>
                <a:cxn ang="0">
                  <a:pos x="1076" y="1253"/>
                </a:cxn>
                <a:cxn ang="0">
                  <a:pos x="1022" y="1233"/>
                </a:cxn>
                <a:cxn ang="0">
                  <a:pos x="903" y="1205"/>
                </a:cxn>
                <a:cxn ang="0">
                  <a:pos x="739" y="1197"/>
                </a:cxn>
                <a:cxn ang="0">
                  <a:pos x="719" y="1187"/>
                </a:cxn>
                <a:cxn ang="0">
                  <a:pos x="653" y="1149"/>
                </a:cxn>
                <a:cxn ang="0">
                  <a:pos x="534" y="1136"/>
                </a:cxn>
                <a:cxn ang="0">
                  <a:pos x="484" y="1093"/>
                </a:cxn>
                <a:cxn ang="0">
                  <a:pos x="451" y="1071"/>
                </a:cxn>
                <a:cxn ang="0">
                  <a:pos x="386" y="1036"/>
                </a:cxn>
                <a:cxn ang="0">
                  <a:pos x="311" y="1062"/>
                </a:cxn>
                <a:cxn ang="0">
                  <a:pos x="225" y="1079"/>
                </a:cxn>
                <a:cxn ang="0">
                  <a:pos x="182" y="1072"/>
                </a:cxn>
                <a:cxn ang="0">
                  <a:pos x="138" y="1007"/>
                </a:cxn>
                <a:cxn ang="0">
                  <a:pos x="131" y="976"/>
                </a:cxn>
                <a:cxn ang="0">
                  <a:pos x="152" y="879"/>
                </a:cxn>
                <a:cxn ang="0">
                  <a:pos x="136" y="722"/>
                </a:cxn>
                <a:cxn ang="0">
                  <a:pos x="83" y="667"/>
                </a:cxn>
                <a:cxn ang="0">
                  <a:pos x="52" y="635"/>
                </a:cxn>
                <a:cxn ang="0">
                  <a:pos x="15" y="616"/>
                </a:cxn>
                <a:cxn ang="0">
                  <a:pos x="1" y="545"/>
                </a:cxn>
                <a:cxn ang="0">
                  <a:pos x="29" y="514"/>
                </a:cxn>
                <a:cxn ang="0">
                  <a:pos x="77" y="475"/>
                </a:cxn>
                <a:cxn ang="0">
                  <a:pos x="154" y="416"/>
                </a:cxn>
                <a:cxn ang="0">
                  <a:pos x="191" y="391"/>
                </a:cxn>
                <a:cxn ang="0">
                  <a:pos x="222" y="367"/>
                </a:cxn>
                <a:cxn ang="0">
                  <a:pos x="259" y="304"/>
                </a:cxn>
                <a:cxn ang="0">
                  <a:pos x="314" y="264"/>
                </a:cxn>
                <a:cxn ang="0">
                  <a:pos x="327" y="242"/>
                </a:cxn>
                <a:cxn ang="0">
                  <a:pos x="317" y="222"/>
                </a:cxn>
              </a:cxnLst>
              <a:rect l="0" t="0" r="r" b="b"/>
              <a:pathLst>
                <a:path w="1694" h="1266">
                  <a:moveTo>
                    <a:pt x="294" y="208"/>
                  </a:moveTo>
                  <a:lnTo>
                    <a:pt x="325" y="215"/>
                  </a:lnTo>
                  <a:lnTo>
                    <a:pt x="357" y="222"/>
                  </a:lnTo>
                  <a:lnTo>
                    <a:pt x="374" y="224"/>
                  </a:lnTo>
                  <a:lnTo>
                    <a:pt x="391" y="226"/>
                  </a:lnTo>
                  <a:lnTo>
                    <a:pt x="409" y="228"/>
                  </a:lnTo>
                  <a:lnTo>
                    <a:pt x="427" y="228"/>
                  </a:lnTo>
                  <a:lnTo>
                    <a:pt x="437" y="229"/>
                  </a:lnTo>
                  <a:lnTo>
                    <a:pt x="448" y="232"/>
                  </a:lnTo>
                  <a:lnTo>
                    <a:pt x="459" y="234"/>
                  </a:lnTo>
                  <a:lnTo>
                    <a:pt x="472" y="237"/>
                  </a:lnTo>
                  <a:lnTo>
                    <a:pt x="485" y="241"/>
                  </a:lnTo>
                  <a:lnTo>
                    <a:pt x="497" y="244"/>
                  </a:lnTo>
                  <a:lnTo>
                    <a:pt x="507" y="245"/>
                  </a:lnTo>
                  <a:lnTo>
                    <a:pt x="517" y="246"/>
                  </a:lnTo>
                  <a:lnTo>
                    <a:pt x="531" y="245"/>
                  </a:lnTo>
                  <a:lnTo>
                    <a:pt x="546" y="244"/>
                  </a:lnTo>
                  <a:lnTo>
                    <a:pt x="561" y="241"/>
                  </a:lnTo>
                  <a:lnTo>
                    <a:pt x="575" y="237"/>
                  </a:lnTo>
                  <a:lnTo>
                    <a:pt x="602" y="232"/>
                  </a:lnTo>
                  <a:lnTo>
                    <a:pt x="620" y="228"/>
                  </a:lnTo>
                  <a:lnTo>
                    <a:pt x="621" y="225"/>
                  </a:lnTo>
                  <a:lnTo>
                    <a:pt x="622" y="223"/>
                  </a:lnTo>
                  <a:lnTo>
                    <a:pt x="625" y="219"/>
                  </a:lnTo>
                  <a:lnTo>
                    <a:pt x="629" y="217"/>
                  </a:lnTo>
                  <a:lnTo>
                    <a:pt x="638" y="213"/>
                  </a:lnTo>
                  <a:lnTo>
                    <a:pt x="650" y="209"/>
                  </a:lnTo>
                  <a:lnTo>
                    <a:pt x="666" y="207"/>
                  </a:lnTo>
                  <a:lnTo>
                    <a:pt x="682" y="206"/>
                  </a:lnTo>
                  <a:lnTo>
                    <a:pt x="700" y="205"/>
                  </a:lnTo>
                  <a:lnTo>
                    <a:pt x="719" y="204"/>
                  </a:lnTo>
                  <a:lnTo>
                    <a:pt x="758" y="204"/>
                  </a:lnTo>
                  <a:lnTo>
                    <a:pt x="795" y="205"/>
                  </a:lnTo>
                  <a:lnTo>
                    <a:pt x="825" y="205"/>
                  </a:lnTo>
                  <a:lnTo>
                    <a:pt x="845" y="206"/>
                  </a:lnTo>
                  <a:lnTo>
                    <a:pt x="846" y="204"/>
                  </a:lnTo>
                  <a:lnTo>
                    <a:pt x="849" y="200"/>
                  </a:lnTo>
                  <a:lnTo>
                    <a:pt x="853" y="197"/>
                  </a:lnTo>
                  <a:lnTo>
                    <a:pt x="860" y="194"/>
                  </a:lnTo>
                  <a:lnTo>
                    <a:pt x="874" y="186"/>
                  </a:lnTo>
                  <a:lnTo>
                    <a:pt x="892" y="178"/>
                  </a:lnTo>
                  <a:lnTo>
                    <a:pt x="909" y="169"/>
                  </a:lnTo>
                  <a:lnTo>
                    <a:pt x="925" y="160"/>
                  </a:lnTo>
                  <a:lnTo>
                    <a:pt x="930" y="156"/>
                  </a:lnTo>
                  <a:lnTo>
                    <a:pt x="935" y="151"/>
                  </a:lnTo>
                  <a:lnTo>
                    <a:pt x="938" y="147"/>
                  </a:lnTo>
                  <a:lnTo>
                    <a:pt x="939" y="143"/>
                  </a:lnTo>
                  <a:lnTo>
                    <a:pt x="946" y="141"/>
                  </a:lnTo>
                  <a:lnTo>
                    <a:pt x="952" y="138"/>
                  </a:lnTo>
                  <a:lnTo>
                    <a:pt x="958" y="133"/>
                  </a:lnTo>
                  <a:lnTo>
                    <a:pt x="964" y="128"/>
                  </a:lnTo>
                  <a:lnTo>
                    <a:pt x="969" y="121"/>
                  </a:lnTo>
                  <a:lnTo>
                    <a:pt x="976" y="117"/>
                  </a:lnTo>
                  <a:lnTo>
                    <a:pt x="981" y="113"/>
                  </a:lnTo>
                  <a:lnTo>
                    <a:pt x="988" y="111"/>
                  </a:lnTo>
                  <a:lnTo>
                    <a:pt x="990" y="109"/>
                  </a:lnTo>
                  <a:lnTo>
                    <a:pt x="994" y="106"/>
                  </a:lnTo>
                  <a:lnTo>
                    <a:pt x="1000" y="103"/>
                  </a:lnTo>
                  <a:lnTo>
                    <a:pt x="1006" y="102"/>
                  </a:lnTo>
                  <a:lnTo>
                    <a:pt x="1012" y="101"/>
                  </a:lnTo>
                  <a:lnTo>
                    <a:pt x="1024" y="100"/>
                  </a:lnTo>
                  <a:lnTo>
                    <a:pt x="1042" y="99"/>
                  </a:lnTo>
                  <a:lnTo>
                    <a:pt x="1063" y="99"/>
                  </a:lnTo>
                  <a:lnTo>
                    <a:pt x="1105" y="98"/>
                  </a:lnTo>
                  <a:lnTo>
                    <a:pt x="1132" y="98"/>
                  </a:lnTo>
                  <a:lnTo>
                    <a:pt x="1162" y="97"/>
                  </a:lnTo>
                  <a:lnTo>
                    <a:pt x="1213" y="91"/>
                  </a:lnTo>
                  <a:lnTo>
                    <a:pt x="1277" y="82"/>
                  </a:lnTo>
                  <a:lnTo>
                    <a:pt x="1347" y="71"/>
                  </a:lnTo>
                  <a:lnTo>
                    <a:pt x="1381" y="64"/>
                  </a:lnTo>
                  <a:lnTo>
                    <a:pt x="1415" y="56"/>
                  </a:lnTo>
                  <a:lnTo>
                    <a:pt x="1445" y="49"/>
                  </a:lnTo>
                  <a:lnTo>
                    <a:pt x="1473" y="40"/>
                  </a:lnTo>
                  <a:lnTo>
                    <a:pt x="1484" y="35"/>
                  </a:lnTo>
                  <a:lnTo>
                    <a:pt x="1495" y="30"/>
                  </a:lnTo>
                  <a:lnTo>
                    <a:pt x="1504" y="25"/>
                  </a:lnTo>
                  <a:lnTo>
                    <a:pt x="1513" y="21"/>
                  </a:lnTo>
                  <a:lnTo>
                    <a:pt x="1518" y="15"/>
                  </a:lnTo>
                  <a:lnTo>
                    <a:pt x="1524" y="10"/>
                  </a:lnTo>
                  <a:lnTo>
                    <a:pt x="1526" y="5"/>
                  </a:lnTo>
                  <a:lnTo>
                    <a:pt x="1527" y="0"/>
                  </a:lnTo>
                  <a:lnTo>
                    <a:pt x="1541" y="0"/>
                  </a:lnTo>
                  <a:lnTo>
                    <a:pt x="1555" y="0"/>
                  </a:lnTo>
                  <a:lnTo>
                    <a:pt x="1570" y="2"/>
                  </a:lnTo>
                  <a:lnTo>
                    <a:pt x="1584" y="4"/>
                  </a:lnTo>
                  <a:lnTo>
                    <a:pt x="1591" y="6"/>
                  </a:lnTo>
                  <a:lnTo>
                    <a:pt x="1598" y="8"/>
                  </a:lnTo>
                  <a:lnTo>
                    <a:pt x="1603" y="11"/>
                  </a:lnTo>
                  <a:lnTo>
                    <a:pt x="1608" y="14"/>
                  </a:lnTo>
                  <a:lnTo>
                    <a:pt x="1612" y="18"/>
                  </a:lnTo>
                  <a:lnTo>
                    <a:pt x="1614" y="23"/>
                  </a:lnTo>
                  <a:lnTo>
                    <a:pt x="1617" y="29"/>
                  </a:lnTo>
                  <a:lnTo>
                    <a:pt x="1618" y="35"/>
                  </a:lnTo>
                  <a:lnTo>
                    <a:pt x="1619" y="35"/>
                  </a:lnTo>
                  <a:lnTo>
                    <a:pt x="1621" y="37"/>
                  </a:lnTo>
                  <a:lnTo>
                    <a:pt x="1623" y="40"/>
                  </a:lnTo>
                  <a:lnTo>
                    <a:pt x="1624" y="42"/>
                  </a:lnTo>
                  <a:lnTo>
                    <a:pt x="1628" y="51"/>
                  </a:lnTo>
                  <a:lnTo>
                    <a:pt x="1630" y="61"/>
                  </a:lnTo>
                  <a:lnTo>
                    <a:pt x="1633" y="88"/>
                  </a:lnTo>
                  <a:lnTo>
                    <a:pt x="1635" y="119"/>
                  </a:lnTo>
                  <a:lnTo>
                    <a:pt x="1636" y="152"/>
                  </a:lnTo>
                  <a:lnTo>
                    <a:pt x="1636" y="183"/>
                  </a:lnTo>
                  <a:lnTo>
                    <a:pt x="1636" y="208"/>
                  </a:lnTo>
                  <a:lnTo>
                    <a:pt x="1636" y="224"/>
                  </a:lnTo>
                  <a:lnTo>
                    <a:pt x="1635" y="241"/>
                  </a:lnTo>
                  <a:lnTo>
                    <a:pt x="1635" y="268"/>
                  </a:lnTo>
                  <a:lnTo>
                    <a:pt x="1633" y="304"/>
                  </a:lnTo>
                  <a:lnTo>
                    <a:pt x="1632" y="342"/>
                  </a:lnTo>
                  <a:lnTo>
                    <a:pt x="1631" y="379"/>
                  </a:lnTo>
                  <a:lnTo>
                    <a:pt x="1631" y="411"/>
                  </a:lnTo>
                  <a:lnTo>
                    <a:pt x="1632" y="425"/>
                  </a:lnTo>
                  <a:lnTo>
                    <a:pt x="1632" y="435"/>
                  </a:lnTo>
                  <a:lnTo>
                    <a:pt x="1633" y="441"/>
                  </a:lnTo>
                  <a:lnTo>
                    <a:pt x="1636" y="444"/>
                  </a:lnTo>
                  <a:lnTo>
                    <a:pt x="1636" y="453"/>
                  </a:lnTo>
                  <a:lnTo>
                    <a:pt x="1640" y="456"/>
                  </a:lnTo>
                  <a:lnTo>
                    <a:pt x="1646" y="463"/>
                  </a:lnTo>
                  <a:lnTo>
                    <a:pt x="1652" y="473"/>
                  </a:lnTo>
                  <a:lnTo>
                    <a:pt x="1660" y="484"/>
                  </a:lnTo>
                  <a:lnTo>
                    <a:pt x="1669" y="496"/>
                  </a:lnTo>
                  <a:lnTo>
                    <a:pt x="1677" y="506"/>
                  </a:lnTo>
                  <a:lnTo>
                    <a:pt x="1680" y="510"/>
                  </a:lnTo>
                  <a:lnTo>
                    <a:pt x="1684" y="513"/>
                  </a:lnTo>
                  <a:lnTo>
                    <a:pt x="1687" y="515"/>
                  </a:lnTo>
                  <a:lnTo>
                    <a:pt x="1689" y="516"/>
                  </a:lnTo>
                  <a:lnTo>
                    <a:pt x="1689" y="534"/>
                  </a:lnTo>
                  <a:lnTo>
                    <a:pt x="1690" y="534"/>
                  </a:lnTo>
                  <a:lnTo>
                    <a:pt x="1691" y="535"/>
                  </a:lnTo>
                  <a:lnTo>
                    <a:pt x="1693" y="536"/>
                  </a:lnTo>
                  <a:lnTo>
                    <a:pt x="1693" y="539"/>
                  </a:lnTo>
                  <a:lnTo>
                    <a:pt x="1694" y="543"/>
                  </a:lnTo>
                  <a:lnTo>
                    <a:pt x="1693" y="548"/>
                  </a:lnTo>
                  <a:lnTo>
                    <a:pt x="1690" y="559"/>
                  </a:lnTo>
                  <a:lnTo>
                    <a:pt x="1689" y="565"/>
                  </a:lnTo>
                  <a:lnTo>
                    <a:pt x="1686" y="566"/>
                  </a:lnTo>
                  <a:lnTo>
                    <a:pt x="1681" y="571"/>
                  </a:lnTo>
                  <a:lnTo>
                    <a:pt x="1676" y="577"/>
                  </a:lnTo>
                  <a:lnTo>
                    <a:pt x="1669" y="584"/>
                  </a:lnTo>
                  <a:lnTo>
                    <a:pt x="1655" y="604"/>
                  </a:lnTo>
                  <a:lnTo>
                    <a:pt x="1638" y="628"/>
                  </a:lnTo>
                  <a:lnTo>
                    <a:pt x="1606" y="674"/>
                  </a:lnTo>
                  <a:lnTo>
                    <a:pt x="1587" y="700"/>
                  </a:lnTo>
                  <a:lnTo>
                    <a:pt x="1581" y="706"/>
                  </a:lnTo>
                  <a:lnTo>
                    <a:pt x="1576" y="714"/>
                  </a:lnTo>
                  <a:lnTo>
                    <a:pt x="1570" y="724"/>
                  </a:lnTo>
                  <a:lnTo>
                    <a:pt x="1564" y="736"/>
                  </a:lnTo>
                  <a:lnTo>
                    <a:pt x="1551" y="764"/>
                  </a:lnTo>
                  <a:lnTo>
                    <a:pt x="1536" y="794"/>
                  </a:lnTo>
                  <a:lnTo>
                    <a:pt x="1524" y="822"/>
                  </a:lnTo>
                  <a:lnTo>
                    <a:pt x="1513" y="847"/>
                  </a:lnTo>
                  <a:lnTo>
                    <a:pt x="1505" y="864"/>
                  </a:lnTo>
                  <a:lnTo>
                    <a:pt x="1501" y="870"/>
                  </a:lnTo>
                  <a:lnTo>
                    <a:pt x="1501" y="879"/>
                  </a:lnTo>
                  <a:lnTo>
                    <a:pt x="1498" y="888"/>
                  </a:lnTo>
                  <a:lnTo>
                    <a:pt x="1496" y="896"/>
                  </a:lnTo>
                  <a:lnTo>
                    <a:pt x="1494" y="905"/>
                  </a:lnTo>
                  <a:lnTo>
                    <a:pt x="1492" y="914"/>
                  </a:lnTo>
                  <a:lnTo>
                    <a:pt x="1489" y="923"/>
                  </a:lnTo>
                  <a:lnTo>
                    <a:pt x="1488" y="933"/>
                  </a:lnTo>
                  <a:lnTo>
                    <a:pt x="1487" y="943"/>
                  </a:lnTo>
                  <a:lnTo>
                    <a:pt x="1479" y="946"/>
                  </a:lnTo>
                  <a:lnTo>
                    <a:pt x="1465" y="954"/>
                  </a:lnTo>
                  <a:lnTo>
                    <a:pt x="1457" y="958"/>
                  </a:lnTo>
                  <a:lnTo>
                    <a:pt x="1448" y="962"/>
                  </a:lnTo>
                  <a:lnTo>
                    <a:pt x="1440" y="964"/>
                  </a:lnTo>
                  <a:lnTo>
                    <a:pt x="1434" y="965"/>
                  </a:lnTo>
                  <a:lnTo>
                    <a:pt x="1177" y="960"/>
                  </a:lnTo>
                  <a:lnTo>
                    <a:pt x="1168" y="972"/>
                  </a:lnTo>
                  <a:lnTo>
                    <a:pt x="1159" y="983"/>
                  </a:lnTo>
                  <a:lnTo>
                    <a:pt x="1160" y="1010"/>
                  </a:lnTo>
                  <a:lnTo>
                    <a:pt x="1163" y="1035"/>
                  </a:lnTo>
                  <a:lnTo>
                    <a:pt x="1168" y="1061"/>
                  </a:lnTo>
                  <a:lnTo>
                    <a:pt x="1172" y="1085"/>
                  </a:lnTo>
                  <a:lnTo>
                    <a:pt x="1178" y="1110"/>
                  </a:lnTo>
                  <a:lnTo>
                    <a:pt x="1182" y="1135"/>
                  </a:lnTo>
                  <a:lnTo>
                    <a:pt x="1185" y="1160"/>
                  </a:lnTo>
                  <a:lnTo>
                    <a:pt x="1186" y="1185"/>
                  </a:lnTo>
                  <a:lnTo>
                    <a:pt x="1184" y="1186"/>
                  </a:lnTo>
                  <a:lnTo>
                    <a:pt x="1180" y="1188"/>
                  </a:lnTo>
                  <a:lnTo>
                    <a:pt x="1178" y="1193"/>
                  </a:lnTo>
                  <a:lnTo>
                    <a:pt x="1176" y="1198"/>
                  </a:lnTo>
                  <a:lnTo>
                    <a:pt x="1172" y="1210"/>
                  </a:lnTo>
                  <a:lnTo>
                    <a:pt x="1168" y="1225"/>
                  </a:lnTo>
                  <a:lnTo>
                    <a:pt x="1166" y="1233"/>
                  </a:lnTo>
                  <a:lnTo>
                    <a:pt x="1162" y="1241"/>
                  </a:lnTo>
                  <a:lnTo>
                    <a:pt x="1159" y="1247"/>
                  </a:lnTo>
                  <a:lnTo>
                    <a:pt x="1156" y="1253"/>
                  </a:lnTo>
                  <a:lnTo>
                    <a:pt x="1151" y="1258"/>
                  </a:lnTo>
                  <a:lnTo>
                    <a:pt x="1146" y="1263"/>
                  </a:lnTo>
                  <a:lnTo>
                    <a:pt x="1139" y="1265"/>
                  </a:lnTo>
                  <a:lnTo>
                    <a:pt x="1132" y="1266"/>
                  </a:lnTo>
                  <a:lnTo>
                    <a:pt x="1118" y="1265"/>
                  </a:lnTo>
                  <a:lnTo>
                    <a:pt x="1103" y="1262"/>
                  </a:lnTo>
                  <a:lnTo>
                    <a:pt x="1090" y="1257"/>
                  </a:lnTo>
                  <a:lnTo>
                    <a:pt x="1076" y="1253"/>
                  </a:lnTo>
                  <a:lnTo>
                    <a:pt x="1064" y="1247"/>
                  </a:lnTo>
                  <a:lnTo>
                    <a:pt x="1051" y="1243"/>
                  </a:lnTo>
                  <a:lnTo>
                    <a:pt x="1037" y="1241"/>
                  </a:lnTo>
                  <a:lnTo>
                    <a:pt x="1025" y="1238"/>
                  </a:lnTo>
                  <a:lnTo>
                    <a:pt x="1024" y="1237"/>
                  </a:lnTo>
                  <a:lnTo>
                    <a:pt x="1023" y="1235"/>
                  </a:lnTo>
                  <a:lnTo>
                    <a:pt x="1022" y="1233"/>
                  </a:lnTo>
                  <a:lnTo>
                    <a:pt x="1018" y="1231"/>
                  </a:lnTo>
                  <a:lnTo>
                    <a:pt x="1013" y="1227"/>
                  </a:lnTo>
                  <a:lnTo>
                    <a:pt x="1004" y="1224"/>
                  </a:lnTo>
                  <a:lnTo>
                    <a:pt x="981" y="1217"/>
                  </a:lnTo>
                  <a:lnTo>
                    <a:pt x="956" y="1213"/>
                  </a:lnTo>
                  <a:lnTo>
                    <a:pt x="929" y="1208"/>
                  </a:lnTo>
                  <a:lnTo>
                    <a:pt x="903" y="1205"/>
                  </a:lnTo>
                  <a:lnTo>
                    <a:pt x="882" y="1204"/>
                  </a:lnTo>
                  <a:lnTo>
                    <a:pt x="868" y="1203"/>
                  </a:lnTo>
                  <a:lnTo>
                    <a:pt x="837" y="1204"/>
                  </a:lnTo>
                  <a:lnTo>
                    <a:pt x="791" y="1203"/>
                  </a:lnTo>
                  <a:lnTo>
                    <a:pt x="767" y="1202"/>
                  </a:lnTo>
                  <a:lnTo>
                    <a:pt x="747" y="1199"/>
                  </a:lnTo>
                  <a:lnTo>
                    <a:pt x="739" y="1197"/>
                  </a:lnTo>
                  <a:lnTo>
                    <a:pt x="734" y="1195"/>
                  </a:lnTo>
                  <a:lnTo>
                    <a:pt x="731" y="1194"/>
                  </a:lnTo>
                  <a:lnTo>
                    <a:pt x="729" y="1193"/>
                  </a:lnTo>
                  <a:lnTo>
                    <a:pt x="728" y="1191"/>
                  </a:lnTo>
                  <a:lnTo>
                    <a:pt x="728" y="1189"/>
                  </a:lnTo>
                  <a:lnTo>
                    <a:pt x="724" y="1189"/>
                  </a:lnTo>
                  <a:lnTo>
                    <a:pt x="719" y="1187"/>
                  </a:lnTo>
                  <a:lnTo>
                    <a:pt x="714" y="1186"/>
                  </a:lnTo>
                  <a:lnTo>
                    <a:pt x="709" y="1183"/>
                  </a:lnTo>
                  <a:lnTo>
                    <a:pt x="698" y="1175"/>
                  </a:lnTo>
                  <a:lnTo>
                    <a:pt x="686" y="1167"/>
                  </a:lnTo>
                  <a:lnTo>
                    <a:pt x="673" y="1159"/>
                  </a:lnTo>
                  <a:lnTo>
                    <a:pt x="660" y="1151"/>
                  </a:lnTo>
                  <a:lnTo>
                    <a:pt x="653" y="1149"/>
                  </a:lnTo>
                  <a:lnTo>
                    <a:pt x="648" y="1147"/>
                  </a:lnTo>
                  <a:lnTo>
                    <a:pt x="640" y="1145"/>
                  </a:lnTo>
                  <a:lnTo>
                    <a:pt x="633" y="1145"/>
                  </a:lnTo>
                  <a:lnTo>
                    <a:pt x="539" y="1145"/>
                  </a:lnTo>
                  <a:lnTo>
                    <a:pt x="538" y="1142"/>
                  </a:lnTo>
                  <a:lnTo>
                    <a:pt x="537" y="1139"/>
                  </a:lnTo>
                  <a:lnTo>
                    <a:pt x="534" y="1136"/>
                  </a:lnTo>
                  <a:lnTo>
                    <a:pt x="531" y="1132"/>
                  </a:lnTo>
                  <a:lnTo>
                    <a:pt x="520" y="1125"/>
                  </a:lnTo>
                  <a:lnTo>
                    <a:pt x="510" y="1117"/>
                  </a:lnTo>
                  <a:lnTo>
                    <a:pt x="499" y="1109"/>
                  </a:lnTo>
                  <a:lnTo>
                    <a:pt x="490" y="1101"/>
                  </a:lnTo>
                  <a:lnTo>
                    <a:pt x="486" y="1097"/>
                  </a:lnTo>
                  <a:lnTo>
                    <a:pt x="484" y="1093"/>
                  </a:lnTo>
                  <a:lnTo>
                    <a:pt x="481" y="1090"/>
                  </a:lnTo>
                  <a:lnTo>
                    <a:pt x="481" y="1087"/>
                  </a:lnTo>
                  <a:lnTo>
                    <a:pt x="477" y="1085"/>
                  </a:lnTo>
                  <a:lnTo>
                    <a:pt x="474" y="1084"/>
                  </a:lnTo>
                  <a:lnTo>
                    <a:pt x="468" y="1082"/>
                  </a:lnTo>
                  <a:lnTo>
                    <a:pt x="464" y="1079"/>
                  </a:lnTo>
                  <a:lnTo>
                    <a:pt x="451" y="1071"/>
                  </a:lnTo>
                  <a:lnTo>
                    <a:pt x="439" y="1062"/>
                  </a:lnTo>
                  <a:lnTo>
                    <a:pt x="426" y="1052"/>
                  </a:lnTo>
                  <a:lnTo>
                    <a:pt x="412" y="1044"/>
                  </a:lnTo>
                  <a:lnTo>
                    <a:pt x="405" y="1041"/>
                  </a:lnTo>
                  <a:lnTo>
                    <a:pt x="399" y="1039"/>
                  </a:lnTo>
                  <a:lnTo>
                    <a:pt x="393" y="1037"/>
                  </a:lnTo>
                  <a:lnTo>
                    <a:pt x="386" y="1036"/>
                  </a:lnTo>
                  <a:lnTo>
                    <a:pt x="371" y="1040"/>
                  </a:lnTo>
                  <a:lnTo>
                    <a:pt x="345" y="1046"/>
                  </a:lnTo>
                  <a:lnTo>
                    <a:pt x="332" y="1051"/>
                  </a:lnTo>
                  <a:lnTo>
                    <a:pt x="321" y="1055"/>
                  </a:lnTo>
                  <a:lnTo>
                    <a:pt x="316" y="1058"/>
                  </a:lnTo>
                  <a:lnTo>
                    <a:pt x="313" y="1060"/>
                  </a:lnTo>
                  <a:lnTo>
                    <a:pt x="311" y="1062"/>
                  </a:lnTo>
                  <a:lnTo>
                    <a:pt x="311" y="1064"/>
                  </a:lnTo>
                  <a:lnTo>
                    <a:pt x="298" y="1064"/>
                  </a:lnTo>
                  <a:lnTo>
                    <a:pt x="285" y="1066"/>
                  </a:lnTo>
                  <a:lnTo>
                    <a:pt x="270" y="1070"/>
                  </a:lnTo>
                  <a:lnTo>
                    <a:pt x="255" y="1073"/>
                  </a:lnTo>
                  <a:lnTo>
                    <a:pt x="240" y="1077"/>
                  </a:lnTo>
                  <a:lnTo>
                    <a:pt x="225" y="1079"/>
                  </a:lnTo>
                  <a:lnTo>
                    <a:pt x="209" y="1081"/>
                  </a:lnTo>
                  <a:lnTo>
                    <a:pt x="193" y="1082"/>
                  </a:lnTo>
                  <a:lnTo>
                    <a:pt x="192" y="1079"/>
                  </a:lnTo>
                  <a:lnTo>
                    <a:pt x="191" y="1078"/>
                  </a:lnTo>
                  <a:lnTo>
                    <a:pt x="188" y="1078"/>
                  </a:lnTo>
                  <a:lnTo>
                    <a:pt x="184" y="1078"/>
                  </a:lnTo>
                  <a:lnTo>
                    <a:pt x="182" y="1072"/>
                  </a:lnTo>
                  <a:lnTo>
                    <a:pt x="177" y="1064"/>
                  </a:lnTo>
                  <a:lnTo>
                    <a:pt x="169" y="1055"/>
                  </a:lnTo>
                  <a:lnTo>
                    <a:pt x="160" y="1043"/>
                  </a:lnTo>
                  <a:lnTo>
                    <a:pt x="151" y="1032"/>
                  </a:lnTo>
                  <a:lnTo>
                    <a:pt x="143" y="1020"/>
                  </a:lnTo>
                  <a:lnTo>
                    <a:pt x="140" y="1013"/>
                  </a:lnTo>
                  <a:lnTo>
                    <a:pt x="138" y="1007"/>
                  </a:lnTo>
                  <a:lnTo>
                    <a:pt x="135" y="1002"/>
                  </a:lnTo>
                  <a:lnTo>
                    <a:pt x="135" y="996"/>
                  </a:lnTo>
                  <a:lnTo>
                    <a:pt x="133" y="996"/>
                  </a:lnTo>
                  <a:lnTo>
                    <a:pt x="131" y="994"/>
                  </a:lnTo>
                  <a:lnTo>
                    <a:pt x="131" y="991"/>
                  </a:lnTo>
                  <a:lnTo>
                    <a:pt x="130" y="986"/>
                  </a:lnTo>
                  <a:lnTo>
                    <a:pt x="131" y="976"/>
                  </a:lnTo>
                  <a:lnTo>
                    <a:pt x="132" y="965"/>
                  </a:lnTo>
                  <a:lnTo>
                    <a:pt x="136" y="944"/>
                  </a:lnTo>
                  <a:lnTo>
                    <a:pt x="140" y="934"/>
                  </a:lnTo>
                  <a:lnTo>
                    <a:pt x="144" y="921"/>
                  </a:lnTo>
                  <a:lnTo>
                    <a:pt x="149" y="908"/>
                  </a:lnTo>
                  <a:lnTo>
                    <a:pt x="151" y="893"/>
                  </a:lnTo>
                  <a:lnTo>
                    <a:pt x="152" y="879"/>
                  </a:lnTo>
                  <a:lnTo>
                    <a:pt x="152" y="863"/>
                  </a:lnTo>
                  <a:lnTo>
                    <a:pt x="152" y="847"/>
                  </a:lnTo>
                  <a:lnTo>
                    <a:pt x="151" y="831"/>
                  </a:lnTo>
                  <a:lnTo>
                    <a:pt x="149" y="814"/>
                  </a:lnTo>
                  <a:lnTo>
                    <a:pt x="144" y="782"/>
                  </a:lnTo>
                  <a:lnTo>
                    <a:pt x="140" y="751"/>
                  </a:lnTo>
                  <a:lnTo>
                    <a:pt x="136" y="722"/>
                  </a:lnTo>
                  <a:lnTo>
                    <a:pt x="135" y="696"/>
                  </a:lnTo>
                  <a:lnTo>
                    <a:pt x="131" y="691"/>
                  </a:lnTo>
                  <a:lnTo>
                    <a:pt x="122" y="684"/>
                  </a:lnTo>
                  <a:lnTo>
                    <a:pt x="112" y="675"/>
                  </a:lnTo>
                  <a:lnTo>
                    <a:pt x="109" y="668"/>
                  </a:lnTo>
                  <a:lnTo>
                    <a:pt x="95" y="668"/>
                  </a:lnTo>
                  <a:lnTo>
                    <a:pt x="83" y="667"/>
                  </a:lnTo>
                  <a:lnTo>
                    <a:pt x="71" y="666"/>
                  </a:lnTo>
                  <a:lnTo>
                    <a:pt x="58" y="665"/>
                  </a:lnTo>
                  <a:lnTo>
                    <a:pt x="59" y="650"/>
                  </a:lnTo>
                  <a:lnTo>
                    <a:pt x="61" y="637"/>
                  </a:lnTo>
                  <a:lnTo>
                    <a:pt x="57" y="637"/>
                  </a:lnTo>
                  <a:lnTo>
                    <a:pt x="54" y="637"/>
                  </a:lnTo>
                  <a:lnTo>
                    <a:pt x="52" y="635"/>
                  </a:lnTo>
                  <a:lnTo>
                    <a:pt x="50" y="632"/>
                  </a:lnTo>
                  <a:lnTo>
                    <a:pt x="36" y="632"/>
                  </a:lnTo>
                  <a:lnTo>
                    <a:pt x="33" y="629"/>
                  </a:lnTo>
                  <a:lnTo>
                    <a:pt x="27" y="625"/>
                  </a:lnTo>
                  <a:lnTo>
                    <a:pt x="24" y="621"/>
                  </a:lnTo>
                  <a:lnTo>
                    <a:pt x="23" y="618"/>
                  </a:lnTo>
                  <a:lnTo>
                    <a:pt x="15" y="616"/>
                  </a:lnTo>
                  <a:lnTo>
                    <a:pt x="8" y="613"/>
                  </a:lnTo>
                  <a:lnTo>
                    <a:pt x="5" y="600"/>
                  </a:lnTo>
                  <a:lnTo>
                    <a:pt x="0" y="573"/>
                  </a:lnTo>
                  <a:lnTo>
                    <a:pt x="0" y="565"/>
                  </a:lnTo>
                  <a:lnTo>
                    <a:pt x="0" y="558"/>
                  </a:lnTo>
                  <a:lnTo>
                    <a:pt x="0" y="551"/>
                  </a:lnTo>
                  <a:lnTo>
                    <a:pt x="1" y="545"/>
                  </a:lnTo>
                  <a:lnTo>
                    <a:pt x="5" y="540"/>
                  </a:lnTo>
                  <a:lnTo>
                    <a:pt x="7" y="536"/>
                  </a:lnTo>
                  <a:lnTo>
                    <a:pt x="11" y="533"/>
                  </a:lnTo>
                  <a:lnTo>
                    <a:pt x="17" y="532"/>
                  </a:lnTo>
                  <a:lnTo>
                    <a:pt x="19" y="526"/>
                  </a:lnTo>
                  <a:lnTo>
                    <a:pt x="24" y="521"/>
                  </a:lnTo>
                  <a:lnTo>
                    <a:pt x="29" y="514"/>
                  </a:lnTo>
                  <a:lnTo>
                    <a:pt x="36" y="507"/>
                  </a:lnTo>
                  <a:lnTo>
                    <a:pt x="49" y="496"/>
                  </a:lnTo>
                  <a:lnTo>
                    <a:pt x="55" y="489"/>
                  </a:lnTo>
                  <a:lnTo>
                    <a:pt x="63" y="487"/>
                  </a:lnTo>
                  <a:lnTo>
                    <a:pt x="69" y="485"/>
                  </a:lnTo>
                  <a:lnTo>
                    <a:pt x="74" y="475"/>
                  </a:lnTo>
                  <a:lnTo>
                    <a:pt x="77" y="475"/>
                  </a:lnTo>
                  <a:lnTo>
                    <a:pt x="83" y="473"/>
                  </a:lnTo>
                  <a:lnTo>
                    <a:pt x="88" y="469"/>
                  </a:lnTo>
                  <a:lnTo>
                    <a:pt x="94" y="465"/>
                  </a:lnTo>
                  <a:lnTo>
                    <a:pt x="110" y="454"/>
                  </a:lnTo>
                  <a:lnTo>
                    <a:pt x="125" y="441"/>
                  </a:lnTo>
                  <a:lnTo>
                    <a:pt x="141" y="428"/>
                  </a:lnTo>
                  <a:lnTo>
                    <a:pt x="154" y="416"/>
                  </a:lnTo>
                  <a:lnTo>
                    <a:pt x="164" y="406"/>
                  </a:lnTo>
                  <a:lnTo>
                    <a:pt x="169" y="399"/>
                  </a:lnTo>
                  <a:lnTo>
                    <a:pt x="173" y="399"/>
                  </a:lnTo>
                  <a:lnTo>
                    <a:pt x="178" y="398"/>
                  </a:lnTo>
                  <a:lnTo>
                    <a:pt x="182" y="396"/>
                  </a:lnTo>
                  <a:lnTo>
                    <a:pt x="187" y="393"/>
                  </a:lnTo>
                  <a:lnTo>
                    <a:pt x="191" y="391"/>
                  </a:lnTo>
                  <a:lnTo>
                    <a:pt x="194" y="388"/>
                  </a:lnTo>
                  <a:lnTo>
                    <a:pt x="197" y="385"/>
                  </a:lnTo>
                  <a:lnTo>
                    <a:pt x="198" y="380"/>
                  </a:lnTo>
                  <a:lnTo>
                    <a:pt x="203" y="379"/>
                  </a:lnTo>
                  <a:lnTo>
                    <a:pt x="210" y="376"/>
                  </a:lnTo>
                  <a:lnTo>
                    <a:pt x="217" y="371"/>
                  </a:lnTo>
                  <a:lnTo>
                    <a:pt x="222" y="367"/>
                  </a:lnTo>
                  <a:lnTo>
                    <a:pt x="234" y="357"/>
                  </a:lnTo>
                  <a:lnTo>
                    <a:pt x="240" y="352"/>
                  </a:lnTo>
                  <a:lnTo>
                    <a:pt x="242" y="335"/>
                  </a:lnTo>
                  <a:lnTo>
                    <a:pt x="245" y="319"/>
                  </a:lnTo>
                  <a:lnTo>
                    <a:pt x="250" y="314"/>
                  </a:lnTo>
                  <a:lnTo>
                    <a:pt x="255" y="310"/>
                  </a:lnTo>
                  <a:lnTo>
                    <a:pt x="259" y="304"/>
                  </a:lnTo>
                  <a:lnTo>
                    <a:pt x="270" y="298"/>
                  </a:lnTo>
                  <a:lnTo>
                    <a:pt x="278" y="291"/>
                  </a:lnTo>
                  <a:lnTo>
                    <a:pt x="290" y="283"/>
                  </a:lnTo>
                  <a:lnTo>
                    <a:pt x="302" y="276"/>
                  </a:lnTo>
                  <a:lnTo>
                    <a:pt x="307" y="266"/>
                  </a:lnTo>
                  <a:lnTo>
                    <a:pt x="311" y="266"/>
                  </a:lnTo>
                  <a:lnTo>
                    <a:pt x="314" y="264"/>
                  </a:lnTo>
                  <a:lnTo>
                    <a:pt x="315" y="261"/>
                  </a:lnTo>
                  <a:lnTo>
                    <a:pt x="316" y="257"/>
                  </a:lnTo>
                  <a:lnTo>
                    <a:pt x="321" y="255"/>
                  </a:lnTo>
                  <a:lnTo>
                    <a:pt x="326" y="253"/>
                  </a:lnTo>
                  <a:lnTo>
                    <a:pt x="326" y="248"/>
                  </a:lnTo>
                  <a:lnTo>
                    <a:pt x="326" y="244"/>
                  </a:lnTo>
                  <a:lnTo>
                    <a:pt x="327" y="242"/>
                  </a:lnTo>
                  <a:lnTo>
                    <a:pt x="328" y="239"/>
                  </a:lnTo>
                  <a:lnTo>
                    <a:pt x="330" y="238"/>
                  </a:lnTo>
                  <a:lnTo>
                    <a:pt x="331" y="238"/>
                  </a:lnTo>
                  <a:lnTo>
                    <a:pt x="330" y="234"/>
                  </a:lnTo>
                  <a:lnTo>
                    <a:pt x="327" y="229"/>
                  </a:lnTo>
                  <a:lnTo>
                    <a:pt x="323" y="225"/>
                  </a:lnTo>
                  <a:lnTo>
                    <a:pt x="317" y="222"/>
                  </a:lnTo>
                  <a:lnTo>
                    <a:pt x="305" y="215"/>
                  </a:lnTo>
                  <a:lnTo>
                    <a:pt x="294" y="20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4" name="Freeform 60"/>
            <p:cNvSpPr>
              <a:spLocks noChangeAspect="1"/>
            </p:cNvSpPr>
            <p:nvPr/>
          </p:nvSpPr>
          <p:spPr bwMode="gray">
            <a:xfrm rot="355651">
              <a:off x="7339994" y="2400300"/>
              <a:ext cx="354416" cy="426907"/>
            </a:xfrm>
            <a:custGeom>
              <a:avLst/>
              <a:gdLst/>
              <a:ahLst/>
              <a:cxnLst>
                <a:cxn ang="0">
                  <a:pos x="683" y="1014"/>
                </a:cxn>
                <a:cxn ang="0">
                  <a:pos x="729" y="976"/>
                </a:cxn>
                <a:cxn ang="0">
                  <a:pos x="774" y="963"/>
                </a:cxn>
                <a:cxn ang="0">
                  <a:pos x="864" y="927"/>
                </a:cxn>
                <a:cxn ang="0">
                  <a:pos x="920" y="877"/>
                </a:cxn>
                <a:cxn ang="0">
                  <a:pos x="964" y="809"/>
                </a:cxn>
                <a:cxn ang="0">
                  <a:pos x="945" y="514"/>
                </a:cxn>
                <a:cxn ang="0">
                  <a:pos x="903" y="454"/>
                </a:cxn>
                <a:cxn ang="0">
                  <a:pos x="871" y="409"/>
                </a:cxn>
                <a:cxn ang="0">
                  <a:pos x="833" y="364"/>
                </a:cxn>
                <a:cxn ang="0">
                  <a:pos x="789" y="237"/>
                </a:cxn>
                <a:cxn ang="0">
                  <a:pos x="814" y="75"/>
                </a:cxn>
                <a:cxn ang="0">
                  <a:pos x="894" y="12"/>
                </a:cxn>
                <a:cxn ang="0">
                  <a:pos x="1082" y="5"/>
                </a:cxn>
                <a:cxn ang="0">
                  <a:pos x="1322" y="56"/>
                </a:cxn>
                <a:cxn ang="0">
                  <a:pos x="1371" y="94"/>
                </a:cxn>
                <a:cxn ang="0">
                  <a:pos x="1411" y="118"/>
                </a:cxn>
                <a:cxn ang="0">
                  <a:pos x="1537" y="171"/>
                </a:cxn>
                <a:cxn ang="0">
                  <a:pos x="1676" y="234"/>
                </a:cxn>
                <a:cxn ang="0">
                  <a:pos x="1716" y="290"/>
                </a:cxn>
                <a:cxn ang="0">
                  <a:pos x="1753" y="340"/>
                </a:cxn>
                <a:cxn ang="0">
                  <a:pos x="1792" y="410"/>
                </a:cxn>
                <a:cxn ang="0">
                  <a:pos x="1811" y="646"/>
                </a:cxn>
                <a:cxn ang="0">
                  <a:pos x="1861" y="759"/>
                </a:cxn>
                <a:cxn ang="0">
                  <a:pos x="1927" y="879"/>
                </a:cxn>
                <a:cxn ang="0">
                  <a:pos x="1934" y="1107"/>
                </a:cxn>
                <a:cxn ang="0">
                  <a:pos x="1660" y="1163"/>
                </a:cxn>
                <a:cxn ang="0">
                  <a:pos x="1598" y="1227"/>
                </a:cxn>
                <a:cxn ang="0">
                  <a:pos x="1552" y="1268"/>
                </a:cxn>
                <a:cxn ang="0">
                  <a:pos x="1484" y="1303"/>
                </a:cxn>
                <a:cxn ang="0">
                  <a:pos x="1387" y="1331"/>
                </a:cxn>
                <a:cxn ang="0">
                  <a:pos x="1322" y="1355"/>
                </a:cxn>
                <a:cxn ang="0">
                  <a:pos x="1288" y="1396"/>
                </a:cxn>
                <a:cxn ang="0">
                  <a:pos x="1268" y="1450"/>
                </a:cxn>
                <a:cxn ang="0">
                  <a:pos x="1249" y="1553"/>
                </a:cxn>
                <a:cxn ang="0">
                  <a:pos x="1320" y="1652"/>
                </a:cxn>
                <a:cxn ang="0">
                  <a:pos x="1450" y="1868"/>
                </a:cxn>
                <a:cxn ang="0">
                  <a:pos x="1437" y="2057"/>
                </a:cxn>
                <a:cxn ang="0">
                  <a:pos x="1325" y="2159"/>
                </a:cxn>
                <a:cxn ang="0">
                  <a:pos x="1205" y="2198"/>
                </a:cxn>
                <a:cxn ang="0">
                  <a:pos x="1112" y="2245"/>
                </a:cxn>
                <a:cxn ang="0">
                  <a:pos x="1069" y="2277"/>
                </a:cxn>
                <a:cxn ang="0">
                  <a:pos x="1029" y="2368"/>
                </a:cxn>
                <a:cxn ang="0">
                  <a:pos x="988" y="2569"/>
                </a:cxn>
                <a:cxn ang="0">
                  <a:pos x="967" y="2599"/>
                </a:cxn>
                <a:cxn ang="0">
                  <a:pos x="889" y="2638"/>
                </a:cxn>
                <a:cxn ang="0">
                  <a:pos x="754" y="2610"/>
                </a:cxn>
                <a:cxn ang="0">
                  <a:pos x="722" y="2450"/>
                </a:cxn>
                <a:cxn ang="0">
                  <a:pos x="637" y="2384"/>
                </a:cxn>
                <a:cxn ang="0">
                  <a:pos x="581" y="2419"/>
                </a:cxn>
                <a:cxn ang="0">
                  <a:pos x="504" y="2466"/>
                </a:cxn>
                <a:cxn ang="0">
                  <a:pos x="412" y="2443"/>
                </a:cxn>
                <a:cxn ang="0">
                  <a:pos x="256" y="2342"/>
                </a:cxn>
                <a:cxn ang="0">
                  <a:pos x="26" y="2320"/>
                </a:cxn>
                <a:cxn ang="0">
                  <a:pos x="65" y="2239"/>
                </a:cxn>
                <a:cxn ang="0">
                  <a:pos x="327" y="2010"/>
                </a:cxn>
                <a:cxn ang="0">
                  <a:pos x="400" y="1893"/>
                </a:cxn>
                <a:cxn ang="0">
                  <a:pos x="573" y="1612"/>
                </a:cxn>
                <a:cxn ang="0">
                  <a:pos x="556" y="1542"/>
                </a:cxn>
                <a:cxn ang="0">
                  <a:pos x="522" y="1287"/>
                </a:cxn>
                <a:cxn ang="0">
                  <a:pos x="503" y="1071"/>
                </a:cxn>
              </a:cxnLst>
              <a:rect l="0" t="0" r="r" b="b"/>
              <a:pathLst>
                <a:path w="1956" h="2656">
                  <a:moveTo>
                    <a:pt x="498" y="1063"/>
                  </a:moveTo>
                  <a:lnTo>
                    <a:pt x="518" y="1060"/>
                  </a:lnTo>
                  <a:lnTo>
                    <a:pt x="554" y="1053"/>
                  </a:lnTo>
                  <a:lnTo>
                    <a:pt x="589" y="1048"/>
                  </a:lnTo>
                  <a:lnTo>
                    <a:pt x="609" y="1046"/>
                  </a:lnTo>
                  <a:lnTo>
                    <a:pt x="615" y="1042"/>
                  </a:lnTo>
                  <a:lnTo>
                    <a:pt x="628" y="1039"/>
                  </a:lnTo>
                  <a:lnTo>
                    <a:pt x="640" y="1027"/>
                  </a:lnTo>
                  <a:lnTo>
                    <a:pt x="652" y="1027"/>
                  </a:lnTo>
                  <a:lnTo>
                    <a:pt x="653" y="1024"/>
                  </a:lnTo>
                  <a:lnTo>
                    <a:pt x="657" y="1022"/>
                  </a:lnTo>
                  <a:lnTo>
                    <a:pt x="660" y="1020"/>
                  </a:lnTo>
                  <a:lnTo>
                    <a:pt x="666" y="1018"/>
                  </a:lnTo>
                  <a:lnTo>
                    <a:pt x="676" y="1015"/>
                  </a:lnTo>
                  <a:lnTo>
                    <a:pt x="683" y="1014"/>
                  </a:lnTo>
                  <a:lnTo>
                    <a:pt x="685" y="1011"/>
                  </a:lnTo>
                  <a:lnTo>
                    <a:pt x="687" y="1009"/>
                  </a:lnTo>
                  <a:lnTo>
                    <a:pt x="689" y="1005"/>
                  </a:lnTo>
                  <a:lnTo>
                    <a:pt x="693" y="1002"/>
                  </a:lnTo>
                  <a:lnTo>
                    <a:pt x="701" y="998"/>
                  </a:lnTo>
                  <a:lnTo>
                    <a:pt x="708" y="995"/>
                  </a:lnTo>
                  <a:lnTo>
                    <a:pt x="709" y="993"/>
                  </a:lnTo>
                  <a:lnTo>
                    <a:pt x="710" y="991"/>
                  </a:lnTo>
                  <a:lnTo>
                    <a:pt x="712" y="989"/>
                  </a:lnTo>
                  <a:lnTo>
                    <a:pt x="715" y="986"/>
                  </a:lnTo>
                  <a:lnTo>
                    <a:pt x="721" y="984"/>
                  </a:lnTo>
                  <a:lnTo>
                    <a:pt x="727" y="983"/>
                  </a:lnTo>
                  <a:lnTo>
                    <a:pt x="727" y="980"/>
                  </a:lnTo>
                  <a:lnTo>
                    <a:pt x="728" y="977"/>
                  </a:lnTo>
                  <a:lnTo>
                    <a:pt x="729" y="976"/>
                  </a:lnTo>
                  <a:lnTo>
                    <a:pt x="730" y="976"/>
                  </a:lnTo>
                  <a:lnTo>
                    <a:pt x="731" y="976"/>
                  </a:lnTo>
                  <a:lnTo>
                    <a:pt x="733" y="976"/>
                  </a:lnTo>
                  <a:lnTo>
                    <a:pt x="733" y="974"/>
                  </a:lnTo>
                  <a:lnTo>
                    <a:pt x="733" y="971"/>
                  </a:lnTo>
                  <a:lnTo>
                    <a:pt x="751" y="971"/>
                  </a:lnTo>
                  <a:lnTo>
                    <a:pt x="751" y="969"/>
                  </a:lnTo>
                  <a:lnTo>
                    <a:pt x="753" y="967"/>
                  </a:lnTo>
                  <a:lnTo>
                    <a:pt x="754" y="966"/>
                  </a:lnTo>
                  <a:lnTo>
                    <a:pt x="756" y="965"/>
                  </a:lnTo>
                  <a:lnTo>
                    <a:pt x="759" y="964"/>
                  </a:lnTo>
                  <a:lnTo>
                    <a:pt x="764" y="964"/>
                  </a:lnTo>
                  <a:lnTo>
                    <a:pt x="768" y="964"/>
                  </a:lnTo>
                  <a:lnTo>
                    <a:pt x="773" y="963"/>
                  </a:lnTo>
                  <a:lnTo>
                    <a:pt x="774" y="963"/>
                  </a:lnTo>
                  <a:lnTo>
                    <a:pt x="775" y="962"/>
                  </a:lnTo>
                  <a:lnTo>
                    <a:pt x="776" y="960"/>
                  </a:lnTo>
                  <a:lnTo>
                    <a:pt x="776" y="958"/>
                  </a:lnTo>
                  <a:lnTo>
                    <a:pt x="814" y="958"/>
                  </a:lnTo>
                  <a:lnTo>
                    <a:pt x="826" y="945"/>
                  </a:lnTo>
                  <a:lnTo>
                    <a:pt x="839" y="945"/>
                  </a:lnTo>
                  <a:lnTo>
                    <a:pt x="840" y="944"/>
                  </a:lnTo>
                  <a:lnTo>
                    <a:pt x="841" y="942"/>
                  </a:lnTo>
                  <a:lnTo>
                    <a:pt x="843" y="941"/>
                  </a:lnTo>
                  <a:lnTo>
                    <a:pt x="845" y="941"/>
                  </a:lnTo>
                  <a:lnTo>
                    <a:pt x="852" y="939"/>
                  </a:lnTo>
                  <a:lnTo>
                    <a:pt x="858" y="939"/>
                  </a:lnTo>
                  <a:lnTo>
                    <a:pt x="863" y="933"/>
                  </a:lnTo>
                  <a:lnTo>
                    <a:pt x="864" y="929"/>
                  </a:lnTo>
                  <a:lnTo>
                    <a:pt x="864" y="927"/>
                  </a:lnTo>
                  <a:lnTo>
                    <a:pt x="865" y="927"/>
                  </a:lnTo>
                  <a:lnTo>
                    <a:pt x="866" y="927"/>
                  </a:lnTo>
                  <a:lnTo>
                    <a:pt x="868" y="927"/>
                  </a:lnTo>
                  <a:lnTo>
                    <a:pt x="869" y="926"/>
                  </a:lnTo>
                  <a:lnTo>
                    <a:pt x="870" y="924"/>
                  </a:lnTo>
                  <a:lnTo>
                    <a:pt x="870" y="921"/>
                  </a:lnTo>
                  <a:lnTo>
                    <a:pt x="882" y="921"/>
                  </a:lnTo>
                  <a:lnTo>
                    <a:pt x="889" y="915"/>
                  </a:lnTo>
                  <a:lnTo>
                    <a:pt x="890" y="909"/>
                  </a:lnTo>
                  <a:lnTo>
                    <a:pt x="892" y="905"/>
                  </a:lnTo>
                  <a:lnTo>
                    <a:pt x="897" y="900"/>
                  </a:lnTo>
                  <a:lnTo>
                    <a:pt x="901" y="896"/>
                  </a:lnTo>
                  <a:lnTo>
                    <a:pt x="913" y="896"/>
                  </a:lnTo>
                  <a:lnTo>
                    <a:pt x="920" y="889"/>
                  </a:lnTo>
                  <a:lnTo>
                    <a:pt x="920" y="877"/>
                  </a:lnTo>
                  <a:lnTo>
                    <a:pt x="926" y="871"/>
                  </a:lnTo>
                  <a:lnTo>
                    <a:pt x="932" y="865"/>
                  </a:lnTo>
                  <a:lnTo>
                    <a:pt x="936" y="865"/>
                  </a:lnTo>
                  <a:lnTo>
                    <a:pt x="938" y="864"/>
                  </a:lnTo>
                  <a:lnTo>
                    <a:pt x="938" y="862"/>
                  </a:lnTo>
                  <a:lnTo>
                    <a:pt x="938" y="861"/>
                  </a:lnTo>
                  <a:lnTo>
                    <a:pt x="938" y="860"/>
                  </a:lnTo>
                  <a:lnTo>
                    <a:pt x="939" y="859"/>
                  </a:lnTo>
                  <a:lnTo>
                    <a:pt x="941" y="859"/>
                  </a:lnTo>
                  <a:lnTo>
                    <a:pt x="945" y="858"/>
                  </a:lnTo>
                  <a:lnTo>
                    <a:pt x="946" y="849"/>
                  </a:lnTo>
                  <a:lnTo>
                    <a:pt x="948" y="840"/>
                  </a:lnTo>
                  <a:lnTo>
                    <a:pt x="950" y="830"/>
                  </a:lnTo>
                  <a:lnTo>
                    <a:pt x="950" y="821"/>
                  </a:lnTo>
                  <a:lnTo>
                    <a:pt x="964" y="809"/>
                  </a:lnTo>
                  <a:lnTo>
                    <a:pt x="964" y="775"/>
                  </a:lnTo>
                  <a:lnTo>
                    <a:pt x="964" y="742"/>
                  </a:lnTo>
                  <a:lnTo>
                    <a:pt x="964" y="707"/>
                  </a:lnTo>
                  <a:lnTo>
                    <a:pt x="964" y="672"/>
                  </a:lnTo>
                  <a:lnTo>
                    <a:pt x="964" y="637"/>
                  </a:lnTo>
                  <a:lnTo>
                    <a:pt x="964" y="602"/>
                  </a:lnTo>
                  <a:lnTo>
                    <a:pt x="964" y="568"/>
                  </a:lnTo>
                  <a:lnTo>
                    <a:pt x="964" y="535"/>
                  </a:lnTo>
                  <a:lnTo>
                    <a:pt x="959" y="530"/>
                  </a:lnTo>
                  <a:lnTo>
                    <a:pt x="955" y="525"/>
                  </a:lnTo>
                  <a:lnTo>
                    <a:pt x="951" y="521"/>
                  </a:lnTo>
                  <a:lnTo>
                    <a:pt x="950" y="517"/>
                  </a:lnTo>
                  <a:lnTo>
                    <a:pt x="947" y="517"/>
                  </a:lnTo>
                  <a:lnTo>
                    <a:pt x="946" y="515"/>
                  </a:lnTo>
                  <a:lnTo>
                    <a:pt x="945" y="514"/>
                  </a:lnTo>
                  <a:lnTo>
                    <a:pt x="945" y="513"/>
                  </a:lnTo>
                  <a:lnTo>
                    <a:pt x="945" y="512"/>
                  </a:lnTo>
                  <a:lnTo>
                    <a:pt x="943" y="511"/>
                  </a:lnTo>
                  <a:lnTo>
                    <a:pt x="942" y="511"/>
                  </a:lnTo>
                  <a:lnTo>
                    <a:pt x="938" y="510"/>
                  </a:lnTo>
                  <a:lnTo>
                    <a:pt x="937" y="505"/>
                  </a:lnTo>
                  <a:lnTo>
                    <a:pt x="935" y="502"/>
                  </a:lnTo>
                  <a:lnTo>
                    <a:pt x="930" y="499"/>
                  </a:lnTo>
                  <a:lnTo>
                    <a:pt x="926" y="498"/>
                  </a:lnTo>
                  <a:lnTo>
                    <a:pt x="923" y="491"/>
                  </a:lnTo>
                  <a:lnTo>
                    <a:pt x="919" y="482"/>
                  </a:lnTo>
                  <a:lnTo>
                    <a:pt x="912" y="473"/>
                  </a:lnTo>
                  <a:lnTo>
                    <a:pt x="907" y="466"/>
                  </a:lnTo>
                  <a:lnTo>
                    <a:pt x="907" y="454"/>
                  </a:lnTo>
                  <a:lnTo>
                    <a:pt x="903" y="454"/>
                  </a:lnTo>
                  <a:lnTo>
                    <a:pt x="902" y="453"/>
                  </a:lnTo>
                  <a:lnTo>
                    <a:pt x="901" y="452"/>
                  </a:lnTo>
                  <a:lnTo>
                    <a:pt x="901" y="451"/>
                  </a:lnTo>
                  <a:lnTo>
                    <a:pt x="901" y="450"/>
                  </a:lnTo>
                  <a:lnTo>
                    <a:pt x="900" y="448"/>
                  </a:lnTo>
                  <a:lnTo>
                    <a:pt x="899" y="448"/>
                  </a:lnTo>
                  <a:lnTo>
                    <a:pt x="894" y="448"/>
                  </a:lnTo>
                  <a:lnTo>
                    <a:pt x="894" y="429"/>
                  </a:lnTo>
                  <a:lnTo>
                    <a:pt x="890" y="428"/>
                  </a:lnTo>
                  <a:lnTo>
                    <a:pt x="887" y="425"/>
                  </a:lnTo>
                  <a:lnTo>
                    <a:pt x="883" y="422"/>
                  </a:lnTo>
                  <a:lnTo>
                    <a:pt x="882" y="417"/>
                  </a:lnTo>
                  <a:lnTo>
                    <a:pt x="878" y="416"/>
                  </a:lnTo>
                  <a:lnTo>
                    <a:pt x="874" y="413"/>
                  </a:lnTo>
                  <a:lnTo>
                    <a:pt x="871" y="409"/>
                  </a:lnTo>
                  <a:lnTo>
                    <a:pt x="870" y="405"/>
                  </a:lnTo>
                  <a:lnTo>
                    <a:pt x="865" y="404"/>
                  </a:lnTo>
                  <a:lnTo>
                    <a:pt x="861" y="400"/>
                  </a:lnTo>
                  <a:lnTo>
                    <a:pt x="859" y="396"/>
                  </a:lnTo>
                  <a:lnTo>
                    <a:pt x="858" y="392"/>
                  </a:lnTo>
                  <a:lnTo>
                    <a:pt x="855" y="392"/>
                  </a:lnTo>
                  <a:lnTo>
                    <a:pt x="853" y="390"/>
                  </a:lnTo>
                  <a:lnTo>
                    <a:pt x="851" y="388"/>
                  </a:lnTo>
                  <a:lnTo>
                    <a:pt x="849" y="385"/>
                  </a:lnTo>
                  <a:lnTo>
                    <a:pt x="846" y="379"/>
                  </a:lnTo>
                  <a:lnTo>
                    <a:pt x="845" y="374"/>
                  </a:lnTo>
                  <a:lnTo>
                    <a:pt x="842" y="373"/>
                  </a:lnTo>
                  <a:lnTo>
                    <a:pt x="840" y="370"/>
                  </a:lnTo>
                  <a:lnTo>
                    <a:pt x="836" y="367"/>
                  </a:lnTo>
                  <a:lnTo>
                    <a:pt x="833" y="364"/>
                  </a:lnTo>
                  <a:lnTo>
                    <a:pt x="829" y="355"/>
                  </a:lnTo>
                  <a:lnTo>
                    <a:pt x="826" y="348"/>
                  </a:lnTo>
                  <a:lnTo>
                    <a:pt x="824" y="348"/>
                  </a:lnTo>
                  <a:lnTo>
                    <a:pt x="822" y="347"/>
                  </a:lnTo>
                  <a:lnTo>
                    <a:pt x="820" y="345"/>
                  </a:lnTo>
                  <a:lnTo>
                    <a:pt x="817" y="341"/>
                  </a:lnTo>
                  <a:lnTo>
                    <a:pt x="813" y="333"/>
                  </a:lnTo>
                  <a:lnTo>
                    <a:pt x="810" y="325"/>
                  </a:lnTo>
                  <a:lnTo>
                    <a:pt x="806" y="316"/>
                  </a:lnTo>
                  <a:lnTo>
                    <a:pt x="804" y="307"/>
                  </a:lnTo>
                  <a:lnTo>
                    <a:pt x="802" y="299"/>
                  </a:lnTo>
                  <a:lnTo>
                    <a:pt x="802" y="292"/>
                  </a:lnTo>
                  <a:lnTo>
                    <a:pt x="789" y="280"/>
                  </a:lnTo>
                  <a:lnTo>
                    <a:pt x="789" y="259"/>
                  </a:lnTo>
                  <a:lnTo>
                    <a:pt x="789" y="237"/>
                  </a:lnTo>
                  <a:lnTo>
                    <a:pt x="789" y="215"/>
                  </a:lnTo>
                  <a:lnTo>
                    <a:pt x="789" y="194"/>
                  </a:lnTo>
                  <a:lnTo>
                    <a:pt x="789" y="173"/>
                  </a:lnTo>
                  <a:lnTo>
                    <a:pt x="789" y="152"/>
                  </a:lnTo>
                  <a:lnTo>
                    <a:pt x="789" y="131"/>
                  </a:lnTo>
                  <a:lnTo>
                    <a:pt x="789" y="112"/>
                  </a:lnTo>
                  <a:lnTo>
                    <a:pt x="802" y="106"/>
                  </a:lnTo>
                  <a:lnTo>
                    <a:pt x="802" y="94"/>
                  </a:lnTo>
                  <a:lnTo>
                    <a:pt x="804" y="94"/>
                  </a:lnTo>
                  <a:lnTo>
                    <a:pt x="805" y="92"/>
                  </a:lnTo>
                  <a:lnTo>
                    <a:pt x="806" y="91"/>
                  </a:lnTo>
                  <a:lnTo>
                    <a:pt x="807" y="89"/>
                  </a:lnTo>
                  <a:lnTo>
                    <a:pt x="807" y="86"/>
                  </a:lnTo>
                  <a:lnTo>
                    <a:pt x="807" y="81"/>
                  </a:lnTo>
                  <a:lnTo>
                    <a:pt x="814" y="75"/>
                  </a:lnTo>
                  <a:lnTo>
                    <a:pt x="820" y="69"/>
                  </a:lnTo>
                  <a:lnTo>
                    <a:pt x="826" y="62"/>
                  </a:lnTo>
                  <a:lnTo>
                    <a:pt x="833" y="56"/>
                  </a:lnTo>
                  <a:lnTo>
                    <a:pt x="839" y="50"/>
                  </a:lnTo>
                  <a:lnTo>
                    <a:pt x="851" y="50"/>
                  </a:lnTo>
                  <a:lnTo>
                    <a:pt x="851" y="38"/>
                  </a:lnTo>
                  <a:lnTo>
                    <a:pt x="863" y="38"/>
                  </a:lnTo>
                  <a:lnTo>
                    <a:pt x="864" y="35"/>
                  </a:lnTo>
                  <a:lnTo>
                    <a:pt x="864" y="33"/>
                  </a:lnTo>
                  <a:lnTo>
                    <a:pt x="866" y="32"/>
                  </a:lnTo>
                  <a:lnTo>
                    <a:pt x="868" y="32"/>
                  </a:lnTo>
                  <a:lnTo>
                    <a:pt x="872" y="31"/>
                  </a:lnTo>
                  <a:lnTo>
                    <a:pt x="877" y="31"/>
                  </a:lnTo>
                  <a:lnTo>
                    <a:pt x="885" y="22"/>
                  </a:lnTo>
                  <a:lnTo>
                    <a:pt x="894" y="12"/>
                  </a:lnTo>
                  <a:lnTo>
                    <a:pt x="907" y="12"/>
                  </a:lnTo>
                  <a:lnTo>
                    <a:pt x="908" y="11"/>
                  </a:lnTo>
                  <a:lnTo>
                    <a:pt x="910" y="9"/>
                  </a:lnTo>
                  <a:lnTo>
                    <a:pt x="913" y="8"/>
                  </a:lnTo>
                  <a:lnTo>
                    <a:pt x="918" y="6"/>
                  </a:lnTo>
                  <a:lnTo>
                    <a:pt x="926" y="6"/>
                  </a:lnTo>
                  <a:lnTo>
                    <a:pt x="932" y="6"/>
                  </a:lnTo>
                  <a:lnTo>
                    <a:pt x="932" y="4"/>
                  </a:lnTo>
                  <a:lnTo>
                    <a:pt x="936" y="3"/>
                  </a:lnTo>
                  <a:lnTo>
                    <a:pt x="939" y="2"/>
                  </a:lnTo>
                  <a:lnTo>
                    <a:pt x="945" y="1"/>
                  </a:lnTo>
                  <a:lnTo>
                    <a:pt x="959" y="1"/>
                  </a:lnTo>
                  <a:lnTo>
                    <a:pt x="978" y="0"/>
                  </a:lnTo>
                  <a:lnTo>
                    <a:pt x="1026" y="2"/>
                  </a:lnTo>
                  <a:lnTo>
                    <a:pt x="1082" y="5"/>
                  </a:lnTo>
                  <a:lnTo>
                    <a:pt x="1138" y="10"/>
                  </a:lnTo>
                  <a:lnTo>
                    <a:pt x="1189" y="14"/>
                  </a:lnTo>
                  <a:lnTo>
                    <a:pt x="1228" y="18"/>
                  </a:lnTo>
                  <a:lnTo>
                    <a:pt x="1249" y="19"/>
                  </a:lnTo>
                  <a:lnTo>
                    <a:pt x="1255" y="23"/>
                  </a:lnTo>
                  <a:lnTo>
                    <a:pt x="1263" y="28"/>
                  </a:lnTo>
                  <a:lnTo>
                    <a:pt x="1271" y="32"/>
                  </a:lnTo>
                  <a:lnTo>
                    <a:pt x="1280" y="37"/>
                  </a:lnTo>
                  <a:lnTo>
                    <a:pt x="1296" y="44"/>
                  </a:lnTo>
                  <a:lnTo>
                    <a:pt x="1305" y="50"/>
                  </a:lnTo>
                  <a:lnTo>
                    <a:pt x="1317" y="50"/>
                  </a:lnTo>
                  <a:lnTo>
                    <a:pt x="1319" y="52"/>
                  </a:lnTo>
                  <a:lnTo>
                    <a:pt x="1319" y="53"/>
                  </a:lnTo>
                  <a:lnTo>
                    <a:pt x="1320" y="54"/>
                  </a:lnTo>
                  <a:lnTo>
                    <a:pt x="1322" y="56"/>
                  </a:lnTo>
                  <a:lnTo>
                    <a:pt x="1325" y="56"/>
                  </a:lnTo>
                  <a:lnTo>
                    <a:pt x="1330" y="56"/>
                  </a:lnTo>
                  <a:lnTo>
                    <a:pt x="1331" y="60"/>
                  </a:lnTo>
                  <a:lnTo>
                    <a:pt x="1332" y="63"/>
                  </a:lnTo>
                  <a:lnTo>
                    <a:pt x="1334" y="66"/>
                  </a:lnTo>
                  <a:lnTo>
                    <a:pt x="1336" y="68"/>
                  </a:lnTo>
                  <a:lnTo>
                    <a:pt x="1341" y="71"/>
                  </a:lnTo>
                  <a:lnTo>
                    <a:pt x="1343" y="75"/>
                  </a:lnTo>
                  <a:lnTo>
                    <a:pt x="1355" y="75"/>
                  </a:lnTo>
                  <a:lnTo>
                    <a:pt x="1361" y="81"/>
                  </a:lnTo>
                  <a:lnTo>
                    <a:pt x="1368" y="87"/>
                  </a:lnTo>
                  <a:lnTo>
                    <a:pt x="1368" y="90"/>
                  </a:lnTo>
                  <a:lnTo>
                    <a:pt x="1369" y="92"/>
                  </a:lnTo>
                  <a:lnTo>
                    <a:pt x="1370" y="94"/>
                  </a:lnTo>
                  <a:lnTo>
                    <a:pt x="1371" y="94"/>
                  </a:lnTo>
                  <a:lnTo>
                    <a:pt x="1372" y="94"/>
                  </a:lnTo>
                  <a:lnTo>
                    <a:pt x="1373" y="95"/>
                  </a:lnTo>
                  <a:lnTo>
                    <a:pt x="1373" y="96"/>
                  </a:lnTo>
                  <a:lnTo>
                    <a:pt x="1374" y="99"/>
                  </a:lnTo>
                  <a:lnTo>
                    <a:pt x="1387" y="99"/>
                  </a:lnTo>
                  <a:lnTo>
                    <a:pt x="1392" y="106"/>
                  </a:lnTo>
                  <a:lnTo>
                    <a:pt x="1392" y="109"/>
                  </a:lnTo>
                  <a:lnTo>
                    <a:pt x="1393" y="111"/>
                  </a:lnTo>
                  <a:lnTo>
                    <a:pt x="1394" y="111"/>
                  </a:lnTo>
                  <a:lnTo>
                    <a:pt x="1396" y="112"/>
                  </a:lnTo>
                  <a:lnTo>
                    <a:pt x="1397" y="112"/>
                  </a:lnTo>
                  <a:lnTo>
                    <a:pt x="1398" y="112"/>
                  </a:lnTo>
                  <a:lnTo>
                    <a:pt x="1399" y="115"/>
                  </a:lnTo>
                  <a:lnTo>
                    <a:pt x="1399" y="118"/>
                  </a:lnTo>
                  <a:lnTo>
                    <a:pt x="1411" y="118"/>
                  </a:lnTo>
                  <a:lnTo>
                    <a:pt x="1412" y="120"/>
                  </a:lnTo>
                  <a:lnTo>
                    <a:pt x="1415" y="121"/>
                  </a:lnTo>
                  <a:lnTo>
                    <a:pt x="1418" y="123"/>
                  </a:lnTo>
                  <a:lnTo>
                    <a:pt x="1421" y="124"/>
                  </a:lnTo>
                  <a:lnTo>
                    <a:pt x="1429" y="125"/>
                  </a:lnTo>
                  <a:lnTo>
                    <a:pt x="1436" y="125"/>
                  </a:lnTo>
                  <a:lnTo>
                    <a:pt x="1448" y="134"/>
                  </a:lnTo>
                  <a:lnTo>
                    <a:pt x="1461" y="143"/>
                  </a:lnTo>
                  <a:lnTo>
                    <a:pt x="1479" y="143"/>
                  </a:lnTo>
                  <a:lnTo>
                    <a:pt x="1483" y="146"/>
                  </a:lnTo>
                  <a:lnTo>
                    <a:pt x="1489" y="149"/>
                  </a:lnTo>
                  <a:lnTo>
                    <a:pt x="1499" y="155"/>
                  </a:lnTo>
                  <a:lnTo>
                    <a:pt x="1513" y="159"/>
                  </a:lnTo>
                  <a:lnTo>
                    <a:pt x="1525" y="165"/>
                  </a:lnTo>
                  <a:lnTo>
                    <a:pt x="1537" y="171"/>
                  </a:lnTo>
                  <a:lnTo>
                    <a:pt x="1547" y="175"/>
                  </a:lnTo>
                  <a:lnTo>
                    <a:pt x="1554" y="181"/>
                  </a:lnTo>
                  <a:lnTo>
                    <a:pt x="1573" y="181"/>
                  </a:lnTo>
                  <a:lnTo>
                    <a:pt x="1581" y="186"/>
                  </a:lnTo>
                  <a:lnTo>
                    <a:pt x="1593" y="192"/>
                  </a:lnTo>
                  <a:lnTo>
                    <a:pt x="1608" y="198"/>
                  </a:lnTo>
                  <a:lnTo>
                    <a:pt x="1624" y="205"/>
                  </a:lnTo>
                  <a:lnTo>
                    <a:pt x="1640" y="212"/>
                  </a:lnTo>
                  <a:lnTo>
                    <a:pt x="1653" y="219"/>
                  </a:lnTo>
                  <a:lnTo>
                    <a:pt x="1659" y="222"/>
                  </a:lnTo>
                  <a:lnTo>
                    <a:pt x="1662" y="225"/>
                  </a:lnTo>
                  <a:lnTo>
                    <a:pt x="1666" y="227"/>
                  </a:lnTo>
                  <a:lnTo>
                    <a:pt x="1666" y="230"/>
                  </a:lnTo>
                  <a:lnTo>
                    <a:pt x="1671" y="231"/>
                  </a:lnTo>
                  <a:lnTo>
                    <a:pt x="1676" y="234"/>
                  </a:lnTo>
                  <a:lnTo>
                    <a:pt x="1680" y="239"/>
                  </a:lnTo>
                  <a:lnTo>
                    <a:pt x="1685" y="243"/>
                  </a:lnTo>
                  <a:lnTo>
                    <a:pt x="1685" y="255"/>
                  </a:lnTo>
                  <a:lnTo>
                    <a:pt x="1691" y="261"/>
                  </a:lnTo>
                  <a:lnTo>
                    <a:pt x="1694" y="262"/>
                  </a:lnTo>
                  <a:lnTo>
                    <a:pt x="1697" y="264"/>
                  </a:lnTo>
                  <a:lnTo>
                    <a:pt x="1699" y="268"/>
                  </a:lnTo>
                  <a:lnTo>
                    <a:pt x="1703" y="271"/>
                  </a:lnTo>
                  <a:lnTo>
                    <a:pt x="1708" y="280"/>
                  </a:lnTo>
                  <a:lnTo>
                    <a:pt x="1709" y="287"/>
                  </a:lnTo>
                  <a:lnTo>
                    <a:pt x="1714" y="287"/>
                  </a:lnTo>
                  <a:lnTo>
                    <a:pt x="1715" y="287"/>
                  </a:lnTo>
                  <a:lnTo>
                    <a:pt x="1716" y="288"/>
                  </a:lnTo>
                  <a:lnTo>
                    <a:pt x="1716" y="289"/>
                  </a:lnTo>
                  <a:lnTo>
                    <a:pt x="1716" y="290"/>
                  </a:lnTo>
                  <a:lnTo>
                    <a:pt x="1717" y="291"/>
                  </a:lnTo>
                  <a:lnTo>
                    <a:pt x="1718" y="292"/>
                  </a:lnTo>
                  <a:lnTo>
                    <a:pt x="1723" y="292"/>
                  </a:lnTo>
                  <a:lnTo>
                    <a:pt x="1723" y="304"/>
                  </a:lnTo>
                  <a:lnTo>
                    <a:pt x="1726" y="306"/>
                  </a:lnTo>
                  <a:lnTo>
                    <a:pt x="1729" y="307"/>
                  </a:lnTo>
                  <a:lnTo>
                    <a:pt x="1732" y="309"/>
                  </a:lnTo>
                  <a:lnTo>
                    <a:pt x="1734" y="311"/>
                  </a:lnTo>
                  <a:lnTo>
                    <a:pt x="1737" y="316"/>
                  </a:lnTo>
                  <a:lnTo>
                    <a:pt x="1741" y="317"/>
                  </a:lnTo>
                  <a:lnTo>
                    <a:pt x="1741" y="330"/>
                  </a:lnTo>
                  <a:lnTo>
                    <a:pt x="1745" y="331"/>
                  </a:lnTo>
                  <a:lnTo>
                    <a:pt x="1748" y="336"/>
                  </a:lnTo>
                  <a:lnTo>
                    <a:pt x="1749" y="338"/>
                  </a:lnTo>
                  <a:lnTo>
                    <a:pt x="1753" y="340"/>
                  </a:lnTo>
                  <a:lnTo>
                    <a:pt x="1755" y="341"/>
                  </a:lnTo>
                  <a:lnTo>
                    <a:pt x="1760" y="342"/>
                  </a:lnTo>
                  <a:lnTo>
                    <a:pt x="1763" y="351"/>
                  </a:lnTo>
                  <a:lnTo>
                    <a:pt x="1766" y="361"/>
                  </a:lnTo>
                  <a:lnTo>
                    <a:pt x="1768" y="361"/>
                  </a:lnTo>
                  <a:lnTo>
                    <a:pt x="1771" y="362"/>
                  </a:lnTo>
                  <a:lnTo>
                    <a:pt x="1773" y="365"/>
                  </a:lnTo>
                  <a:lnTo>
                    <a:pt x="1775" y="368"/>
                  </a:lnTo>
                  <a:lnTo>
                    <a:pt x="1780" y="374"/>
                  </a:lnTo>
                  <a:lnTo>
                    <a:pt x="1784" y="379"/>
                  </a:lnTo>
                  <a:lnTo>
                    <a:pt x="1784" y="398"/>
                  </a:lnTo>
                  <a:lnTo>
                    <a:pt x="1786" y="399"/>
                  </a:lnTo>
                  <a:lnTo>
                    <a:pt x="1789" y="402"/>
                  </a:lnTo>
                  <a:lnTo>
                    <a:pt x="1790" y="406"/>
                  </a:lnTo>
                  <a:lnTo>
                    <a:pt x="1792" y="410"/>
                  </a:lnTo>
                  <a:lnTo>
                    <a:pt x="1793" y="415"/>
                  </a:lnTo>
                  <a:lnTo>
                    <a:pt x="1796" y="419"/>
                  </a:lnTo>
                  <a:lnTo>
                    <a:pt x="1799" y="422"/>
                  </a:lnTo>
                  <a:lnTo>
                    <a:pt x="1803" y="423"/>
                  </a:lnTo>
                  <a:lnTo>
                    <a:pt x="1804" y="433"/>
                  </a:lnTo>
                  <a:lnTo>
                    <a:pt x="1806" y="442"/>
                  </a:lnTo>
                  <a:lnTo>
                    <a:pt x="1809" y="451"/>
                  </a:lnTo>
                  <a:lnTo>
                    <a:pt x="1810" y="461"/>
                  </a:lnTo>
                  <a:lnTo>
                    <a:pt x="1822" y="466"/>
                  </a:lnTo>
                  <a:lnTo>
                    <a:pt x="1821" y="492"/>
                  </a:lnTo>
                  <a:lnTo>
                    <a:pt x="1820" y="520"/>
                  </a:lnTo>
                  <a:lnTo>
                    <a:pt x="1818" y="549"/>
                  </a:lnTo>
                  <a:lnTo>
                    <a:pt x="1815" y="581"/>
                  </a:lnTo>
                  <a:lnTo>
                    <a:pt x="1813" y="614"/>
                  </a:lnTo>
                  <a:lnTo>
                    <a:pt x="1811" y="646"/>
                  </a:lnTo>
                  <a:lnTo>
                    <a:pt x="1810" y="678"/>
                  </a:lnTo>
                  <a:lnTo>
                    <a:pt x="1810" y="710"/>
                  </a:lnTo>
                  <a:lnTo>
                    <a:pt x="1812" y="710"/>
                  </a:lnTo>
                  <a:lnTo>
                    <a:pt x="1814" y="711"/>
                  </a:lnTo>
                  <a:lnTo>
                    <a:pt x="1816" y="713"/>
                  </a:lnTo>
                  <a:lnTo>
                    <a:pt x="1818" y="716"/>
                  </a:lnTo>
                  <a:lnTo>
                    <a:pt x="1821" y="722"/>
                  </a:lnTo>
                  <a:lnTo>
                    <a:pt x="1822" y="727"/>
                  </a:lnTo>
                  <a:lnTo>
                    <a:pt x="1828" y="734"/>
                  </a:lnTo>
                  <a:lnTo>
                    <a:pt x="1834" y="741"/>
                  </a:lnTo>
                  <a:lnTo>
                    <a:pt x="1847" y="746"/>
                  </a:lnTo>
                  <a:lnTo>
                    <a:pt x="1859" y="753"/>
                  </a:lnTo>
                  <a:lnTo>
                    <a:pt x="1859" y="756"/>
                  </a:lnTo>
                  <a:lnTo>
                    <a:pt x="1860" y="759"/>
                  </a:lnTo>
                  <a:lnTo>
                    <a:pt x="1861" y="759"/>
                  </a:lnTo>
                  <a:lnTo>
                    <a:pt x="1862" y="759"/>
                  </a:lnTo>
                  <a:lnTo>
                    <a:pt x="1863" y="759"/>
                  </a:lnTo>
                  <a:lnTo>
                    <a:pt x="1864" y="760"/>
                  </a:lnTo>
                  <a:lnTo>
                    <a:pt x="1866" y="762"/>
                  </a:lnTo>
                  <a:lnTo>
                    <a:pt x="1866" y="765"/>
                  </a:lnTo>
                  <a:lnTo>
                    <a:pt x="1878" y="765"/>
                  </a:lnTo>
                  <a:lnTo>
                    <a:pt x="1885" y="778"/>
                  </a:lnTo>
                  <a:lnTo>
                    <a:pt x="1890" y="790"/>
                  </a:lnTo>
                  <a:lnTo>
                    <a:pt x="1902" y="802"/>
                  </a:lnTo>
                  <a:lnTo>
                    <a:pt x="1915" y="814"/>
                  </a:lnTo>
                  <a:lnTo>
                    <a:pt x="1916" y="826"/>
                  </a:lnTo>
                  <a:lnTo>
                    <a:pt x="1917" y="837"/>
                  </a:lnTo>
                  <a:lnTo>
                    <a:pt x="1918" y="848"/>
                  </a:lnTo>
                  <a:lnTo>
                    <a:pt x="1920" y="858"/>
                  </a:lnTo>
                  <a:lnTo>
                    <a:pt x="1927" y="879"/>
                  </a:lnTo>
                  <a:lnTo>
                    <a:pt x="1934" y="899"/>
                  </a:lnTo>
                  <a:lnTo>
                    <a:pt x="1940" y="922"/>
                  </a:lnTo>
                  <a:lnTo>
                    <a:pt x="1947" y="944"/>
                  </a:lnTo>
                  <a:lnTo>
                    <a:pt x="1950" y="956"/>
                  </a:lnTo>
                  <a:lnTo>
                    <a:pt x="1953" y="970"/>
                  </a:lnTo>
                  <a:lnTo>
                    <a:pt x="1955" y="982"/>
                  </a:lnTo>
                  <a:lnTo>
                    <a:pt x="1956" y="996"/>
                  </a:lnTo>
                  <a:lnTo>
                    <a:pt x="1955" y="1008"/>
                  </a:lnTo>
                  <a:lnTo>
                    <a:pt x="1953" y="1021"/>
                  </a:lnTo>
                  <a:lnTo>
                    <a:pt x="1949" y="1037"/>
                  </a:lnTo>
                  <a:lnTo>
                    <a:pt x="1946" y="1052"/>
                  </a:lnTo>
                  <a:lnTo>
                    <a:pt x="1941" y="1069"/>
                  </a:lnTo>
                  <a:lnTo>
                    <a:pt x="1937" y="1083"/>
                  </a:lnTo>
                  <a:lnTo>
                    <a:pt x="1935" y="1097"/>
                  </a:lnTo>
                  <a:lnTo>
                    <a:pt x="1934" y="1107"/>
                  </a:lnTo>
                  <a:lnTo>
                    <a:pt x="1897" y="1133"/>
                  </a:lnTo>
                  <a:lnTo>
                    <a:pt x="1899" y="1123"/>
                  </a:lnTo>
                  <a:lnTo>
                    <a:pt x="1902" y="1114"/>
                  </a:lnTo>
                  <a:lnTo>
                    <a:pt x="1892" y="1117"/>
                  </a:lnTo>
                  <a:lnTo>
                    <a:pt x="1866" y="1123"/>
                  </a:lnTo>
                  <a:lnTo>
                    <a:pt x="1828" y="1128"/>
                  </a:lnTo>
                  <a:lnTo>
                    <a:pt x="1784" y="1135"/>
                  </a:lnTo>
                  <a:lnTo>
                    <a:pt x="1741" y="1140"/>
                  </a:lnTo>
                  <a:lnTo>
                    <a:pt x="1704" y="1146"/>
                  </a:lnTo>
                  <a:lnTo>
                    <a:pt x="1677" y="1149"/>
                  </a:lnTo>
                  <a:lnTo>
                    <a:pt x="1666" y="1150"/>
                  </a:lnTo>
                  <a:lnTo>
                    <a:pt x="1666" y="1154"/>
                  </a:lnTo>
                  <a:lnTo>
                    <a:pt x="1665" y="1157"/>
                  </a:lnTo>
                  <a:lnTo>
                    <a:pt x="1662" y="1160"/>
                  </a:lnTo>
                  <a:lnTo>
                    <a:pt x="1660" y="1163"/>
                  </a:lnTo>
                  <a:lnTo>
                    <a:pt x="1655" y="1168"/>
                  </a:lnTo>
                  <a:lnTo>
                    <a:pt x="1648" y="1173"/>
                  </a:lnTo>
                  <a:lnTo>
                    <a:pt x="1641" y="1177"/>
                  </a:lnTo>
                  <a:lnTo>
                    <a:pt x="1634" y="1183"/>
                  </a:lnTo>
                  <a:lnTo>
                    <a:pt x="1632" y="1185"/>
                  </a:lnTo>
                  <a:lnTo>
                    <a:pt x="1630" y="1188"/>
                  </a:lnTo>
                  <a:lnTo>
                    <a:pt x="1629" y="1191"/>
                  </a:lnTo>
                  <a:lnTo>
                    <a:pt x="1629" y="1194"/>
                  </a:lnTo>
                  <a:lnTo>
                    <a:pt x="1617" y="1201"/>
                  </a:lnTo>
                  <a:lnTo>
                    <a:pt x="1617" y="1213"/>
                  </a:lnTo>
                  <a:lnTo>
                    <a:pt x="1610" y="1220"/>
                  </a:lnTo>
                  <a:lnTo>
                    <a:pt x="1604" y="1225"/>
                  </a:lnTo>
                  <a:lnTo>
                    <a:pt x="1601" y="1226"/>
                  </a:lnTo>
                  <a:lnTo>
                    <a:pt x="1599" y="1226"/>
                  </a:lnTo>
                  <a:lnTo>
                    <a:pt x="1598" y="1227"/>
                  </a:lnTo>
                  <a:lnTo>
                    <a:pt x="1598" y="1229"/>
                  </a:lnTo>
                  <a:lnTo>
                    <a:pt x="1598" y="1230"/>
                  </a:lnTo>
                  <a:lnTo>
                    <a:pt x="1597" y="1231"/>
                  </a:lnTo>
                  <a:lnTo>
                    <a:pt x="1595" y="1232"/>
                  </a:lnTo>
                  <a:lnTo>
                    <a:pt x="1592" y="1232"/>
                  </a:lnTo>
                  <a:lnTo>
                    <a:pt x="1590" y="1235"/>
                  </a:lnTo>
                  <a:lnTo>
                    <a:pt x="1586" y="1240"/>
                  </a:lnTo>
                  <a:lnTo>
                    <a:pt x="1581" y="1244"/>
                  </a:lnTo>
                  <a:lnTo>
                    <a:pt x="1575" y="1250"/>
                  </a:lnTo>
                  <a:lnTo>
                    <a:pt x="1569" y="1254"/>
                  </a:lnTo>
                  <a:lnTo>
                    <a:pt x="1563" y="1259"/>
                  </a:lnTo>
                  <a:lnTo>
                    <a:pt x="1557" y="1262"/>
                  </a:lnTo>
                  <a:lnTo>
                    <a:pt x="1554" y="1263"/>
                  </a:lnTo>
                  <a:lnTo>
                    <a:pt x="1554" y="1265"/>
                  </a:lnTo>
                  <a:lnTo>
                    <a:pt x="1552" y="1268"/>
                  </a:lnTo>
                  <a:lnTo>
                    <a:pt x="1550" y="1270"/>
                  </a:lnTo>
                  <a:lnTo>
                    <a:pt x="1547" y="1271"/>
                  </a:lnTo>
                  <a:lnTo>
                    <a:pt x="1541" y="1274"/>
                  </a:lnTo>
                  <a:lnTo>
                    <a:pt x="1535" y="1275"/>
                  </a:lnTo>
                  <a:lnTo>
                    <a:pt x="1526" y="1284"/>
                  </a:lnTo>
                  <a:lnTo>
                    <a:pt x="1517" y="1294"/>
                  </a:lnTo>
                  <a:lnTo>
                    <a:pt x="1505" y="1294"/>
                  </a:lnTo>
                  <a:lnTo>
                    <a:pt x="1504" y="1296"/>
                  </a:lnTo>
                  <a:lnTo>
                    <a:pt x="1503" y="1298"/>
                  </a:lnTo>
                  <a:lnTo>
                    <a:pt x="1501" y="1299"/>
                  </a:lnTo>
                  <a:lnTo>
                    <a:pt x="1497" y="1299"/>
                  </a:lnTo>
                  <a:lnTo>
                    <a:pt x="1492" y="1300"/>
                  </a:lnTo>
                  <a:lnTo>
                    <a:pt x="1486" y="1300"/>
                  </a:lnTo>
                  <a:lnTo>
                    <a:pt x="1485" y="1302"/>
                  </a:lnTo>
                  <a:lnTo>
                    <a:pt x="1484" y="1303"/>
                  </a:lnTo>
                  <a:lnTo>
                    <a:pt x="1482" y="1304"/>
                  </a:lnTo>
                  <a:lnTo>
                    <a:pt x="1479" y="1306"/>
                  </a:lnTo>
                  <a:lnTo>
                    <a:pt x="1473" y="1307"/>
                  </a:lnTo>
                  <a:lnTo>
                    <a:pt x="1467" y="1307"/>
                  </a:lnTo>
                  <a:lnTo>
                    <a:pt x="1467" y="1309"/>
                  </a:lnTo>
                  <a:lnTo>
                    <a:pt x="1465" y="1311"/>
                  </a:lnTo>
                  <a:lnTo>
                    <a:pt x="1463" y="1312"/>
                  </a:lnTo>
                  <a:lnTo>
                    <a:pt x="1459" y="1314"/>
                  </a:lnTo>
                  <a:lnTo>
                    <a:pt x="1451" y="1318"/>
                  </a:lnTo>
                  <a:lnTo>
                    <a:pt x="1442" y="1321"/>
                  </a:lnTo>
                  <a:lnTo>
                    <a:pt x="1434" y="1323"/>
                  </a:lnTo>
                  <a:lnTo>
                    <a:pt x="1425" y="1327"/>
                  </a:lnTo>
                  <a:lnTo>
                    <a:pt x="1419" y="1329"/>
                  </a:lnTo>
                  <a:lnTo>
                    <a:pt x="1418" y="1331"/>
                  </a:lnTo>
                  <a:lnTo>
                    <a:pt x="1387" y="1331"/>
                  </a:lnTo>
                  <a:lnTo>
                    <a:pt x="1386" y="1333"/>
                  </a:lnTo>
                  <a:lnTo>
                    <a:pt x="1384" y="1335"/>
                  </a:lnTo>
                  <a:lnTo>
                    <a:pt x="1382" y="1336"/>
                  </a:lnTo>
                  <a:lnTo>
                    <a:pt x="1379" y="1337"/>
                  </a:lnTo>
                  <a:lnTo>
                    <a:pt x="1373" y="1338"/>
                  </a:lnTo>
                  <a:lnTo>
                    <a:pt x="1368" y="1338"/>
                  </a:lnTo>
                  <a:lnTo>
                    <a:pt x="1365" y="1340"/>
                  </a:lnTo>
                  <a:lnTo>
                    <a:pt x="1362" y="1342"/>
                  </a:lnTo>
                  <a:lnTo>
                    <a:pt x="1355" y="1345"/>
                  </a:lnTo>
                  <a:lnTo>
                    <a:pt x="1349" y="1346"/>
                  </a:lnTo>
                  <a:lnTo>
                    <a:pt x="1333" y="1349"/>
                  </a:lnTo>
                  <a:lnTo>
                    <a:pt x="1324" y="1350"/>
                  </a:lnTo>
                  <a:lnTo>
                    <a:pt x="1324" y="1352"/>
                  </a:lnTo>
                  <a:lnTo>
                    <a:pt x="1323" y="1354"/>
                  </a:lnTo>
                  <a:lnTo>
                    <a:pt x="1322" y="1355"/>
                  </a:lnTo>
                  <a:lnTo>
                    <a:pt x="1320" y="1356"/>
                  </a:lnTo>
                  <a:lnTo>
                    <a:pt x="1316" y="1356"/>
                  </a:lnTo>
                  <a:lnTo>
                    <a:pt x="1312" y="1356"/>
                  </a:lnTo>
                  <a:lnTo>
                    <a:pt x="1312" y="1368"/>
                  </a:lnTo>
                  <a:lnTo>
                    <a:pt x="1310" y="1369"/>
                  </a:lnTo>
                  <a:lnTo>
                    <a:pt x="1309" y="1369"/>
                  </a:lnTo>
                  <a:lnTo>
                    <a:pt x="1307" y="1371"/>
                  </a:lnTo>
                  <a:lnTo>
                    <a:pt x="1306" y="1373"/>
                  </a:lnTo>
                  <a:lnTo>
                    <a:pt x="1305" y="1377"/>
                  </a:lnTo>
                  <a:lnTo>
                    <a:pt x="1305" y="1381"/>
                  </a:lnTo>
                  <a:lnTo>
                    <a:pt x="1293" y="1381"/>
                  </a:lnTo>
                  <a:lnTo>
                    <a:pt x="1293" y="1394"/>
                  </a:lnTo>
                  <a:lnTo>
                    <a:pt x="1291" y="1394"/>
                  </a:lnTo>
                  <a:lnTo>
                    <a:pt x="1290" y="1395"/>
                  </a:lnTo>
                  <a:lnTo>
                    <a:pt x="1288" y="1396"/>
                  </a:lnTo>
                  <a:lnTo>
                    <a:pt x="1287" y="1397"/>
                  </a:lnTo>
                  <a:lnTo>
                    <a:pt x="1287" y="1402"/>
                  </a:lnTo>
                  <a:lnTo>
                    <a:pt x="1286" y="1406"/>
                  </a:lnTo>
                  <a:lnTo>
                    <a:pt x="1285" y="1406"/>
                  </a:lnTo>
                  <a:lnTo>
                    <a:pt x="1283" y="1407"/>
                  </a:lnTo>
                  <a:lnTo>
                    <a:pt x="1282" y="1408"/>
                  </a:lnTo>
                  <a:lnTo>
                    <a:pt x="1282" y="1409"/>
                  </a:lnTo>
                  <a:lnTo>
                    <a:pt x="1281" y="1414"/>
                  </a:lnTo>
                  <a:lnTo>
                    <a:pt x="1281" y="1418"/>
                  </a:lnTo>
                  <a:lnTo>
                    <a:pt x="1278" y="1419"/>
                  </a:lnTo>
                  <a:lnTo>
                    <a:pt x="1276" y="1423"/>
                  </a:lnTo>
                  <a:lnTo>
                    <a:pt x="1274" y="1426"/>
                  </a:lnTo>
                  <a:lnTo>
                    <a:pt x="1272" y="1432"/>
                  </a:lnTo>
                  <a:lnTo>
                    <a:pt x="1269" y="1442"/>
                  </a:lnTo>
                  <a:lnTo>
                    <a:pt x="1268" y="1450"/>
                  </a:lnTo>
                  <a:lnTo>
                    <a:pt x="1266" y="1451"/>
                  </a:lnTo>
                  <a:lnTo>
                    <a:pt x="1265" y="1455"/>
                  </a:lnTo>
                  <a:lnTo>
                    <a:pt x="1264" y="1462"/>
                  </a:lnTo>
                  <a:lnTo>
                    <a:pt x="1263" y="1469"/>
                  </a:lnTo>
                  <a:lnTo>
                    <a:pt x="1262" y="1484"/>
                  </a:lnTo>
                  <a:lnTo>
                    <a:pt x="1262" y="1493"/>
                  </a:lnTo>
                  <a:lnTo>
                    <a:pt x="1259" y="1494"/>
                  </a:lnTo>
                  <a:lnTo>
                    <a:pt x="1258" y="1499"/>
                  </a:lnTo>
                  <a:lnTo>
                    <a:pt x="1257" y="1505"/>
                  </a:lnTo>
                  <a:lnTo>
                    <a:pt x="1256" y="1512"/>
                  </a:lnTo>
                  <a:lnTo>
                    <a:pt x="1256" y="1528"/>
                  </a:lnTo>
                  <a:lnTo>
                    <a:pt x="1256" y="1537"/>
                  </a:lnTo>
                  <a:lnTo>
                    <a:pt x="1254" y="1539"/>
                  </a:lnTo>
                  <a:lnTo>
                    <a:pt x="1252" y="1544"/>
                  </a:lnTo>
                  <a:lnTo>
                    <a:pt x="1249" y="1553"/>
                  </a:lnTo>
                  <a:lnTo>
                    <a:pt x="1247" y="1563"/>
                  </a:lnTo>
                  <a:lnTo>
                    <a:pt x="1244" y="1583"/>
                  </a:lnTo>
                  <a:lnTo>
                    <a:pt x="1243" y="1599"/>
                  </a:lnTo>
                  <a:lnTo>
                    <a:pt x="1248" y="1601"/>
                  </a:lnTo>
                  <a:lnTo>
                    <a:pt x="1255" y="1606"/>
                  </a:lnTo>
                  <a:lnTo>
                    <a:pt x="1259" y="1611"/>
                  </a:lnTo>
                  <a:lnTo>
                    <a:pt x="1262" y="1617"/>
                  </a:lnTo>
                  <a:lnTo>
                    <a:pt x="1268" y="1624"/>
                  </a:lnTo>
                  <a:lnTo>
                    <a:pt x="1276" y="1625"/>
                  </a:lnTo>
                  <a:lnTo>
                    <a:pt x="1284" y="1626"/>
                  </a:lnTo>
                  <a:lnTo>
                    <a:pt x="1292" y="1629"/>
                  </a:lnTo>
                  <a:lnTo>
                    <a:pt x="1298" y="1634"/>
                  </a:lnTo>
                  <a:lnTo>
                    <a:pt x="1306" y="1638"/>
                  </a:lnTo>
                  <a:lnTo>
                    <a:pt x="1313" y="1645"/>
                  </a:lnTo>
                  <a:lnTo>
                    <a:pt x="1320" y="1652"/>
                  </a:lnTo>
                  <a:lnTo>
                    <a:pt x="1326" y="1658"/>
                  </a:lnTo>
                  <a:lnTo>
                    <a:pt x="1340" y="1676"/>
                  </a:lnTo>
                  <a:lnTo>
                    <a:pt x="1352" y="1695"/>
                  </a:lnTo>
                  <a:lnTo>
                    <a:pt x="1363" y="1715"/>
                  </a:lnTo>
                  <a:lnTo>
                    <a:pt x="1374" y="1735"/>
                  </a:lnTo>
                  <a:lnTo>
                    <a:pt x="1396" y="1777"/>
                  </a:lnTo>
                  <a:lnTo>
                    <a:pt x="1415" y="1812"/>
                  </a:lnTo>
                  <a:lnTo>
                    <a:pt x="1424" y="1827"/>
                  </a:lnTo>
                  <a:lnTo>
                    <a:pt x="1431" y="1838"/>
                  </a:lnTo>
                  <a:lnTo>
                    <a:pt x="1436" y="1842"/>
                  </a:lnTo>
                  <a:lnTo>
                    <a:pt x="1440" y="1845"/>
                  </a:lnTo>
                  <a:lnTo>
                    <a:pt x="1445" y="1847"/>
                  </a:lnTo>
                  <a:lnTo>
                    <a:pt x="1448" y="1848"/>
                  </a:lnTo>
                  <a:lnTo>
                    <a:pt x="1448" y="1866"/>
                  </a:lnTo>
                  <a:lnTo>
                    <a:pt x="1450" y="1868"/>
                  </a:lnTo>
                  <a:lnTo>
                    <a:pt x="1453" y="1873"/>
                  </a:lnTo>
                  <a:lnTo>
                    <a:pt x="1454" y="1878"/>
                  </a:lnTo>
                  <a:lnTo>
                    <a:pt x="1454" y="1886"/>
                  </a:lnTo>
                  <a:lnTo>
                    <a:pt x="1455" y="1900"/>
                  </a:lnTo>
                  <a:lnTo>
                    <a:pt x="1455" y="1909"/>
                  </a:lnTo>
                  <a:lnTo>
                    <a:pt x="1456" y="1910"/>
                  </a:lnTo>
                  <a:lnTo>
                    <a:pt x="1457" y="1912"/>
                  </a:lnTo>
                  <a:lnTo>
                    <a:pt x="1458" y="1914"/>
                  </a:lnTo>
                  <a:lnTo>
                    <a:pt x="1459" y="1917"/>
                  </a:lnTo>
                  <a:lnTo>
                    <a:pt x="1459" y="1926"/>
                  </a:lnTo>
                  <a:lnTo>
                    <a:pt x="1459" y="1937"/>
                  </a:lnTo>
                  <a:lnTo>
                    <a:pt x="1455" y="1965"/>
                  </a:lnTo>
                  <a:lnTo>
                    <a:pt x="1449" y="1996"/>
                  </a:lnTo>
                  <a:lnTo>
                    <a:pt x="1442" y="2029"/>
                  </a:lnTo>
                  <a:lnTo>
                    <a:pt x="1437" y="2057"/>
                  </a:lnTo>
                  <a:lnTo>
                    <a:pt x="1431" y="2077"/>
                  </a:lnTo>
                  <a:lnTo>
                    <a:pt x="1430" y="2083"/>
                  </a:lnTo>
                  <a:lnTo>
                    <a:pt x="1418" y="2090"/>
                  </a:lnTo>
                  <a:lnTo>
                    <a:pt x="1411" y="2102"/>
                  </a:lnTo>
                  <a:lnTo>
                    <a:pt x="1410" y="2105"/>
                  </a:lnTo>
                  <a:lnTo>
                    <a:pt x="1409" y="2108"/>
                  </a:lnTo>
                  <a:lnTo>
                    <a:pt x="1407" y="2111"/>
                  </a:lnTo>
                  <a:lnTo>
                    <a:pt x="1403" y="2115"/>
                  </a:lnTo>
                  <a:lnTo>
                    <a:pt x="1396" y="2123"/>
                  </a:lnTo>
                  <a:lnTo>
                    <a:pt x="1386" y="2130"/>
                  </a:lnTo>
                  <a:lnTo>
                    <a:pt x="1367" y="2144"/>
                  </a:lnTo>
                  <a:lnTo>
                    <a:pt x="1355" y="2153"/>
                  </a:lnTo>
                  <a:lnTo>
                    <a:pt x="1344" y="2154"/>
                  </a:lnTo>
                  <a:lnTo>
                    <a:pt x="1331" y="2157"/>
                  </a:lnTo>
                  <a:lnTo>
                    <a:pt x="1325" y="2159"/>
                  </a:lnTo>
                  <a:lnTo>
                    <a:pt x="1320" y="2163"/>
                  </a:lnTo>
                  <a:lnTo>
                    <a:pt x="1315" y="2167"/>
                  </a:lnTo>
                  <a:lnTo>
                    <a:pt x="1312" y="2172"/>
                  </a:lnTo>
                  <a:lnTo>
                    <a:pt x="1302" y="2172"/>
                  </a:lnTo>
                  <a:lnTo>
                    <a:pt x="1291" y="2173"/>
                  </a:lnTo>
                  <a:lnTo>
                    <a:pt x="1285" y="2174"/>
                  </a:lnTo>
                  <a:lnTo>
                    <a:pt x="1281" y="2176"/>
                  </a:lnTo>
                  <a:lnTo>
                    <a:pt x="1277" y="2179"/>
                  </a:lnTo>
                  <a:lnTo>
                    <a:pt x="1274" y="2184"/>
                  </a:lnTo>
                  <a:lnTo>
                    <a:pt x="1256" y="2184"/>
                  </a:lnTo>
                  <a:lnTo>
                    <a:pt x="1249" y="2188"/>
                  </a:lnTo>
                  <a:lnTo>
                    <a:pt x="1238" y="2192"/>
                  </a:lnTo>
                  <a:lnTo>
                    <a:pt x="1226" y="2195"/>
                  </a:lnTo>
                  <a:lnTo>
                    <a:pt x="1213" y="2196"/>
                  </a:lnTo>
                  <a:lnTo>
                    <a:pt x="1205" y="2198"/>
                  </a:lnTo>
                  <a:lnTo>
                    <a:pt x="1189" y="2202"/>
                  </a:lnTo>
                  <a:lnTo>
                    <a:pt x="1170" y="2206"/>
                  </a:lnTo>
                  <a:lnTo>
                    <a:pt x="1156" y="2208"/>
                  </a:lnTo>
                  <a:lnTo>
                    <a:pt x="1150" y="2221"/>
                  </a:lnTo>
                  <a:lnTo>
                    <a:pt x="1138" y="2221"/>
                  </a:lnTo>
                  <a:lnTo>
                    <a:pt x="1137" y="2223"/>
                  </a:lnTo>
                  <a:lnTo>
                    <a:pt x="1137" y="2224"/>
                  </a:lnTo>
                  <a:lnTo>
                    <a:pt x="1136" y="2225"/>
                  </a:lnTo>
                  <a:lnTo>
                    <a:pt x="1133" y="2226"/>
                  </a:lnTo>
                  <a:lnTo>
                    <a:pt x="1130" y="2227"/>
                  </a:lnTo>
                  <a:lnTo>
                    <a:pt x="1125" y="2227"/>
                  </a:lnTo>
                  <a:lnTo>
                    <a:pt x="1120" y="2232"/>
                  </a:lnTo>
                  <a:lnTo>
                    <a:pt x="1117" y="2236"/>
                  </a:lnTo>
                  <a:lnTo>
                    <a:pt x="1113" y="2241"/>
                  </a:lnTo>
                  <a:lnTo>
                    <a:pt x="1112" y="2245"/>
                  </a:lnTo>
                  <a:lnTo>
                    <a:pt x="1100" y="2245"/>
                  </a:lnTo>
                  <a:lnTo>
                    <a:pt x="1098" y="2251"/>
                  </a:lnTo>
                  <a:lnTo>
                    <a:pt x="1091" y="2255"/>
                  </a:lnTo>
                  <a:lnTo>
                    <a:pt x="1088" y="2259"/>
                  </a:lnTo>
                  <a:lnTo>
                    <a:pt x="1084" y="2262"/>
                  </a:lnTo>
                  <a:lnTo>
                    <a:pt x="1082" y="2266"/>
                  </a:lnTo>
                  <a:lnTo>
                    <a:pt x="1082" y="2271"/>
                  </a:lnTo>
                  <a:lnTo>
                    <a:pt x="1077" y="2271"/>
                  </a:lnTo>
                  <a:lnTo>
                    <a:pt x="1076" y="2272"/>
                  </a:lnTo>
                  <a:lnTo>
                    <a:pt x="1075" y="2272"/>
                  </a:lnTo>
                  <a:lnTo>
                    <a:pt x="1075" y="2273"/>
                  </a:lnTo>
                  <a:lnTo>
                    <a:pt x="1075" y="2275"/>
                  </a:lnTo>
                  <a:lnTo>
                    <a:pt x="1074" y="2275"/>
                  </a:lnTo>
                  <a:lnTo>
                    <a:pt x="1073" y="2277"/>
                  </a:lnTo>
                  <a:lnTo>
                    <a:pt x="1069" y="2277"/>
                  </a:lnTo>
                  <a:lnTo>
                    <a:pt x="1066" y="2287"/>
                  </a:lnTo>
                  <a:lnTo>
                    <a:pt x="1063" y="2302"/>
                  </a:lnTo>
                  <a:lnTo>
                    <a:pt x="1044" y="2314"/>
                  </a:lnTo>
                  <a:lnTo>
                    <a:pt x="1044" y="2323"/>
                  </a:lnTo>
                  <a:lnTo>
                    <a:pt x="1044" y="2332"/>
                  </a:lnTo>
                  <a:lnTo>
                    <a:pt x="1042" y="2333"/>
                  </a:lnTo>
                  <a:lnTo>
                    <a:pt x="1041" y="2335"/>
                  </a:lnTo>
                  <a:lnTo>
                    <a:pt x="1039" y="2337"/>
                  </a:lnTo>
                  <a:lnTo>
                    <a:pt x="1038" y="2340"/>
                  </a:lnTo>
                  <a:lnTo>
                    <a:pt x="1038" y="2346"/>
                  </a:lnTo>
                  <a:lnTo>
                    <a:pt x="1038" y="2351"/>
                  </a:lnTo>
                  <a:lnTo>
                    <a:pt x="1035" y="2352"/>
                  </a:lnTo>
                  <a:lnTo>
                    <a:pt x="1033" y="2357"/>
                  </a:lnTo>
                  <a:lnTo>
                    <a:pt x="1032" y="2361"/>
                  </a:lnTo>
                  <a:lnTo>
                    <a:pt x="1029" y="2368"/>
                  </a:lnTo>
                  <a:lnTo>
                    <a:pt x="1026" y="2380"/>
                  </a:lnTo>
                  <a:lnTo>
                    <a:pt x="1025" y="2389"/>
                  </a:lnTo>
                  <a:lnTo>
                    <a:pt x="1024" y="2389"/>
                  </a:lnTo>
                  <a:lnTo>
                    <a:pt x="1022" y="2391"/>
                  </a:lnTo>
                  <a:lnTo>
                    <a:pt x="1021" y="2395"/>
                  </a:lnTo>
                  <a:lnTo>
                    <a:pt x="1019" y="2399"/>
                  </a:lnTo>
                  <a:lnTo>
                    <a:pt x="1019" y="2407"/>
                  </a:lnTo>
                  <a:lnTo>
                    <a:pt x="1019" y="2414"/>
                  </a:lnTo>
                  <a:lnTo>
                    <a:pt x="1000" y="2532"/>
                  </a:lnTo>
                  <a:lnTo>
                    <a:pt x="998" y="2533"/>
                  </a:lnTo>
                  <a:lnTo>
                    <a:pt x="996" y="2537"/>
                  </a:lnTo>
                  <a:lnTo>
                    <a:pt x="994" y="2542"/>
                  </a:lnTo>
                  <a:lnTo>
                    <a:pt x="991" y="2548"/>
                  </a:lnTo>
                  <a:lnTo>
                    <a:pt x="989" y="2561"/>
                  </a:lnTo>
                  <a:lnTo>
                    <a:pt x="988" y="2569"/>
                  </a:lnTo>
                  <a:lnTo>
                    <a:pt x="986" y="2570"/>
                  </a:lnTo>
                  <a:lnTo>
                    <a:pt x="985" y="2570"/>
                  </a:lnTo>
                  <a:lnTo>
                    <a:pt x="984" y="2571"/>
                  </a:lnTo>
                  <a:lnTo>
                    <a:pt x="983" y="2573"/>
                  </a:lnTo>
                  <a:lnTo>
                    <a:pt x="981" y="2577"/>
                  </a:lnTo>
                  <a:lnTo>
                    <a:pt x="981" y="2581"/>
                  </a:lnTo>
                  <a:lnTo>
                    <a:pt x="980" y="2582"/>
                  </a:lnTo>
                  <a:lnTo>
                    <a:pt x="978" y="2582"/>
                  </a:lnTo>
                  <a:lnTo>
                    <a:pt x="977" y="2583"/>
                  </a:lnTo>
                  <a:lnTo>
                    <a:pt x="976" y="2586"/>
                  </a:lnTo>
                  <a:lnTo>
                    <a:pt x="976" y="2589"/>
                  </a:lnTo>
                  <a:lnTo>
                    <a:pt x="976" y="2595"/>
                  </a:lnTo>
                  <a:lnTo>
                    <a:pt x="973" y="2595"/>
                  </a:lnTo>
                  <a:lnTo>
                    <a:pt x="970" y="2596"/>
                  </a:lnTo>
                  <a:lnTo>
                    <a:pt x="967" y="2599"/>
                  </a:lnTo>
                  <a:lnTo>
                    <a:pt x="964" y="2602"/>
                  </a:lnTo>
                  <a:lnTo>
                    <a:pt x="961" y="2606"/>
                  </a:lnTo>
                  <a:lnTo>
                    <a:pt x="959" y="2610"/>
                  </a:lnTo>
                  <a:lnTo>
                    <a:pt x="958" y="2615"/>
                  </a:lnTo>
                  <a:lnTo>
                    <a:pt x="957" y="2619"/>
                  </a:lnTo>
                  <a:lnTo>
                    <a:pt x="950" y="2620"/>
                  </a:lnTo>
                  <a:lnTo>
                    <a:pt x="942" y="2623"/>
                  </a:lnTo>
                  <a:lnTo>
                    <a:pt x="938" y="2625"/>
                  </a:lnTo>
                  <a:lnTo>
                    <a:pt x="935" y="2627"/>
                  </a:lnTo>
                  <a:lnTo>
                    <a:pt x="932" y="2629"/>
                  </a:lnTo>
                  <a:lnTo>
                    <a:pt x="932" y="2631"/>
                  </a:lnTo>
                  <a:lnTo>
                    <a:pt x="922" y="2633"/>
                  </a:lnTo>
                  <a:lnTo>
                    <a:pt x="910" y="2635"/>
                  </a:lnTo>
                  <a:lnTo>
                    <a:pt x="899" y="2637"/>
                  </a:lnTo>
                  <a:lnTo>
                    <a:pt x="889" y="2638"/>
                  </a:lnTo>
                  <a:lnTo>
                    <a:pt x="882" y="2650"/>
                  </a:lnTo>
                  <a:lnTo>
                    <a:pt x="863" y="2652"/>
                  </a:lnTo>
                  <a:lnTo>
                    <a:pt x="845" y="2653"/>
                  </a:lnTo>
                  <a:lnTo>
                    <a:pt x="826" y="2655"/>
                  </a:lnTo>
                  <a:lnTo>
                    <a:pt x="807" y="2656"/>
                  </a:lnTo>
                  <a:lnTo>
                    <a:pt x="802" y="2650"/>
                  </a:lnTo>
                  <a:lnTo>
                    <a:pt x="799" y="2647"/>
                  </a:lnTo>
                  <a:lnTo>
                    <a:pt x="796" y="2644"/>
                  </a:lnTo>
                  <a:lnTo>
                    <a:pt x="792" y="2639"/>
                  </a:lnTo>
                  <a:lnTo>
                    <a:pt x="785" y="2635"/>
                  </a:lnTo>
                  <a:lnTo>
                    <a:pt x="773" y="2628"/>
                  </a:lnTo>
                  <a:lnTo>
                    <a:pt x="764" y="2625"/>
                  </a:lnTo>
                  <a:lnTo>
                    <a:pt x="758" y="2619"/>
                  </a:lnTo>
                  <a:lnTo>
                    <a:pt x="757" y="2615"/>
                  </a:lnTo>
                  <a:lnTo>
                    <a:pt x="754" y="2610"/>
                  </a:lnTo>
                  <a:lnTo>
                    <a:pt x="750" y="2608"/>
                  </a:lnTo>
                  <a:lnTo>
                    <a:pt x="746" y="2607"/>
                  </a:lnTo>
                  <a:lnTo>
                    <a:pt x="745" y="2602"/>
                  </a:lnTo>
                  <a:lnTo>
                    <a:pt x="741" y="2597"/>
                  </a:lnTo>
                  <a:lnTo>
                    <a:pt x="737" y="2592"/>
                  </a:lnTo>
                  <a:lnTo>
                    <a:pt x="733" y="2588"/>
                  </a:lnTo>
                  <a:lnTo>
                    <a:pt x="733" y="2563"/>
                  </a:lnTo>
                  <a:lnTo>
                    <a:pt x="731" y="2559"/>
                  </a:lnTo>
                  <a:lnTo>
                    <a:pt x="729" y="2548"/>
                  </a:lnTo>
                  <a:lnTo>
                    <a:pt x="728" y="2531"/>
                  </a:lnTo>
                  <a:lnTo>
                    <a:pt x="728" y="2512"/>
                  </a:lnTo>
                  <a:lnTo>
                    <a:pt x="727" y="2474"/>
                  </a:lnTo>
                  <a:lnTo>
                    <a:pt x="727" y="2451"/>
                  </a:lnTo>
                  <a:lnTo>
                    <a:pt x="725" y="2451"/>
                  </a:lnTo>
                  <a:lnTo>
                    <a:pt x="722" y="2450"/>
                  </a:lnTo>
                  <a:lnTo>
                    <a:pt x="720" y="2447"/>
                  </a:lnTo>
                  <a:lnTo>
                    <a:pt x="718" y="2444"/>
                  </a:lnTo>
                  <a:lnTo>
                    <a:pt x="716" y="2438"/>
                  </a:lnTo>
                  <a:lnTo>
                    <a:pt x="715" y="2433"/>
                  </a:lnTo>
                  <a:lnTo>
                    <a:pt x="699" y="2419"/>
                  </a:lnTo>
                  <a:lnTo>
                    <a:pt x="683" y="2407"/>
                  </a:lnTo>
                  <a:lnTo>
                    <a:pt x="682" y="2404"/>
                  </a:lnTo>
                  <a:lnTo>
                    <a:pt x="681" y="2400"/>
                  </a:lnTo>
                  <a:lnTo>
                    <a:pt x="679" y="2398"/>
                  </a:lnTo>
                  <a:lnTo>
                    <a:pt x="677" y="2396"/>
                  </a:lnTo>
                  <a:lnTo>
                    <a:pt x="672" y="2393"/>
                  </a:lnTo>
                  <a:lnTo>
                    <a:pt x="671" y="2389"/>
                  </a:lnTo>
                  <a:lnTo>
                    <a:pt x="659" y="2388"/>
                  </a:lnTo>
                  <a:lnTo>
                    <a:pt x="650" y="2386"/>
                  </a:lnTo>
                  <a:lnTo>
                    <a:pt x="637" y="2384"/>
                  </a:lnTo>
                  <a:lnTo>
                    <a:pt x="615" y="2383"/>
                  </a:lnTo>
                  <a:lnTo>
                    <a:pt x="609" y="2402"/>
                  </a:lnTo>
                  <a:lnTo>
                    <a:pt x="605" y="2402"/>
                  </a:lnTo>
                  <a:lnTo>
                    <a:pt x="603" y="2403"/>
                  </a:lnTo>
                  <a:lnTo>
                    <a:pt x="602" y="2404"/>
                  </a:lnTo>
                  <a:lnTo>
                    <a:pt x="602" y="2405"/>
                  </a:lnTo>
                  <a:lnTo>
                    <a:pt x="602" y="2406"/>
                  </a:lnTo>
                  <a:lnTo>
                    <a:pt x="602" y="2406"/>
                  </a:lnTo>
                  <a:lnTo>
                    <a:pt x="600" y="2407"/>
                  </a:lnTo>
                  <a:lnTo>
                    <a:pt x="596" y="2407"/>
                  </a:lnTo>
                  <a:lnTo>
                    <a:pt x="595" y="2409"/>
                  </a:lnTo>
                  <a:lnTo>
                    <a:pt x="594" y="2412"/>
                  </a:lnTo>
                  <a:lnTo>
                    <a:pt x="592" y="2414"/>
                  </a:lnTo>
                  <a:lnTo>
                    <a:pt x="589" y="2416"/>
                  </a:lnTo>
                  <a:lnTo>
                    <a:pt x="581" y="2419"/>
                  </a:lnTo>
                  <a:lnTo>
                    <a:pt x="571" y="2423"/>
                  </a:lnTo>
                  <a:lnTo>
                    <a:pt x="562" y="2426"/>
                  </a:lnTo>
                  <a:lnTo>
                    <a:pt x="554" y="2431"/>
                  </a:lnTo>
                  <a:lnTo>
                    <a:pt x="551" y="2432"/>
                  </a:lnTo>
                  <a:lnTo>
                    <a:pt x="548" y="2434"/>
                  </a:lnTo>
                  <a:lnTo>
                    <a:pt x="547" y="2436"/>
                  </a:lnTo>
                  <a:lnTo>
                    <a:pt x="546" y="2438"/>
                  </a:lnTo>
                  <a:lnTo>
                    <a:pt x="534" y="2438"/>
                  </a:lnTo>
                  <a:lnTo>
                    <a:pt x="533" y="2445"/>
                  </a:lnTo>
                  <a:lnTo>
                    <a:pt x="530" y="2451"/>
                  </a:lnTo>
                  <a:lnTo>
                    <a:pt x="527" y="2455"/>
                  </a:lnTo>
                  <a:lnTo>
                    <a:pt x="523" y="2460"/>
                  </a:lnTo>
                  <a:lnTo>
                    <a:pt x="517" y="2462"/>
                  </a:lnTo>
                  <a:lnTo>
                    <a:pt x="510" y="2465"/>
                  </a:lnTo>
                  <a:lnTo>
                    <a:pt x="504" y="2466"/>
                  </a:lnTo>
                  <a:lnTo>
                    <a:pt x="497" y="2468"/>
                  </a:lnTo>
                  <a:lnTo>
                    <a:pt x="466" y="2470"/>
                  </a:lnTo>
                  <a:lnTo>
                    <a:pt x="440" y="2470"/>
                  </a:lnTo>
                  <a:lnTo>
                    <a:pt x="440" y="2467"/>
                  </a:lnTo>
                  <a:lnTo>
                    <a:pt x="439" y="2466"/>
                  </a:lnTo>
                  <a:lnTo>
                    <a:pt x="438" y="2465"/>
                  </a:lnTo>
                  <a:lnTo>
                    <a:pt x="437" y="2464"/>
                  </a:lnTo>
                  <a:lnTo>
                    <a:pt x="432" y="2464"/>
                  </a:lnTo>
                  <a:lnTo>
                    <a:pt x="428" y="2463"/>
                  </a:lnTo>
                  <a:lnTo>
                    <a:pt x="427" y="2458"/>
                  </a:lnTo>
                  <a:lnTo>
                    <a:pt x="424" y="2455"/>
                  </a:lnTo>
                  <a:lnTo>
                    <a:pt x="420" y="2452"/>
                  </a:lnTo>
                  <a:lnTo>
                    <a:pt x="415" y="2451"/>
                  </a:lnTo>
                  <a:lnTo>
                    <a:pt x="414" y="2447"/>
                  </a:lnTo>
                  <a:lnTo>
                    <a:pt x="412" y="2443"/>
                  </a:lnTo>
                  <a:lnTo>
                    <a:pt x="408" y="2438"/>
                  </a:lnTo>
                  <a:lnTo>
                    <a:pt x="403" y="2433"/>
                  </a:lnTo>
                  <a:lnTo>
                    <a:pt x="390" y="2422"/>
                  </a:lnTo>
                  <a:lnTo>
                    <a:pt x="375" y="2409"/>
                  </a:lnTo>
                  <a:lnTo>
                    <a:pt x="361" y="2397"/>
                  </a:lnTo>
                  <a:lnTo>
                    <a:pt x="347" y="2386"/>
                  </a:lnTo>
                  <a:lnTo>
                    <a:pt x="342" y="2379"/>
                  </a:lnTo>
                  <a:lnTo>
                    <a:pt x="338" y="2374"/>
                  </a:lnTo>
                  <a:lnTo>
                    <a:pt x="335" y="2369"/>
                  </a:lnTo>
                  <a:lnTo>
                    <a:pt x="335" y="2364"/>
                  </a:lnTo>
                  <a:lnTo>
                    <a:pt x="325" y="2361"/>
                  </a:lnTo>
                  <a:lnTo>
                    <a:pt x="316" y="2358"/>
                  </a:lnTo>
                  <a:lnTo>
                    <a:pt x="309" y="2346"/>
                  </a:lnTo>
                  <a:lnTo>
                    <a:pt x="285" y="2345"/>
                  </a:lnTo>
                  <a:lnTo>
                    <a:pt x="256" y="2342"/>
                  </a:lnTo>
                  <a:lnTo>
                    <a:pt x="227" y="2340"/>
                  </a:lnTo>
                  <a:lnTo>
                    <a:pt x="198" y="2339"/>
                  </a:lnTo>
                  <a:lnTo>
                    <a:pt x="194" y="2341"/>
                  </a:lnTo>
                  <a:lnTo>
                    <a:pt x="186" y="2342"/>
                  </a:lnTo>
                  <a:lnTo>
                    <a:pt x="172" y="2343"/>
                  </a:lnTo>
                  <a:lnTo>
                    <a:pt x="158" y="2345"/>
                  </a:lnTo>
                  <a:lnTo>
                    <a:pt x="130" y="2345"/>
                  </a:lnTo>
                  <a:lnTo>
                    <a:pt x="117" y="2346"/>
                  </a:lnTo>
                  <a:lnTo>
                    <a:pt x="104" y="2332"/>
                  </a:lnTo>
                  <a:lnTo>
                    <a:pt x="92" y="2332"/>
                  </a:lnTo>
                  <a:lnTo>
                    <a:pt x="78" y="2331"/>
                  </a:lnTo>
                  <a:lnTo>
                    <a:pt x="65" y="2329"/>
                  </a:lnTo>
                  <a:lnTo>
                    <a:pt x="53" y="2327"/>
                  </a:lnTo>
                  <a:lnTo>
                    <a:pt x="39" y="2323"/>
                  </a:lnTo>
                  <a:lnTo>
                    <a:pt x="26" y="2320"/>
                  </a:lnTo>
                  <a:lnTo>
                    <a:pt x="14" y="2316"/>
                  </a:lnTo>
                  <a:lnTo>
                    <a:pt x="0" y="2310"/>
                  </a:lnTo>
                  <a:lnTo>
                    <a:pt x="9" y="2311"/>
                  </a:lnTo>
                  <a:lnTo>
                    <a:pt x="19" y="2312"/>
                  </a:lnTo>
                  <a:lnTo>
                    <a:pt x="26" y="2311"/>
                  </a:lnTo>
                  <a:lnTo>
                    <a:pt x="33" y="2309"/>
                  </a:lnTo>
                  <a:lnTo>
                    <a:pt x="38" y="2304"/>
                  </a:lnTo>
                  <a:lnTo>
                    <a:pt x="43" y="2299"/>
                  </a:lnTo>
                  <a:lnTo>
                    <a:pt x="46" y="2293"/>
                  </a:lnTo>
                  <a:lnTo>
                    <a:pt x="49" y="2287"/>
                  </a:lnTo>
                  <a:lnTo>
                    <a:pt x="53" y="2279"/>
                  </a:lnTo>
                  <a:lnTo>
                    <a:pt x="55" y="2271"/>
                  </a:lnTo>
                  <a:lnTo>
                    <a:pt x="59" y="2256"/>
                  </a:lnTo>
                  <a:lnTo>
                    <a:pt x="63" y="2244"/>
                  </a:lnTo>
                  <a:lnTo>
                    <a:pt x="65" y="2239"/>
                  </a:lnTo>
                  <a:lnTo>
                    <a:pt x="67" y="2234"/>
                  </a:lnTo>
                  <a:lnTo>
                    <a:pt x="71" y="2232"/>
                  </a:lnTo>
                  <a:lnTo>
                    <a:pt x="73" y="2231"/>
                  </a:lnTo>
                  <a:lnTo>
                    <a:pt x="72" y="2206"/>
                  </a:lnTo>
                  <a:lnTo>
                    <a:pt x="69" y="2181"/>
                  </a:lnTo>
                  <a:lnTo>
                    <a:pt x="65" y="2156"/>
                  </a:lnTo>
                  <a:lnTo>
                    <a:pt x="59" y="2131"/>
                  </a:lnTo>
                  <a:lnTo>
                    <a:pt x="55" y="2107"/>
                  </a:lnTo>
                  <a:lnTo>
                    <a:pt x="50" y="2081"/>
                  </a:lnTo>
                  <a:lnTo>
                    <a:pt x="47" y="2056"/>
                  </a:lnTo>
                  <a:lnTo>
                    <a:pt x="46" y="2029"/>
                  </a:lnTo>
                  <a:lnTo>
                    <a:pt x="55" y="2018"/>
                  </a:lnTo>
                  <a:lnTo>
                    <a:pt x="64" y="2006"/>
                  </a:lnTo>
                  <a:lnTo>
                    <a:pt x="321" y="2011"/>
                  </a:lnTo>
                  <a:lnTo>
                    <a:pt x="327" y="2010"/>
                  </a:lnTo>
                  <a:lnTo>
                    <a:pt x="335" y="2008"/>
                  </a:lnTo>
                  <a:lnTo>
                    <a:pt x="344" y="2004"/>
                  </a:lnTo>
                  <a:lnTo>
                    <a:pt x="352" y="2000"/>
                  </a:lnTo>
                  <a:lnTo>
                    <a:pt x="366" y="1992"/>
                  </a:lnTo>
                  <a:lnTo>
                    <a:pt x="374" y="1989"/>
                  </a:lnTo>
                  <a:lnTo>
                    <a:pt x="375" y="1979"/>
                  </a:lnTo>
                  <a:lnTo>
                    <a:pt x="376" y="1969"/>
                  </a:lnTo>
                  <a:lnTo>
                    <a:pt x="379" y="1960"/>
                  </a:lnTo>
                  <a:lnTo>
                    <a:pt x="381" y="1951"/>
                  </a:lnTo>
                  <a:lnTo>
                    <a:pt x="383" y="1942"/>
                  </a:lnTo>
                  <a:lnTo>
                    <a:pt x="385" y="1934"/>
                  </a:lnTo>
                  <a:lnTo>
                    <a:pt x="388" y="1925"/>
                  </a:lnTo>
                  <a:lnTo>
                    <a:pt x="388" y="1916"/>
                  </a:lnTo>
                  <a:lnTo>
                    <a:pt x="392" y="1910"/>
                  </a:lnTo>
                  <a:lnTo>
                    <a:pt x="400" y="1893"/>
                  </a:lnTo>
                  <a:lnTo>
                    <a:pt x="411" y="1868"/>
                  </a:lnTo>
                  <a:lnTo>
                    <a:pt x="423" y="1840"/>
                  </a:lnTo>
                  <a:lnTo>
                    <a:pt x="438" y="1810"/>
                  </a:lnTo>
                  <a:lnTo>
                    <a:pt x="451" y="1782"/>
                  </a:lnTo>
                  <a:lnTo>
                    <a:pt x="457" y="1770"/>
                  </a:lnTo>
                  <a:lnTo>
                    <a:pt x="463" y="1760"/>
                  </a:lnTo>
                  <a:lnTo>
                    <a:pt x="468" y="1752"/>
                  </a:lnTo>
                  <a:lnTo>
                    <a:pt x="474" y="1746"/>
                  </a:lnTo>
                  <a:lnTo>
                    <a:pt x="493" y="1720"/>
                  </a:lnTo>
                  <a:lnTo>
                    <a:pt x="525" y="1674"/>
                  </a:lnTo>
                  <a:lnTo>
                    <a:pt x="542" y="1650"/>
                  </a:lnTo>
                  <a:lnTo>
                    <a:pt x="556" y="1630"/>
                  </a:lnTo>
                  <a:lnTo>
                    <a:pt x="563" y="1623"/>
                  </a:lnTo>
                  <a:lnTo>
                    <a:pt x="568" y="1617"/>
                  </a:lnTo>
                  <a:lnTo>
                    <a:pt x="573" y="1612"/>
                  </a:lnTo>
                  <a:lnTo>
                    <a:pt x="576" y="1611"/>
                  </a:lnTo>
                  <a:lnTo>
                    <a:pt x="577" y="1605"/>
                  </a:lnTo>
                  <a:lnTo>
                    <a:pt x="580" y="1594"/>
                  </a:lnTo>
                  <a:lnTo>
                    <a:pt x="581" y="1589"/>
                  </a:lnTo>
                  <a:lnTo>
                    <a:pt x="580" y="1585"/>
                  </a:lnTo>
                  <a:lnTo>
                    <a:pt x="580" y="1582"/>
                  </a:lnTo>
                  <a:lnTo>
                    <a:pt x="578" y="1581"/>
                  </a:lnTo>
                  <a:lnTo>
                    <a:pt x="577" y="1580"/>
                  </a:lnTo>
                  <a:lnTo>
                    <a:pt x="576" y="1580"/>
                  </a:lnTo>
                  <a:lnTo>
                    <a:pt x="576" y="1562"/>
                  </a:lnTo>
                  <a:lnTo>
                    <a:pt x="574" y="1561"/>
                  </a:lnTo>
                  <a:lnTo>
                    <a:pt x="571" y="1559"/>
                  </a:lnTo>
                  <a:lnTo>
                    <a:pt x="567" y="1556"/>
                  </a:lnTo>
                  <a:lnTo>
                    <a:pt x="564" y="1552"/>
                  </a:lnTo>
                  <a:lnTo>
                    <a:pt x="556" y="1542"/>
                  </a:lnTo>
                  <a:lnTo>
                    <a:pt x="547" y="1530"/>
                  </a:lnTo>
                  <a:lnTo>
                    <a:pt x="539" y="1519"/>
                  </a:lnTo>
                  <a:lnTo>
                    <a:pt x="533" y="1509"/>
                  </a:lnTo>
                  <a:lnTo>
                    <a:pt x="527" y="1502"/>
                  </a:lnTo>
                  <a:lnTo>
                    <a:pt x="523" y="1499"/>
                  </a:lnTo>
                  <a:lnTo>
                    <a:pt x="523" y="1490"/>
                  </a:lnTo>
                  <a:lnTo>
                    <a:pt x="520" y="1487"/>
                  </a:lnTo>
                  <a:lnTo>
                    <a:pt x="519" y="1481"/>
                  </a:lnTo>
                  <a:lnTo>
                    <a:pt x="519" y="1471"/>
                  </a:lnTo>
                  <a:lnTo>
                    <a:pt x="518" y="1457"/>
                  </a:lnTo>
                  <a:lnTo>
                    <a:pt x="518" y="1425"/>
                  </a:lnTo>
                  <a:lnTo>
                    <a:pt x="519" y="1388"/>
                  </a:lnTo>
                  <a:lnTo>
                    <a:pt x="520" y="1350"/>
                  </a:lnTo>
                  <a:lnTo>
                    <a:pt x="522" y="1314"/>
                  </a:lnTo>
                  <a:lnTo>
                    <a:pt x="522" y="1287"/>
                  </a:lnTo>
                  <a:lnTo>
                    <a:pt x="523" y="1270"/>
                  </a:lnTo>
                  <a:lnTo>
                    <a:pt x="523" y="1254"/>
                  </a:lnTo>
                  <a:lnTo>
                    <a:pt x="523" y="1229"/>
                  </a:lnTo>
                  <a:lnTo>
                    <a:pt x="523" y="1198"/>
                  </a:lnTo>
                  <a:lnTo>
                    <a:pt x="522" y="1165"/>
                  </a:lnTo>
                  <a:lnTo>
                    <a:pt x="520" y="1134"/>
                  </a:lnTo>
                  <a:lnTo>
                    <a:pt x="517" y="1107"/>
                  </a:lnTo>
                  <a:lnTo>
                    <a:pt x="515" y="1097"/>
                  </a:lnTo>
                  <a:lnTo>
                    <a:pt x="511" y="1088"/>
                  </a:lnTo>
                  <a:lnTo>
                    <a:pt x="510" y="1086"/>
                  </a:lnTo>
                  <a:lnTo>
                    <a:pt x="508" y="1083"/>
                  </a:lnTo>
                  <a:lnTo>
                    <a:pt x="506" y="1081"/>
                  </a:lnTo>
                  <a:lnTo>
                    <a:pt x="505" y="1081"/>
                  </a:lnTo>
                  <a:lnTo>
                    <a:pt x="504" y="1076"/>
                  </a:lnTo>
                  <a:lnTo>
                    <a:pt x="503" y="1071"/>
                  </a:lnTo>
                  <a:lnTo>
                    <a:pt x="500" y="1067"/>
                  </a:lnTo>
                  <a:lnTo>
                    <a:pt x="498" y="1063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5" name="Freeform 61"/>
            <p:cNvSpPr>
              <a:spLocks noChangeAspect="1"/>
            </p:cNvSpPr>
            <p:nvPr/>
          </p:nvSpPr>
          <p:spPr bwMode="gray">
            <a:xfrm rot="355651">
              <a:off x="7744133" y="4838700"/>
              <a:ext cx="81463" cy="166078"/>
            </a:xfrm>
            <a:custGeom>
              <a:avLst/>
              <a:gdLst/>
              <a:ahLst/>
              <a:cxnLst>
                <a:cxn ang="0">
                  <a:pos x="294" y="31"/>
                </a:cxn>
                <a:cxn ang="0">
                  <a:pos x="275" y="62"/>
                </a:cxn>
                <a:cxn ang="0">
                  <a:pos x="244" y="90"/>
                </a:cxn>
                <a:cxn ang="0">
                  <a:pos x="214" y="106"/>
                </a:cxn>
                <a:cxn ang="0">
                  <a:pos x="175" y="140"/>
                </a:cxn>
                <a:cxn ang="0">
                  <a:pos x="140" y="164"/>
                </a:cxn>
                <a:cxn ang="0">
                  <a:pos x="149" y="200"/>
                </a:cxn>
                <a:cxn ang="0">
                  <a:pos x="175" y="215"/>
                </a:cxn>
                <a:cxn ang="0">
                  <a:pos x="179" y="304"/>
                </a:cxn>
                <a:cxn ang="0">
                  <a:pos x="157" y="375"/>
                </a:cxn>
                <a:cxn ang="0">
                  <a:pos x="150" y="390"/>
                </a:cxn>
                <a:cxn ang="0">
                  <a:pos x="141" y="404"/>
                </a:cxn>
                <a:cxn ang="0">
                  <a:pos x="124" y="431"/>
                </a:cxn>
                <a:cxn ang="0">
                  <a:pos x="84" y="474"/>
                </a:cxn>
                <a:cxn ang="0">
                  <a:pos x="35" y="528"/>
                </a:cxn>
                <a:cxn ang="0">
                  <a:pos x="9" y="579"/>
                </a:cxn>
                <a:cxn ang="0">
                  <a:pos x="17" y="642"/>
                </a:cxn>
                <a:cxn ang="0">
                  <a:pos x="100" y="663"/>
                </a:cxn>
                <a:cxn ang="0">
                  <a:pos x="104" y="678"/>
                </a:cxn>
                <a:cxn ang="0">
                  <a:pos x="106" y="750"/>
                </a:cxn>
                <a:cxn ang="0">
                  <a:pos x="100" y="843"/>
                </a:cxn>
                <a:cxn ang="0">
                  <a:pos x="90" y="885"/>
                </a:cxn>
                <a:cxn ang="0">
                  <a:pos x="80" y="902"/>
                </a:cxn>
                <a:cxn ang="0">
                  <a:pos x="75" y="932"/>
                </a:cxn>
                <a:cxn ang="0">
                  <a:pos x="94" y="957"/>
                </a:cxn>
                <a:cxn ang="0">
                  <a:pos x="168" y="1000"/>
                </a:cxn>
                <a:cxn ang="0">
                  <a:pos x="185" y="1022"/>
                </a:cxn>
                <a:cxn ang="0">
                  <a:pos x="219" y="1022"/>
                </a:cxn>
                <a:cxn ang="0">
                  <a:pos x="239" y="983"/>
                </a:cxn>
                <a:cxn ang="0">
                  <a:pos x="252" y="966"/>
                </a:cxn>
                <a:cxn ang="0">
                  <a:pos x="274" y="951"/>
                </a:cxn>
                <a:cxn ang="0">
                  <a:pos x="313" y="936"/>
                </a:cxn>
                <a:cxn ang="0">
                  <a:pos x="353" y="914"/>
                </a:cxn>
                <a:cxn ang="0">
                  <a:pos x="387" y="901"/>
                </a:cxn>
                <a:cxn ang="0">
                  <a:pos x="390" y="887"/>
                </a:cxn>
                <a:cxn ang="0">
                  <a:pos x="399" y="861"/>
                </a:cxn>
                <a:cxn ang="0">
                  <a:pos x="431" y="840"/>
                </a:cxn>
                <a:cxn ang="0">
                  <a:pos x="459" y="794"/>
                </a:cxn>
                <a:cxn ang="0">
                  <a:pos x="370" y="814"/>
                </a:cxn>
                <a:cxn ang="0">
                  <a:pos x="281" y="808"/>
                </a:cxn>
                <a:cxn ang="0">
                  <a:pos x="274" y="738"/>
                </a:cxn>
                <a:cxn ang="0">
                  <a:pos x="304" y="704"/>
                </a:cxn>
                <a:cxn ang="0">
                  <a:pos x="294" y="613"/>
                </a:cxn>
                <a:cxn ang="0">
                  <a:pos x="264" y="589"/>
                </a:cxn>
                <a:cxn ang="0">
                  <a:pos x="228" y="558"/>
                </a:cxn>
                <a:cxn ang="0">
                  <a:pos x="195" y="524"/>
                </a:cxn>
                <a:cxn ang="0">
                  <a:pos x="199" y="469"/>
                </a:cxn>
                <a:cxn ang="0">
                  <a:pos x="229" y="443"/>
                </a:cxn>
                <a:cxn ang="0">
                  <a:pos x="309" y="384"/>
                </a:cxn>
                <a:cxn ang="0">
                  <a:pos x="329" y="369"/>
                </a:cxn>
                <a:cxn ang="0">
                  <a:pos x="354" y="354"/>
                </a:cxn>
                <a:cxn ang="0">
                  <a:pos x="383" y="350"/>
                </a:cxn>
                <a:cxn ang="0">
                  <a:pos x="390" y="320"/>
                </a:cxn>
                <a:cxn ang="0">
                  <a:pos x="367" y="312"/>
                </a:cxn>
                <a:cxn ang="0">
                  <a:pos x="341" y="297"/>
                </a:cxn>
                <a:cxn ang="0">
                  <a:pos x="319" y="259"/>
                </a:cxn>
                <a:cxn ang="0">
                  <a:pos x="292" y="217"/>
                </a:cxn>
                <a:cxn ang="0">
                  <a:pos x="302" y="119"/>
                </a:cxn>
                <a:cxn ang="0">
                  <a:pos x="314" y="90"/>
                </a:cxn>
                <a:cxn ang="0">
                  <a:pos x="319" y="10"/>
                </a:cxn>
              </a:cxnLst>
              <a:rect l="0" t="0" r="r" b="b"/>
              <a:pathLst>
                <a:path w="465" h="1027">
                  <a:moveTo>
                    <a:pt x="304" y="0"/>
                  </a:moveTo>
                  <a:lnTo>
                    <a:pt x="303" y="5"/>
                  </a:lnTo>
                  <a:lnTo>
                    <a:pt x="301" y="10"/>
                  </a:lnTo>
                  <a:lnTo>
                    <a:pt x="297" y="16"/>
                  </a:lnTo>
                  <a:lnTo>
                    <a:pt x="294" y="21"/>
                  </a:lnTo>
                  <a:lnTo>
                    <a:pt x="294" y="31"/>
                  </a:lnTo>
                  <a:lnTo>
                    <a:pt x="290" y="35"/>
                  </a:lnTo>
                  <a:lnTo>
                    <a:pt x="285" y="41"/>
                  </a:lnTo>
                  <a:lnTo>
                    <a:pt x="281" y="46"/>
                  </a:lnTo>
                  <a:lnTo>
                    <a:pt x="279" y="51"/>
                  </a:lnTo>
                  <a:lnTo>
                    <a:pt x="279" y="61"/>
                  </a:lnTo>
                  <a:lnTo>
                    <a:pt x="275" y="62"/>
                  </a:lnTo>
                  <a:lnTo>
                    <a:pt x="272" y="66"/>
                  </a:lnTo>
                  <a:lnTo>
                    <a:pt x="269" y="71"/>
                  </a:lnTo>
                  <a:lnTo>
                    <a:pt x="269" y="75"/>
                  </a:lnTo>
                  <a:lnTo>
                    <a:pt x="259" y="75"/>
                  </a:lnTo>
                  <a:lnTo>
                    <a:pt x="249" y="80"/>
                  </a:lnTo>
                  <a:lnTo>
                    <a:pt x="244" y="90"/>
                  </a:lnTo>
                  <a:lnTo>
                    <a:pt x="240" y="91"/>
                  </a:lnTo>
                  <a:lnTo>
                    <a:pt x="235" y="93"/>
                  </a:lnTo>
                  <a:lnTo>
                    <a:pt x="229" y="96"/>
                  </a:lnTo>
                  <a:lnTo>
                    <a:pt x="224" y="100"/>
                  </a:lnTo>
                  <a:lnTo>
                    <a:pt x="218" y="104"/>
                  </a:lnTo>
                  <a:lnTo>
                    <a:pt x="214" y="106"/>
                  </a:lnTo>
                  <a:lnTo>
                    <a:pt x="208" y="109"/>
                  </a:lnTo>
                  <a:lnTo>
                    <a:pt x="205" y="110"/>
                  </a:lnTo>
                  <a:lnTo>
                    <a:pt x="195" y="125"/>
                  </a:lnTo>
                  <a:lnTo>
                    <a:pt x="187" y="128"/>
                  </a:lnTo>
                  <a:lnTo>
                    <a:pt x="179" y="130"/>
                  </a:lnTo>
                  <a:lnTo>
                    <a:pt x="175" y="140"/>
                  </a:lnTo>
                  <a:lnTo>
                    <a:pt x="167" y="142"/>
                  </a:lnTo>
                  <a:lnTo>
                    <a:pt x="159" y="144"/>
                  </a:lnTo>
                  <a:lnTo>
                    <a:pt x="157" y="150"/>
                  </a:lnTo>
                  <a:lnTo>
                    <a:pt x="154" y="154"/>
                  </a:lnTo>
                  <a:lnTo>
                    <a:pt x="146" y="160"/>
                  </a:lnTo>
                  <a:lnTo>
                    <a:pt x="140" y="164"/>
                  </a:lnTo>
                  <a:lnTo>
                    <a:pt x="140" y="175"/>
                  </a:lnTo>
                  <a:lnTo>
                    <a:pt x="134" y="177"/>
                  </a:lnTo>
                  <a:lnTo>
                    <a:pt x="130" y="180"/>
                  </a:lnTo>
                  <a:lnTo>
                    <a:pt x="130" y="190"/>
                  </a:lnTo>
                  <a:lnTo>
                    <a:pt x="140" y="195"/>
                  </a:lnTo>
                  <a:lnTo>
                    <a:pt x="149" y="200"/>
                  </a:lnTo>
                  <a:lnTo>
                    <a:pt x="159" y="200"/>
                  </a:lnTo>
                  <a:lnTo>
                    <a:pt x="160" y="204"/>
                  </a:lnTo>
                  <a:lnTo>
                    <a:pt x="162" y="207"/>
                  </a:lnTo>
                  <a:lnTo>
                    <a:pt x="166" y="209"/>
                  </a:lnTo>
                  <a:lnTo>
                    <a:pt x="169" y="209"/>
                  </a:lnTo>
                  <a:lnTo>
                    <a:pt x="175" y="215"/>
                  </a:lnTo>
                  <a:lnTo>
                    <a:pt x="175" y="223"/>
                  </a:lnTo>
                  <a:lnTo>
                    <a:pt x="175" y="229"/>
                  </a:lnTo>
                  <a:lnTo>
                    <a:pt x="177" y="245"/>
                  </a:lnTo>
                  <a:lnTo>
                    <a:pt x="179" y="265"/>
                  </a:lnTo>
                  <a:lnTo>
                    <a:pt x="179" y="286"/>
                  </a:lnTo>
                  <a:lnTo>
                    <a:pt x="179" y="304"/>
                  </a:lnTo>
                  <a:lnTo>
                    <a:pt x="175" y="314"/>
                  </a:lnTo>
                  <a:lnTo>
                    <a:pt x="169" y="326"/>
                  </a:lnTo>
                  <a:lnTo>
                    <a:pt x="163" y="337"/>
                  </a:lnTo>
                  <a:lnTo>
                    <a:pt x="159" y="344"/>
                  </a:lnTo>
                  <a:lnTo>
                    <a:pt x="159" y="374"/>
                  </a:lnTo>
                  <a:lnTo>
                    <a:pt x="157" y="375"/>
                  </a:lnTo>
                  <a:lnTo>
                    <a:pt x="156" y="378"/>
                  </a:lnTo>
                  <a:lnTo>
                    <a:pt x="154" y="381"/>
                  </a:lnTo>
                  <a:lnTo>
                    <a:pt x="154" y="384"/>
                  </a:lnTo>
                  <a:lnTo>
                    <a:pt x="151" y="385"/>
                  </a:lnTo>
                  <a:lnTo>
                    <a:pt x="150" y="388"/>
                  </a:lnTo>
                  <a:lnTo>
                    <a:pt x="150" y="390"/>
                  </a:lnTo>
                  <a:lnTo>
                    <a:pt x="149" y="394"/>
                  </a:lnTo>
                  <a:lnTo>
                    <a:pt x="147" y="394"/>
                  </a:lnTo>
                  <a:lnTo>
                    <a:pt x="146" y="397"/>
                  </a:lnTo>
                  <a:lnTo>
                    <a:pt x="144" y="400"/>
                  </a:lnTo>
                  <a:lnTo>
                    <a:pt x="144" y="404"/>
                  </a:lnTo>
                  <a:lnTo>
                    <a:pt x="141" y="404"/>
                  </a:lnTo>
                  <a:lnTo>
                    <a:pt x="140" y="407"/>
                  </a:lnTo>
                  <a:lnTo>
                    <a:pt x="140" y="410"/>
                  </a:lnTo>
                  <a:lnTo>
                    <a:pt x="140" y="414"/>
                  </a:lnTo>
                  <a:lnTo>
                    <a:pt x="130" y="419"/>
                  </a:lnTo>
                  <a:lnTo>
                    <a:pt x="128" y="425"/>
                  </a:lnTo>
                  <a:lnTo>
                    <a:pt x="124" y="431"/>
                  </a:lnTo>
                  <a:lnTo>
                    <a:pt x="118" y="441"/>
                  </a:lnTo>
                  <a:lnTo>
                    <a:pt x="111" y="450"/>
                  </a:lnTo>
                  <a:lnTo>
                    <a:pt x="103" y="459"/>
                  </a:lnTo>
                  <a:lnTo>
                    <a:pt x="95" y="467"/>
                  </a:lnTo>
                  <a:lnTo>
                    <a:pt x="90" y="471"/>
                  </a:lnTo>
                  <a:lnTo>
                    <a:pt x="84" y="474"/>
                  </a:lnTo>
                  <a:lnTo>
                    <a:pt x="83" y="479"/>
                  </a:lnTo>
                  <a:lnTo>
                    <a:pt x="76" y="487"/>
                  </a:lnTo>
                  <a:lnTo>
                    <a:pt x="69" y="496"/>
                  </a:lnTo>
                  <a:lnTo>
                    <a:pt x="60" y="505"/>
                  </a:lnTo>
                  <a:lnTo>
                    <a:pt x="43" y="522"/>
                  </a:lnTo>
                  <a:lnTo>
                    <a:pt x="35" y="528"/>
                  </a:lnTo>
                  <a:lnTo>
                    <a:pt x="35" y="538"/>
                  </a:lnTo>
                  <a:lnTo>
                    <a:pt x="29" y="544"/>
                  </a:lnTo>
                  <a:lnTo>
                    <a:pt x="23" y="552"/>
                  </a:lnTo>
                  <a:lnTo>
                    <a:pt x="15" y="561"/>
                  </a:lnTo>
                  <a:lnTo>
                    <a:pt x="9" y="568"/>
                  </a:lnTo>
                  <a:lnTo>
                    <a:pt x="9" y="579"/>
                  </a:lnTo>
                  <a:lnTo>
                    <a:pt x="5" y="586"/>
                  </a:lnTo>
                  <a:lnTo>
                    <a:pt x="0" y="593"/>
                  </a:lnTo>
                  <a:lnTo>
                    <a:pt x="0" y="633"/>
                  </a:lnTo>
                  <a:lnTo>
                    <a:pt x="5" y="637"/>
                  </a:lnTo>
                  <a:lnTo>
                    <a:pt x="10" y="640"/>
                  </a:lnTo>
                  <a:lnTo>
                    <a:pt x="17" y="642"/>
                  </a:lnTo>
                  <a:lnTo>
                    <a:pt x="25" y="643"/>
                  </a:lnTo>
                  <a:lnTo>
                    <a:pt x="31" y="649"/>
                  </a:lnTo>
                  <a:lnTo>
                    <a:pt x="37" y="656"/>
                  </a:lnTo>
                  <a:lnTo>
                    <a:pt x="44" y="661"/>
                  </a:lnTo>
                  <a:lnTo>
                    <a:pt x="50" y="663"/>
                  </a:lnTo>
                  <a:lnTo>
                    <a:pt x="100" y="663"/>
                  </a:lnTo>
                  <a:lnTo>
                    <a:pt x="100" y="668"/>
                  </a:lnTo>
                  <a:lnTo>
                    <a:pt x="100" y="672"/>
                  </a:lnTo>
                  <a:lnTo>
                    <a:pt x="101" y="675"/>
                  </a:lnTo>
                  <a:lnTo>
                    <a:pt x="102" y="677"/>
                  </a:lnTo>
                  <a:lnTo>
                    <a:pt x="103" y="678"/>
                  </a:lnTo>
                  <a:lnTo>
                    <a:pt x="104" y="678"/>
                  </a:lnTo>
                  <a:lnTo>
                    <a:pt x="105" y="693"/>
                  </a:lnTo>
                  <a:lnTo>
                    <a:pt x="108" y="708"/>
                  </a:lnTo>
                  <a:lnTo>
                    <a:pt x="109" y="723"/>
                  </a:lnTo>
                  <a:lnTo>
                    <a:pt x="110" y="738"/>
                  </a:lnTo>
                  <a:lnTo>
                    <a:pt x="108" y="741"/>
                  </a:lnTo>
                  <a:lnTo>
                    <a:pt x="106" y="750"/>
                  </a:lnTo>
                  <a:lnTo>
                    <a:pt x="105" y="764"/>
                  </a:lnTo>
                  <a:lnTo>
                    <a:pt x="105" y="779"/>
                  </a:lnTo>
                  <a:lnTo>
                    <a:pt x="104" y="810"/>
                  </a:lnTo>
                  <a:lnTo>
                    <a:pt x="104" y="827"/>
                  </a:lnTo>
                  <a:lnTo>
                    <a:pt x="102" y="835"/>
                  </a:lnTo>
                  <a:lnTo>
                    <a:pt x="100" y="843"/>
                  </a:lnTo>
                  <a:lnTo>
                    <a:pt x="100" y="850"/>
                  </a:lnTo>
                  <a:lnTo>
                    <a:pt x="100" y="858"/>
                  </a:lnTo>
                  <a:lnTo>
                    <a:pt x="98" y="868"/>
                  </a:lnTo>
                  <a:lnTo>
                    <a:pt x="94" y="882"/>
                  </a:lnTo>
                  <a:lnTo>
                    <a:pt x="92" y="883"/>
                  </a:lnTo>
                  <a:lnTo>
                    <a:pt x="90" y="885"/>
                  </a:lnTo>
                  <a:lnTo>
                    <a:pt x="90" y="889"/>
                  </a:lnTo>
                  <a:lnTo>
                    <a:pt x="90" y="892"/>
                  </a:lnTo>
                  <a:lnTo>
                    <a:pt x="89" y="894"/>
                  </a:lnTo>
                  <a:lnTo>
                    <a:pt x="86" y="898"/>
                  </a:lnTo>
                  <a:lnTo>
                    <a:pt x="83" y="901"/>
                  </a:lnTo>
                  <a:lnTo>
                    <a:pt x="80" y="902"/>
                  </a:lnTo>
                  <a:lnTo>
                    <a:pt x="80" y="922"/>
                  </a:lnTo>
                  <a:lnTo>
                    <a:pt x="77" y="922"/>
                  </a:lnTo>
                  <a:lnTo>
                    <a:pt x="76" y="923"/>
                  </a:lnTo>
                  <a:lnTo>
                    <a:pt x="76" y="926"/>
                  </a:lnTo>
                  <a:lnTo>
                    <a:pt x="75" y="928"/>
                  </a:lnTo>
                  <a:lnTo>
                    <a:pt x="75" y="932"/>
                  </a:lnTo>
                  <a:lnTo>
                    <a:pt x="75" y="937"/>
                  </a:lnTo>
                  <a:lnTo>
                    <a:pt x="70" y="940"/>
                  </a:lnTo>
                  <a:lnTo>
                    <a:pt x="65" y="942"/>
                  </a:lnTo>
                  <a:lnTo>
                    <a:pt x="65" y="957"/>
                  </a:lnTo>
                  <a:lnTo>
                    <a:pt x="80" y="957"/>
                  </a:lnTo>
                  <a:lnTo>
                    <a:pt x="94" y="957"/>
                  </a:lnTo>
                  <a:lnTo>
                    <a:pt x="110" y="957"/>
                  </a:lnTo>
                  <a:lnTo>
                    <a:pt x="124" y="957"/>
                  </a:lnTo>
                  <a:lnTo>
                    <a:pt x="137" y="967"/>
                  </a:lnTo>
                  <a:lnTo>
                    <a:pt x="153" y="983"/>
                  </a:lnTo>
                  <a:lnTo>
                    <a:pt x="161" y="991"/>
                  </a:lnTo>
                  <a:lnTo>
                    <a:pt x="168" y="1000"/>
                  </a:lnTo>
                  <a:lnTo>
                    <a:pt x="172" y="1007"/>
                  </a:lnTo>
                  <a:lnTo>
                    <a:pt x="175" y="1012"/>
                  </a:lnTo>
                  <a:lnTo>
                    <a:pt x="176" y="1013"/>
                  </a:lnTo>
                  <a:lnTo>
                    <a:pt x="179" y="1015"/>
                  </a:lnTo>
                  <a:lnTo>
                    <a:pt x="182" y="1018"/>
                  </a:lnTo>
                  <a:lnTo>
                    <a:pt x="185" y="1022"/>
                  </a:lnTo>
                  <a:lnTo>
                    <a:pt x="188" y="1022"/>
                  </a:lnTo>
                  <a:lnTo>
                    <a:pt x="191" y="1023"/>
                  </a:lnTo>
                  <a:lnTo>
                    <a:pt x="194" y="1024"/>
                  </a:lnTo>
                  <a:lnTo>
                    <a:pt x="195" y="1027"/>
                  </a:lnTo>
                  <a:lnTo>
                    <a:pt x="215" y="1027"/>
                  </a:lnTo>
                  <a:lnTo>
                    <a:pt x="219" y="1022"/>
                  </a:lnTo>
                  <a:lnTo>
                    <a:pt x="220" y="1018"/>
                  </a:lnTo>
                  <a:lnTo>
                    <a:pt x="221" y="1013"/>
                  </a:lnTo>
                  <a:lnTo>
                    <a:pt x="224" y="1007"/>
                  </a:lnTo>
                  <a:lnTo>
                    <a:pt x="227" y="1002"/>
                  </a:lnTo>
                  <a:lnTo>
                    <a:pt x="234" y="991"/>
                  </a:lnTo>
                  <a:lnTo>
                    <a:pt x="239" y="983"/>
                  </a:lnTo>
                  <a:lnTo>
                    <a:pt x="239" y="973"/>
                  </a:lnTo>
                  <a:lnTo>
                    <a:pt x="243" y="971"/>
                  </a:lnTo>
                  <a:lnTo>
                    <a:pt x="246" y="971"/>
                  </a:lnTo>
                  <a:lnTo>
                    <a:pt x="248" y="970"/>
                  </a:lnTo>
                  <a:lnTo>
                    <a:pt x="250" y="968"/>
                  </a:lnTo>
                  <a:lnTo>
                    <a:pt x="252" y="966"/>
                  </a:lnTo>
                  <a:lnTo>
                    <a:pt x="253" y="964"/>
                  </a:lnTo>
                  <a:lnTo>
                    <a:pt x="254" y="960"/>
                  </a:lnTo>
                  <a:lnTo>
                    <a:pt x="254" y="957"/>
                  </a:lnTo>
                  <a:lnTo>
                    <a:pt x="264" y="957"/>
                  </a:lnTo>
                  <a:lnTo>
                    <a:pt x="268" y="956"/>
                  </a:lnTo>
                  <a:lnTo>
                    <a:pt x="274" y="951"/>
                  </a:lnTo>
                  <a:lnTo>
                    <a:pt x="279" y="947"/>
                  </a:lnTo>
                  <a:lnTo>
                    <a:pt x="284" y="942"/>
                  </a:lnTo>
                  <a:lnTo>
                    <a:pt x="291" y="941"/>
                  </a:lnTo>
                  <a:lnTo>
                    <a:pt x="297" y="940"/>
                  </a:lnTo>
                  <a:lnTo>
                    <a:pt x="305" y="938"/>
                  </a:lnTo>
                  <a:lnTo>
                    <a:pt x="313" y="936"/>
                  </a:lnTo>
                  <a:lnTo>
                    <a:pt x="321" y="931"/>
                  </a:lnTo>
                  <a:lnTo>
                    <a:pt x="329" y="928"/>
                  </a:lnTo>
                  <a:lnTo>
                    <a:pt x="334" y="922"/>
                  </a:lnTo>
                  <a:lnTo>
                    <a:pt x="339" y="918"/>
                  </a:lnTo>
                  <a:lnTo>
                    <a:pt x="346" y="917"/>
                  </a:lnTo>
                  <a:lnTo>
                    <a:pt x="353" y="914"/>
                  </a:lnTo>
                  <a:lnTo>
                    <a:pt x="359" y="911"/>
                  </a:lnTo>
                  <a:lnTo>
                    <a:pt x="363" y="908"/>
                  </a:lnTo>
                  <a:lnTo>
                    <a:pt x="379" y="908"/>
                  </a:lnTo>
                  <a:lnTo>
                    <a:pt x="380" y="907"/>
                  </a:lnTo>
                  <a:lnTo>
                    <a:pt x="383" y="904"/>
                  </a:lnTo>
                  <a:lnTo>
                    <a:pt x="387" y="901"/>
                  </a:lnTo>
                  <a:lnTo>
                    <a:pt x="389" y="898"/>
                  </a:lnTo>
                  <a:lnTo>
                    <a:pt x="390" y="897"/>
                  </a:lnTo>
                  <a:lnTo>
                    <a:pt x="391" y="895"/>
                  </a:lnTo>
                  <a:lnTo>
                    <a:pt x="391" y="894"/>
                  </a:lnTo>
                  <a:lnTo>
                    <a:pt x="391" y="892"/>
                  </a:lnTo>
                  <a:lnTo>
                    <a:pt x="390" y="887"/>
                  </a:lnTo>
                  <a:lnTo>
                    <a:pt x="389" y="881"/>
                  </a:lnTo>
                  <a:lnTo>
                    <a:pt x="389" y="874"/>
                  </a:lnTo>
                  <a:lnTo>
                    <a:pt x="390" y="868"/>
                  </a:lnTo>
                  <a:lnTo>
                    <a:pt x="392" y="865"/>
                  </a:lnTo>
                  <a:lnTo>
                    <a:pt x="396" y="863"/>
                  </a:lnTo>
                  <a:lnTo>
                    <a:pt x="399" y="861"/>
                  </a:lnTo>
                  <a:lnTo>
                    <a:pt x="403" y="860"/>
                  </a:lnTo>
                  <a:lnTo>
                    <a:pt x="409" y="858"/>
                  </a:lnTo>
                  <a:lnTo>
                    <a:pt x="415" y="855"/>
                  </a:lnTo>
                  <a:lnTo>
                    <a:pt x="419" y="852"/>
                  </a:lnTo>
                  <a:lnTo>
                    <a:pt x="423" y="849"/>
                  </a:lnTo>
                  <a:lnTo>
                    <a:pt x="431" y="840"/>
                  </a:lnTo>
                  <a:lnTo>
                    <a:pt x="438" y="830"/>
                  </a:lnTo>
                  <a:lnTo>
                    <a:pt x="449" y="810"/>
                  </a:lnTo>
                  <a:lnTo>
                    <a:pt x="457" y="797"/>
                  </a:lnTo>
                  <a:lnTo>
                    <a:pt x="464" y="792"/>
                  </a:lnTo>
                  <a:lnTo>
                    <a:pt x="465" y="791"/>
                  </a:lnTo>
                  <a:lnTo>
                    <a:pt x="459" y="794"/>
                  </a:lnTo>
                  <a:lnTo>
                    <a:pt x="446" y="798"/>
                  </a:lnTo>
                  <a:lnTo>
                    <a:pt x="436" y="802"/>
                  </a:lnTo>
                  <a:lnTo>
                    <a:pt x="423" y="805"/>
                  </a:lnTo>
                  <a:lnTo>
                    <a:pt x="408" y="808"/>
                  </a:lnTo>
                  <a:lnTo>
                    <a:pt x="391" y="811"/>
                  </a:lnTo>
                  <a:lnTo>
                    <a:pt x="370" y="814"/>
                  </a:lnTo>
                  <a:lnTo>
                    <a:pt x="346" y="816"/>
                  </a:lnTo>
                  <a:lnTo>
                    <a:pt x="320" y="817"/>
                  </a:lnTo>
                  <a:lnTo>
                    <a:pt x="290" y="817"/>
                  </a:lnTo>
                  <a:lnTo>
                    <a:pt x="287" y="814"/>
                  </a:lnTo>
                  <a:lnTo>
                    <a:pt x="284" y="811"/>
                  </a:lnTo>
                  <a:lnTo>
                    <a:pt x="281" y="808"/>
                  </a:lnTo>
                  <a:lnTo>
                    <a:pt x="279" y="807"/>
                  </a:lnTo>
                  <a:lnTo>
                    <a:pt x="274" y="797"/>
                  </a:lnTo>
                  <a:lnTo>
                    <a:pt x="269" y="783"/>
                  </a:lnTo>
                  <a:lnTo>
                    <a:pt x="269" y="753"/>
                  </a:lnTo>
                  <a:lnTo>
                    <a:pt x="272" y="745"/>
                  </a:lnTo>
                  <a:lnTo>
                    <a:pt x="274" y="738"/>
                  </a:lnTo>
                  <a:lnTo>
                    <a:pt x="279" y="737"/>
                  </a:lnTo>
                  <a:lnTo>
                    <a:pt x="284" y="734"/>
                  </a:lnTo>
                  <a:lnTo>
                    <a:pt x="287" y="729"/>
                  </a:lnTo>
                  <a:lnTo>
                    <a:pt x="291" y="724"/>
                  </a:lnTo>
                  <a:lnTo>
                    <a:pt x="297" y="712"/>
                  </a:lnTo>
                  <a:lnTo>
                    <a:pt x="304" y="704"/>
                  </a:lnTo>
                  <a:lnTo>
                    <a:pt x="304" y="678"/>
                  </a:lnTo>
                  <a:lnTo>
                    <a:pt x="306" y="668"/>
                  </a:lnTo>
                  <a:lnTo>
                    <a:pt x="309" y="656"/>
                  </a:lnTo>
                  <a:lnTo>
                    <a:pt x="309" y="641"/>
                  </a:lnTo>
                  <a:lnTo>
                    <a:pt x="309" y="629"/>
                  </a:lnTo>
                  <a:lnTo>
                    <a:pt x="294" y="613"/>
                  </a:lnTo>
                  <a:lnTo>
                    <a:pt x="294" y="603"/>
                  </a:lnTo>
                  <a:lnTo>
                    <a:pt x="290" y="599"/>
                  </a:lnTo>
                  <a:lnTo>
                    <a:pt x="279" y="599"/>
                  </a:lnTo>
                  <a:lnTo>
                    <a:pt x="276" y="593"/>
                  </a:lnTo>
                  <a:lnTo>
                    <a:pt x="274" y="589"/>
                  </a:lnTo>
                  <a:lnTo>
                    <a:pt x="264" y="589"/>
                  </a:lnTo>
                  <a:lnTo>
                    <a:pt x="263" y="585"/>
                  </a:lnTo>
                  <a:lnTo>
                    <a:pt x="258" y="582"/>
                  </a:lnTo>
                  <a:lnTo>
                    <a:pt x="254" y="580"/>
                  </a:lnTo>
                  <a:lnTo>
                    <a:pt x="249" y="579"/>
                  </a:lnTo>
                  <a:lnTo>
                    <a:pt x="243" y="572"/>
                  </a:lnTo>
                  <a:lnTo>
                    <a:pt x="228" y="558"/>
                  </a:lnTo>
                  <a:lnTo>
                    <a:pt x="219" y="551"/>
                  </a:lnTo>
                  <a:lnTo>
                    <a:pt x="211" y="545"/>
                  </a:lnTo>
                  <a:lnTo>
                    <a:pt x="205" y="541"/>
                  </a:lnTo>
                  <a:lnTo>
                    <a:pt x="199" y="538"/>
                  </a:lnTo>
                  <a:lnTo>
                    <a:pt x="195" y="534"/>
                  </a:lnTo>
                  <a:lnTo>
                    <a:pt x="195" y="524"/>
                  </a:lnTo>
                  <a:lnTo>
                    <a:pt x="191" y="515"/>
                  </a:lnTo>
                  <a:lnTo>
                    <a:pt x="190" y="503"/>
                  </a:lnTo>
                  <a:lnTo>
                    <a:pt x="189" y="490"/>
                  </a:lnTo>
                  <a:lnTo>
                    <a:pt x="189" y="479"/>
                  </a:lnTo>
                  <a:lnTo>
                    <a:pt x="194" y="475"/>
                  </a:lnTo>
                  <a:lnTo>
                    <a:pt x="199" y="469"/>
                  </a:lnTo>
                  <a:lnTo>
                    <a:pt x="205" y="466"/>
                  </a:lnTo>
                  <a:lnTo>
                    <a:pt x="209" y="464"/>
                  </a:lnTo>
                  <a:lnTo>
                    <a:pt x="213" y="457"/>
                  </a:lnTo>
                  <a:lnTo>
                    <a:pt x="217" y="452"/>
                  </a:lnTo>
                  <a:lnTo>
                    <a:pt x="223" y="448"/>
                  </a:lnTo>
                  <a:lnTo>
                    <a:pt x="229" y="443"/>
                  </a:lnTo>
                  <a:lnTo>
                    <a:pt x="233" y="440"/>
                  </a:lnTo>
                  <a:lnTo>
                    <a:pt x="240" y="432"/>
                  </a:lnTo>
                  <a:lnTo>
                    <a:pt x="253" y="422"/>
                  </a:lnTo>
                  <a:lnTo>
                    <a:pt x="267" y="412"/>
                  </a:lnTo>
                  <a:lnTo>
                    <a:pt x="294" y="393"/>
                  </a:lnTo>
                  <a:lnTo>
                    <a:pt x="309" y="384"/>
                  </a:lnTo>
                  <a:lnTo>
                    <a:pt x="311" y="380"/>
                  </a:lnTo>
                  <a:lnTo>
                    <a:pt x="315" y="374"/>
                  </a:lnTo>
                  <a:lnTo>
                    <a:pt x="319" y="372"/>
                  </a:lnTo>
                  <a:lnTo>
                    <a:pt x="322" y="371"/>
                  </a:lnTo>
                  <a:lnTo>
                    <a:pt x="325" y="370"/>
                  </a:lnTo>
                  <a:lnTo>
                    <a:pt x="329" y="369"/>
                  </a:lnTo>
                  <a:lnTo>
                    <a:pt x="334" y="359"/>
                  </a:lnTo>
                  <a:lnTo>
                    <a:pt x="344" y="359"/>
                  </a:lnTo>
                  <a:lnTo>
                    <a:pt x="344" y="356"/>
                  </a:lnTo>
                  <a:lnTo>
                    <a:pt x="346" y="355"/>
                  </a:lnTo>
                  <a:lnTo>
                    <a:pt x="350" y="354"/>
                  </a:lnTo>
                  <a:lnTo>
                    <a:pt x="354" y="354"/>
                  </a:lnTo>
                  <a:lnTo>
                    <a:pt x="355" y="353"/>
                  </a:lnTo>
                  <a:lnTo>
                    <a:pt x="358" y="351"/>
                  </a:lnTo>
                  <a:lnTo>
                    <a:pt x="362" y="351"/>
                  </a:lnTo>
                  <a:lnTo>
                    <a:pt x="367" y="350"/>
                  </a:lnTo>
                  <a:lnTo>
                    <a:pt x="377" y="350"/>
                  </a:lnTo>
                  <a:lnTo>
                    <a:pt x="383" y="350"/>
                  </a:lnTo>
                  <a:lnTo>
                    <a:pt x="393" y="340"/>
                  </a:lnTo>
                  <a:lnTo>
                    <a:pt x="403" y="340"/>
                  </a:lnTo>
                  <a:lnTo>
                    <a:pt x="403" y="332"/>
                  </a:lnTo>
                  <a:lnTo>
                    <a:pt x="403" y="324"/>
                  </a:lnTo>
                  <a:lnTo>
                    <a:pt x="393" y="320"/>
                  </a:lnTo>
                  <a:lnTo>
                    <a:pt x="390" y="320"/>
                  </a:lnTo>
                  <a:lnTo>
                    <a:pt x="387" y="318"/>
                  </a:lnTo>
                  <a:lnTo>
                    <a:pt x="384" y="317"/>
                  </a:lnTo>
                  <a:lnTo>
                    <a:pt x="383" y="314"/>
                  </a:lnTo>
                  <a:lnTo>
                    <a:pt x="369" y="314"/>
                  </a:lnTo>
                  <a:lnTo>
                    <a:pt x="369" y="313"/>
                  </a:lnTo>
                  <a:lnTo>
                    <a:pt x="367" y="312"/>
                  </a:lnTo>
                  <a:lnTo>
                    <a:pt x="365" y="311"/>
                  </a:lnTo>
                  <a:lnTo>
                    <a:pt x="363" y="310"/>
                  </a:lnTo>
                  <a:lnTo>
                    <a:pt x="359" y="310"/>
                  </a:lnTo>
                  <a:lnTo>
                    <a:pt x="354" y="310"/>
                  </a:lnTo>
                  <a:lnTo>
                    <a:pt x="344" y="304"/>
                  </a:lnTo>
                  <a:lnTo>
                    <a:pt x="341" y="297"/>
                  </a:lnTo>
                  <a:lnTo>
                    <a:pt x="339" y="289"/>
                  </a:lnTo>
                  <a:lnTo>
                    <a:pt x="334" y="287"/>
                  </a:lnTo>
                  <a:lnTo>
                    <a:pt x="329" y="284"/>
                  </a:lnTo>
                  <a:lnTo>
                    <a:pt x="329" y="275"/>
                  </a:lnTo>
                  <a:lnTo>
                    <a:pt x="324" y="267"/>
                  </a:lnTo>
                  <a:lnTo>
                    <a:pt x="319" y="259"/>
                  </a:lnTo>
                  <a:lnTo>
                    <a:pt x="319" y="249"/>
                  </a:lnTo>
                  <a:lnTo>
                    <a:pt x="314" y="247"/>
                  </a:lnTo>
                  <a:lnTo>
                    <a:pt x="309" y="245"/>
                  </a:lnTo>
                  <a:lnTo>
                    <a:pt x="304" y="235"/>
                  </a:lnTo>
                  <a:lnTo>
                    <a:pt x="298" y="225"/>
                  </a:lnTo>
                  <a:lnTo>
                    <a:pt x="292" y="217"/>
                  </a:lnTo>
                  <a:lnTo>
                    <a:pt x="284" y="209"/>
                  </a:lnTo>
                  <a:lnTo>
                    <a:pt x="284" y="154"/>
                  </a:lnTo>
                  <a:lnTo>
                    <a:pt x="292" y="142"/>
                  </a:lnTo>
                  <a:lnTo>
                    <a:pt x="298" y="130"/>
                  </a:lnTo>
                  <a:lnTo>
                    <a:pt x="298" y="120"/>
                  </a:lnTo>
                  <a:lnTo>
                    <a:pt x="302" y="119"/>
                  </a:lnTo>
                  <a:lnTo>
                    <a:pt x="303" y="116"/>
                  </a:lnTo>
                  <a:lnTo>
                    <a:pt x="304" y="114"/>
                  </a:lnTo>
                  <a:lnTo>
                    <a:pt x="304" y="110"/>
                  </a:lnTo>
                  <a:lnTo>
                    <a:pt x="314" y="110"/>
                  </a:lnTo>
                  <a:lnTo>
                    <a:pt x="314" y="100"/>
                  </a:lnTo>
                  <a:lnTo>
                    <a:pt x="314" y="90"/>
                  </a:lnTo>
                  <a:lnTo>
                    <a:pt x="315" y="87"/>
                  </a:lnTo>
                  <a:lnTo>
                    <a:pt x="316" y="79"/>
                  </a:lnTo>
                  <a:lnTo>
                    <a:pt x="317" y="67"/>
                  </a:lnTo>
                  <a:lnTo>
                    <a:pt x="319" y="54"/>
                  </a:lnTo>
                  <a:lnTo>
                    <a:pt x="319" y="27"/>
                  </a:lnTo>
                  <a:lnTo>
                    <a:pt x="319" y="10"/>
                  </a:lnTo>
                  <a:lnTo>
                    <a:pt x="304" y="0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6" name="Freeform 62"/>
            <p:cNvSpPr>
              <a:spLocks noChangeAspect="1"/>
            </p:cNvSpPr>
            <p:nvPr/>
          </p:nvSpPr>
          <p:spPr bwMode="gray">
            <a:xfrm rot="355651">
              <a:off x="7656513" y="4975225"/>
              <a:ext cx="66652" cy="50036"/>
            </a:xfrm>
            <a:custGeom>
              <a:avLst/>
              <a:gdLst/>
              <a:ahLst/>
              <a:cxnLst>
                <a:cxn ang="0">
                  <a:pos x="304" y="17"/>
                </a:cxn>
                <a:cxn ang="0">
                  <a:pos x="289" y="20"/>
                </a:cxn>
                <a:cxn ang="0">
                  <a:pos x="266" y="24"/>
                </a:cxn>
                <a:cxn ang="0">
                  <a:pos x="235" y="34"/>
                </a:cxn>
                <a:cxn ang="0">
                  <a:pos x="200" y="39"/>
                </a:cxn>
                <a:cxn ang="0">
                  <a:pos x="164" y="46"/>
                </a:cxn>
                <a:cxn ang="0">
                  <a:pos x="141" y="56"/>
                </a:cxn>
                <a:cxn ang="0">
                  <a:pos x="127" y="66"/>
                </a:cxn>
                <a:cxn ang="0">
                  <a:pos x="116" y="81"/>
                </a:cxn>
                <a:cxn ang="0">
                  <a:pos x="105" y="100"/>
                </a:cxn>
                <a:cxn ang="0">
                  <a:pos x="87" y="119"/>
                </a:cxn>
                <a:cxn ang="0">
                  <a:pos x="57" y="141"/>
                </a:cxn>
                <a:cxn ang="0">
                  <a:pos x="32" y="159"/>
                </a:cxn>
                <a:cxn ang="0">
                  <a:pos x="18" y="171"/>
                </a:cxn>
                <a:cxn ang="0">
                  <a:pos x="7" y="186"/>
                </a:cxn>
                <a:cxn ang="0">
                  <a:pos x="1" y="200"/>
                </a:cxn>
                <a:cxn ang="0">
                  <a:pos x="9" y="214"/>
                </a:cxn>
                <a:cxn ang="0">
                  <a:pos x="20" y="227"/>
                </a:cxn>
                <a:cxn ang="0">
                  <a:pos x="31" y="253"/>
                </a:cxn>
                <a:cxn ang="0">
                  <a:pos x="39" y="279"/>
                </a:cxn>
                <a:cxn ang="0">
                  <a:pos x="47" y="292"/>
                </a:cxn>
                <a:cxn ang="0">
                  <a:pos x="57" y="301"/>
                </a:cxn>
                <a:cxn ang="0">
                  <a:pos x="68" y="306"/>
                </a:cxn>
                <a:cxn ang="0">
                  <a:pos x="88" y="311"/>
                </a:cxn>
                <a:cxn ang="0">
                  <a:pos x="117" y="311"/>
                </a:cxn>
                <a:cxn ang="0">
                  <a:pos x="143" y="308"/>
                </a:cxn>
                <a:cxn ang="0">
                  <a:pos x="163" y="303"/>
                </a:cxn>
                <a:cxn ang="0">
                  <a:pos x="181" y="294"/>
                </a:cxn>
                <a:cxn ang="0">
                  <a:pos x="192" y="284"/>
                </a:cxn>
                <a:cxn ang="0">
                  <a:pos x="196" y="275"/>
                </a:cxn>
                <a:cxn ang="0">
                  <a:pos x="201" y="263"/>
                </a:cxn>
                <a:cxn ang="0">
                  <a:pos x="209" y="250"/>
                </a:cxn>
                <a:cxn ang="0">
                  <a:pos x="225" y="236"/>
                </a:cxn>
                <a:cxn ang="0">
                  <a:pos x="268" y="211"/>
                </a:cxn>
                <a:cxn ang="0">
                  <a:pos x="302" y="190"/>
                </a:cxn>
                <a:cxn ang="0">
                  <a:pos x="317" y="172"/>
                </a:cxn>
                <a:cxn ang="0">
                  <a:pos x="327" y="151"/>
                </a:cxn>
                <a:cxn ang="0">
                  <a:pos x="333" y="128"/>
                </a:cxn>
                <a:cxn ang="0">
                  <a:pos x="334" y="100"/>
                </a:cxn>
                <a:cxn ang="0">
                  <a:pos x="338" y="81"/>
                </a:cxn>
                <a:cxn ang="0">
                  <a:pos x="345" y="68"/>
                </a:cxn>
                <a:cxn ang="0">
                  <a:pos x="356" y="52"/>
                </a:cxn>
                <a:cxn ang="0">
                  <a:pos x="364" y="37"/>
                </a:cxn>
                <a:cxn ang="0">
                  <a:pos x="368" y="25"/>
                </a:cxn>
                <a:cxn ang="0">
                  <a:pos x="367" y="16"/>
                </a:cxn>
                <a:cxn ang="0">
                  <a:pos x="363" y="9"/>
                </a:cxn>
                <a:cxn ang="0">
                  <a:pos x="356" y="5"/>
                </a:cxn>
                <a:cxn ang="0">
                  <a:pos x="338" y="0"/>
                </a:cxn>
                <a:cxn ang="0">
                  <a:pos x="318" y="6"/>
                </a:cxn>
              </a:cxnLst>
              <a:rect l="0" t="0" r="r" b="b"/>
              <a:pathLst>
                <a:path w="368" h="311">
                  <a:moveTo>
                    <a:pt x="310" y="14"/>
                  </a:moveTo>
                  <a:lnTo>
                    <a:pt x="304" y="17"/>
                  </a:lnTo>
                  <a:lnTo>
                    <a:pt x="297" y="19"/>
                  </a:lnTo>
                  <a:lnTo>
                    <a:pt x="289" y="20"/>
                  </a:lnTo>
                  <a:lnTo>
                    <a:pt x="281" y="22"/>
                  </a:lnTo>
                  <a:lnTo>
                    <a:pt x="266" y="24"/>
                  </a:lnTo>
                  <a:lnTo>
                    <a:pt x="251" y="28"/>
                  </a:lnTo>
                  <a:lnTo>
                    <a:pt x="235" y="34"/>
                  </a:lnTo>
                  <a:lnTo>
                    <a:pt x="218" y="37"/>
                  </a:lnTo>
                  <a:lnTo>
                    <a:pt x="200" y="39"/>
                  </a:lnTo>
                  <a:lnTo>
                    <a:pt x="182" y="43"/>
                  </a:lnTo>
                  <a:lnTo>
                    <a:pt x="164" y="46"/>
                  </a:lnTo>
                  <a:lnTo>
                    <a:pt x="148" y="52"/>
                  </a:lnTo>
                  <a:lnTo>
                    <a:pt x="141" y="56"/>
                  </a:lnTo>
                  <a:lnTo>
                    <a:pt x="134" y="61"/>
                  </a:lnTo>
                  <a:lnTo>
                    <a:pt x="127" y="66"/>
                  </a:lnTo>
                  <a:lnTo>
                    <a:pt x="122" y="72"/>
                  </a:lnTo>
                  <a:lnTo>
                    <a:pt x="116" y="81"/>
                  </a:lnTo>
                  <a:lnTo>
                    <a:pt x="110" y="91"/>
                  </a:lnTo>
                  <a:lnTo>
                    <a:pt x="105" y="100"/>
                  </a:lnTo>
                  <a:lnTo>
                    <a:pt x="99" y="107"/>
                  </a:lnTo>
                  <a:lnTo>
                    <a:pt x="87" y="119"/>
                  </a:lnTo>
                  <a:lnTo>
                    <a:pt x="72" y="130"/>
                  </a:lnTo>
                  <a:lnTo>
                    <a:pt x="57" y="141"/>
                  </a:lnTo>
                  <a:lnTo>
                    <a:pt x="40" y="152"/>
                  </a:lnTo>
                  <a:lnTo>
                    <a:pt x="32" y="159"/>
                  </a:lnTo>
                  <a:lnTo>
                    <a:pt x="24" y="164"/>
                  </a:lnTo>
                  <a:lnTo>
                    <a:pt x="18" y="171"/>
                  </a:lnTo>
                  <a:lnTo>
                    <a:pt x="12" y="178"/>
                  </a:lnTo>
                  <a:lnTo>
                    <a:pt x="7" y="186"/>
                  </a:lnTo>
                  <a:lnTo>
                    <a:pt x="3" y="192"/>
                  </a:lnTo>
                  <a:lnTo>
                    <a:pt x="1" y="200"/>
                  </a:lnTo>
                  <a:lnTo>
                    <a:pt x="0" y="208"/>
                  </a:lnTo>
                  <a:lnTo>
                    <a:pt x="9" y="214"/>
                  </a:lnTo>
                  <a:lnTo>
                    <a:pt x="16" y="219"/>
                  </a:lnTo>
                  <a:lnTo>
                    <a:pt x="20" y="227"/>
                  </a:lnTo>
                  <a:lnTo>
                    <a:pt x="24" y="235"/>
                  </a:lnTo>
                  <a:lnTo>
                    <a:pt x="31" y="253"/>
                  </a:lnTo>
                  <a:lnTo>
                    <a:pt x="37" y="272"/>
                  </a:lnTo>
                  <a:lnTo>
                    <a:pt x="39" y="279"/>
                  </a:lnTo>
                  <a:lnTo>
                    <a:pt x="42" y="286"/>
                  </a:lnTo>
                  <a:lnTo>
                    <a:pt x="47" y="292"/>
                  </a:lnTo>
                  <a:lnTo>
                    <a:pt x="51" y="297"/>
                  </a:lnTo>
                  <a:lnTo>
                    <a:pt x="57" y="301"/>
                  </a:lnTo>
                  <a:lnTo>
                    <a:pt x="62" y="304"/>
                  </a:lnTo>
                  <a:lnTo>
                    <a:pt x="68" y="306"/>
                  </a:lnTo>
                  <a:lnTo>
                    <a:pt x="75" y="308"/>
                  </a:lnTo>
                  <a:lnTo>
                    <a:pt x="88" y="311"/>
                  </a:lnTo>
                  <a:lnTo>
                    <a:pt x="103" y="311"/>
                  </a:lnTo>
                  <a:lnTo>
                    <a:pt x="117" y="311"/>
                  </a:lnTo>
                  <a:lnTo>
                    <a:pt x="132" y="310"/>
                  </a:lnTo>
                  <a:lnTo>
                    <a:pt x="143" y="308"/>
                  </a:lnTo>
                  <a:lnTo>
                    <a:pt x="153" y="306"/>
                  </a:lnTo>
                  <a:lnTo>
                    <a:pt x="163" y="303"/>
                  </a:lnTo>
                  <a:lnTo>
                    <a:pt x="173" y="299"/>
                  </a:lnTo>
                  <a:lnTo>
                    <a:pt x="181" y="294"/>
                  </a:lnTo>
                  <a:lnTo>
                    <a:pt x="189" y="287"/>
                  </a:lnTo>
                  <a:lnTo>
                    <a:pt x="192" y="284"/>
                  </a:lnTo>
                  <a:lnTo>
                    <a:pt x="194" y="279"/>
                  </a:lnTo>
                  <a:lnTo>
                    <a:pt x="196" y="275"/>
                  </a:lnTo>
                  <a:lnTo>
                    <a:pt x="199" y="269"/>
                  </a:lnTo>
                  <a:lnTo>
                    <a:pt x="201" y="263"/>
                  </a:lnTo>
                  <a:lnTo>
                    <a:pt x="204" y="256"/>
                  </a:lnTo>
                  <a:lnTo>
                    <a:pt x="209" y="250"/>
                  </a:lnTo>
                  <a:lnTo>
                    <a:pt x="213" y="245"/>
                  </a:lnTo>
                  <a:lnTo>
                    <a:pt x="225" y="236"/>
                  </a:lnTo>
                  <a:lnTo>
                    <a:pt x="239" y="227"/>
                  </a:lnTo>
                  <a:lnTo>
                    <a:pt x="268" y="211"/>
                  </a:lnTo>
                  <a:lnTo>
                    <a:pt x="294" y="197"/>
                  </a:lnTo>
                  <a:lnTo>
                    <a:pt x="302" y="190"/>
                  </a:lnTo>
                  <a:lnTo>
                    <a:pt x="309" y="182"/>
                  </a:lnTo>
                  <a:lnTo>
                    <a:pt x="317" y="172"/>
                  </a:lnTo>
                  <a:lnTo>
                    <a:pt x="323" y="162"/>
                  </a:lnTo>
                  <a:lnTo>
                    <a:pt x="327" y="151"/>
                  </a:lnTo>
                  <a:lnTo>
                    <a:pt x="330" y="139"/>
                  </a:lnTo>
                  <a:lnTo>
                    <a:pt x="333" y="128"/>
                  </a:lnTo>
                  <a:lnTo>
                    <a:pt x="334" y="116"/>
                  </a:lnTo>
                  <a:lnTo>
                    <a:pt x="334" y="100"/>
                  </a:lnTo>
                  <a:lnTo>
                    <a:pt x="336" y="87"/>
                  </a:lnTo>
                  <a:lnTo>
                    <a:pt x="338" y="81"/>
                  </a:lnTo>
                  <a:lnTo>
                    <a:pt x="340" y="75"/>
                  </a:lnTo>
                  <a:lnTo>
                    <a:pt x="345" y="68"/>
                  </a:lnTo>
                  <a:lnTo>
                    <a:pt x="349" y="61"/>
                  </a:lnTo>
                  <a:lnTo>
                    <a:pt x="356" y="52"/>
                  </a:lnTo>
                  <a:lnTo>
                    <a:pt x="360" y="44"/>
                  </a:lnTo>
                  <a:lnTo>
                    <a:pt x="364" y="37"/>
                  </a:lnTo>
                  <a:lnTo>
                    <a:pt x="367" y="30"/>
                  </a:lnTo>
                  <a:lnTo>
                    <a:pt x="368" y="25"/>
                  </a:lnTo>
                  <a:lnTo>
                    <a:pt x="368" y="20"/>
                  </a:lnTo>
                  <a:lnTo>
                    <a:pt x="367" y="16"/>
                  </a:lnTo>
                  <a:lnTo>
                    <a:pt x="366" y="13"/>
                  </a:lnTo>
                  <a:lnTo>
                    <a:pt x="363" y="9"/>
                  </a:lnTo>
                  <a:lnTo>
                    <a:pt x="359" y="6"/>
                  </a:lnTo>
                  <a:lnTo>
                    <a:pt x="356" y="5"/>
                  </a:lnTo>
                  <a:lnTo>
                    <a:pt x="350" y="3"/>
                  </a:lnTo>
                  <a:lnTo>
                    <a:pt x="338" y="0"/>
                  </a:lnTo>
                  <a:lnTo>
                    <a:pt x="324" y="0"/>
                  </a:lnTo>
                  <a:lnTo>
                    <a:pt x="318" y="6"/>
                  </a:lnTo>
                  <a:lnTo>
                    <a:pt x="310" y="14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7" name="Freeform 64"/>
            <p:cNvSpPr>
              <a:spLocks noChangeAspect="1"/>
            </p:cNvSpPr>
            <p:nvPr/>
          </p:nvSpPr>
          <p:spPr bwMode="gray">
            <a:xfrm rot="355651">
              <a:off x="7922928" y="4676775"/>
              <a:ext cx="55014" cy="39390"/>
            </a:xfrm>
            <a:custGeom>
              <a:avLst/>
              <a:gdLst/>
              <a:ahLst/>
              <a:cxnLst>
                <a:cxn ang="0">
                  <a:pos x="61" y="3"/>
                </a:cxn>
                <a:cxn ang="0">
                  <a:pos x="40" y="5"/>
                </a:cxn>
                <a:cxn ang="0">
                  <a:pos x="30" y="26"/>
                </a:cxn>
                <a:cxn ang="0">
                  <a:pos x="24" y="39"/>
                </a:cxn>
                <a:cxn ang="0">
                  <a:pos x="24" y="51"/>
                </a:cxn>
                <a:cxn ang="0">
                  <a:pos x="24" y="63"/>
                </a:cxn>
                <a:cxn ang="0">
                  <a:pos x="24" y="81"/>
                </a:cxn>
                <a:cxn ang="0">
                  <a:pos x="24" y="109"/>
                </a:cxn>
                <a:cxn ang="0">
                  <a:pos x="24" y="145"/>
                </a:cxn>
                <a:cxn ang="0">
                  <a:pos x="24" y="169"/>
                </a:cxn>
                <a:cxn ang="0">
                  <a:pos x="24" y="184"/>
                </a:cxn>
                <a:cxn ang="0">
                  <a:pos x="15" y="212"/>
                </a:cxn>
                <a:cxn ang="0">
                  <a:pos x="6" y="225"/>
                </a:cxn>
                <a:cxn ang="0">
                  <a:pos x="6" y="228"/>
                </a:cxn>
                <a:cxn ang="0">
                  <a:pos x="0" y="229"/>
                </a:cxn>
                <a:cxn ang="0">
                  <a:pos x="12" y="238"/>
                </a:cxn>
                <a:cxn ang="0">
                  <a:pos x="24" y="224"/>
                </a:cxn>
                <a:cxn ang="0">
                  <a:pos x="54" y="205"/>
                </a:cxn>
                <a:cxn ang="0">
                  <a:pos x="91" y="199"/>
                </a:cxn>
                <a:cxn ang="0">
                  <a:pos x="118" y="199"/>
                </a:cxn>
                <a:cxn ang="0">
                  <a:pos x="139" y="199"/>
                </a:cxn>
                <a:cxn ang="0">
                  <a:pos x="158" y="205"/>
                </a:cxn>
                <a:cxn ang="0">
                  <a:pos x="188" y="205"/>
                </a:cxn>
                <a:cxn ang="0">
                  <a:pos x="195" y="188"/>
                </a:cxn>
                <a:cxn ang="0">
                  <a:pos x="202" y="181"/>
                </a:cxn>
                <a:cxn ang="0">
                  <a:pos x="215" y="166"/>
                </a:cxn>
                <a:cxn ang="0">
                  <a:pos x="231" y="154"/>
                </a:cxn>
                <a:cxn ang="0">
                  <a:pos x="243" y="151"/>
                </a:cxn>
                <a:cxn ang="0">
                  <a:pos x="253" y="143"/>
                </a:cxn>
                <a:cxn ang="0">
                  <a:pos x="273" y="139"/>
                </a:cxn>
                <a:cxn ang="0">
                  <a:pos x="275" y="135"/>
                </a:cxn>
                <a:cxn ang="0">
                  <a:pos x="285" y="132"/>
                </a:cxn>
                <a:cxn ang="0">
                  <a:pos x="288" y="128"/>
                </a:cxn>
                <a:cxn ang="0">
                  <a:pos x="296" y="127"/>
                </a:cxn>
                <a:cxn ang="0">
                  <a:pos x="303" y="102"/>
                </a:cxn>
                <a:cxn ang="0">
                  <a:pos x="308" y="98"/>
                </a:cxn>
                <a:cxn ang="0">
                  <a:pos x="309" y="84"/>
                </a:cxn>
                <a:cxn ang="0">
                  <a:pos x="285" y="72"/>
                </a:cxn>
                <a:cxn ang="0">
                  <a:pos x="283" y="66"/>
                </a:cxn>
                <a:cxn ang="0">
                  <a:pos x="280" y="65"/>
                </a:cxn>
                <a:cxn ang="0">
                  <a:pos x="266" y="60"/>
                </a:cxn>
                <a:cxn ang="0">
                  <a:pos x="236" y="60"/>
                </a:cxn>
                <a:cxn ang="0">
                  <a:pos x="218" y="60"/>
                </a:cxn>
                <a:cxn ang="0">
                  <a:pos x="206" y="54"/>
                </a:cxn>
                <a:cxn ang="0">
                  <a:pos x="176" y="48"/>
                </a:cxn>
                <a:cxn ang="0">
                  <a:pos x="169" y="35"/>
                </a:cxn>
                <a:cxn ang="0">
                  <a:pos x="154" y="25"/>
                </a:cxn>
                <a:cxn ang="0">
                  <a:pos x="146" y="0"/>
                </a:cxn>
                <a:cxn ang="0">
                  <a:pos x="134" y="0"/>
                </a:cxn>
                <a:cxn ang="0">
                  <a:pos x="103" y="0"/>
                </a:cxn>
              </a:cxnLst>
              <a:rect l="0" t="0" r="r" b="b"/>
              <a:pathLst>
                <a:path w="309" h="242">
                  <a:moveTo>
                    <a:pt x="79" y="5"/>
                  </a:moveTo>
                  <a:lnTo>
                    <a:pt x="70" y="4"/>
                  </a:lnTo>
                  <a:lnTo>
                    <a:pt x="61" y="3"/>
                  </a:lnTo>
                  <a:lnTo>
                    <a:pt x="51" y="1"/>
                  </a:lnTo>
                  <a:lnTo>
                    <a:pt x="42" y="0"/>
                  </a:lnTo>
                  <a:lnTo>
                    <a:pt x="40" y="5"/>
                  </a:lnTo>
                  <a:lnTo>
                    <a:pt x="36" y="12"/>
                  </a:lnTo>
                  <a:lnTo>
                    <a:pt x="30" y="24"/>
                  </a:lnTo>
                  <a:lnTo>
                    <a:pt x="30" y="26"/>
                  </a:lnTo>
                  <a:lnTo>
                    <a:pt x="30" y="30"/>
                  </a:lnTo>
                  <a:lnTo>
                    <a:pt x="24" y="35"/>
                  </a:lnTo>
                  <a:lnTo>
                    <a:pt x="24" y="39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24" y="51"/>
                  </a:lnTo>
                  <a:lnTo>
                    <a:pt x="24" y="54"/>
                  </a:lnTo>
                  <a:lnTo>
                    <a:pt x="24" y="60"/>
                  </a:lnTo>
                  <a:lnTo>
                    <a:pt x="24" y="63"/>
                  </a:lnTo>
                  <a:lnTo>
                    <a:pt x="24" y="66"/>
                  </a:lnTo>
                  <a:lnTo>
                    <a:pt x="24" y="72"/>
                  </a:lnTo>
                  <a:lnTo>
                    <a:pt x="24" y="81"/>
                  </a:lnTo>
                  <a:lnTo>
                    <a:pt x="24" y="90"/>
                  </a:lnTo>
                  <a:lnTo>
                    <a:pt x="24" y="97"/>
                  </a:lnTo>
                  <a:lnTo>
                    <a:pt x="24" y="109"/>
                  </a:lnTo>
                  <a:lnTo>
                    <a:pt x="24" y="120"/>
                  </a:lnTo>
                  <a:lnTo>
                    <a:pt x="24" y="132"/>
                  </a:lnTo>
                  <a:lnTo>
                    <a:pt x="24" y="145"/>
                  </a:lnTo>
                  <a:lnTo>
                    <a:pt x="24" y="154"/>
                  </a:lnTo>
                  <a:lnTo>
                    <a:pt x="24" y="162"/>
                  </a:lnTo>
                  <a:lnTo>
                    <a:pt x="24" y="169"/>
                  </a:lnTo>
                  <a:lnTo>
                    <a:pt x="24" y="175"/>
                  </a:lnTo>
                  <a:lnTo>
                    <a:pt x="24" y="181"/>
                  </a:lnTo>
                  <a:lnTo>
                    <a:pt x="24" y="184"/>
                  </a:lnTo>
                  <a:lnTo>
                    <a:pt x="24" y="187"/>
                  </a:lnTo>
                  <a:lnTo>
                    <a:pt x="19" y="199"/>
                  </a:lnTo>
                  <a:lnTo>
                    <a:pt x="15" y="212"/>
                  </a:lnTo>
                  <a:lnTo>
                    <a:pt x="12" y="224"/>
                  </a:lnTo>
                  <a:lnTo>
                    <a:pt x="8" y="224"/>
                  </a:lnTo>
                  <a:lnTo>
                    <a:pt x="6" y="225"/>
                  </a:lnTo>
                  <a:lnTo>
                    <a:pt x="6" y="226"/>
                  </a:lnTo>
                  <a:lnTo>
                    <a:pt x="6" y="227"/>
                  </a:lnTo>
                  <a:lnTo>
                    <a:pt x="6" y="228"/>
                  </a:lnTo>
                  <a:lnTo>
                    <a:pt x="5" y="228"/>
                  </a:lnTo>
                  <a:lnTo>
                    <a:pt x="3" y="229"/>
                  </a:lnTo>
                  <a:lnTo>
                    <a:pt x="0" y="229"/>
                  </a:lnTo>
                  <a:lnTo>
                    <a:pt x="0" y="242"/>
                  </a:lnTo>
                  <a:lnTo>
                    <a:pt x="12" y="242"/>
                  </a:lnTo>
                  <a:lnTo>
                    <a:pt x="12" y="238"/>
                  </a:lnTo>
                  <a:lnTo>
                    <a:pt x="12" y="236"/>
                  </a:lnTo>
                  <a:lnTo>
                    <a:pt x="19" y="229"/>
                  </a:lnTo>
                  <a:lnTo>
                    <a:pt x="24" y="224"/>
                  </a:lnTo>
                  <a:lnTo>
                    <a:pt x="30" y="217"/>
                  </a:lnTo>
                  <a:lnTo>
                    <a:pt x="42" y="212"/>
                  </a:lnTo>
                  <a:lnTo>
                    <a:pt x="54" y="205"/>
                  </a:lnTo>
                  <a:lnTo>
                    <a:pt x="67" y="205"/>
                  </a:lnTo>
                  <a:lnTo>
                    <a:pt x="77" y="203"/>
                  </a:lnTo>
                  <a:lnTo>
                    <a:pt x="91" y="199"/>
                  </a:lnTo>
                  <a:lnTo>
                    <a:pt x="100" y="199"/>
                  </a:lnTo>
                  <a:lnTo>
                    <a:pt x="109" y="199"/>
                  </a:lnTo>
                  <a:lnTo>
                    <a:pt x="118" y="199"/>
                  </a:lnTo>
                  <a:lnTo>
                    <a:pt x="127" y="199"/>
                  </a:lnTo>
                  <a:lnTo>
                    <a:pt x="134" y="199"/>
                  </a:lnTo>
                  <a:lnTo>
                    <a:pt x="139" y="199"/>
                  </a:lnTo>
                  <a:lnTo>
                    <a:pt x="146" y="205"/>
                  </a:lnTo>
                  <a:lnTo>
                    <a:pt x="151" y="205"/>
                  </a:lnTo>
                  <a:lnTo>
                    <a:pt x="158" y="205"/>
                  </a:lnTo>
                  <a:lnTo>
                    <a:pt x="164" y="205"/>
                  </a:lnTo>
                  <a:lnTo>
                    <a:pt x="176" y="205"/>
                  </a:lnTo>
                  <a:lnTo>
                    <a:pt x="188" y="205"/>
                  </a:lnTo>
                  <a:lnTo>
                    <a:pt x="194" y="199"/>
                  </a:lnTo>
                  <a:lnTo>
                    <a:pt x="194" y="194"/>
                  </a:lnTo>
                  <a:lnTo>
                    <a:pt x="195" y="188"/>
                  </a:lnTo>
                  <a:lnTo>
                    <a:pt x="197" y="186"/>
                  </a:lnTo>
                  <a:lnTo>
                    <a:pt x="199" y="184"/>
                  </a:lnTo>
                  <a:lnTo>
                    <a:pt x="202" y="181"/>
                  </a:lnTo>
                  <a:lnTo>
                    <a:pt x="206" y="181"/>
                  </a:lnTo>
                  <a:lnTo>
                    <a:pt x="212" y="175"/>
                  </a:lnTo>
                  <a:lnTo>
                    <a:pt x="215" y="166"/>
                  </a:lnTo>
                  <a:lnTo>
                    <a:pt x="218" y="157"/>
                  </a:lnTo>
                  <a:lnTo>
                    <a:pt x="231" y="157"/>
                  </a:lnTo>
                  <a:lnTo>
                    <a:pt x="231" y="154"/>
                  </a:lnTo>
                  <a:lnTo>
                    <a:pt x="231" y="151"/>
                  </a:lnTo>
                  <a:lnTo>
                    <a:pt x="236" y="151"/>
                  </a:lnTo>
                  <a:lnTo>
                    <a:pt x="243" y="151"/>
                  </a:lnTo>
                  <a:lnTo>
                    <a:pt x="244" y="150"/>
                  </a:lnTo>
                  <a:lnTo>
                    <a:pt x="248" y="147"/>
                  </a:lnTo>
                  <a:lnTo>
                    <a:pt x="253" y="143"/>
                  </a:lnTo>
                  <a:lnTo>
                    <a:pt x="254" y="139"/>
                  </a:lnTo>
                  <a:lnTo>
                    <a:pt x="264" y="139"/>
                  </a:lnTo>
                  <a:lnTo>
                    <a:pt x="273" y="139"/>
                  </a:lnTo>
                  <a:lnTo>
                    <a:pt x="273" y="137"/>
                  </a:lnTo>
                  <a:lnTo>
                    <a:pt x="274" y="136"/>
                  </a:lnTo>
                  <a:lnTo>
                    <a:pt x="275" y="135"/>
                  </a:lnTo>
                  <a:lnTo>
                    <a:pt x="276" y="133"/>
                  </a:lnTo>
                  <a:lnTo>
                    <a:pt x="281" y="132"/>
                  </a:lnTo>
                  <a:lnTo>
                    <a:pt x="285" y="132"/>
                  </a:lnTo>
                  <a:lnTo>
                    <a:pt x="285" y="131"/>
                  </a:lnTo>
                  <a:lnTo>
                    <a:pt x="285" y="129"/>
                  </a:lnTo>
                  <a:lnTo>
                    <a:pt x="288" y="128"/>
                  </a:lnTo>
                  <a:lnTo>
                    <a:pt x="289" y="128"/>
                  </a:lnTo>
                  <a:lnTo>
                    <a:pt x="292" y="127"/>
                  </a:lnTo>
                  <a:lnTo>
                    <a:pt x="296" y="127"/>
                  </a:lnTo>
                  <a:lnTo>
                    <a:pt x="303" y="120"/>
                  </a:lnTo>
                  <a:lnTo>
                    <a:pt x="303" y="111"/>
                  </a:lnTo>
                  <a:lnTo>
                    <a:pt x="303" y="102"/>
                  </a:lnTo>
                  <a:lnTo>
                    <a:pt x="305" y="102"/>
                  </a:lnTo>
                  <a:lnTo>
                    <a:pt x="307" y="100"/>
                  </a:lnTo>
                  <a:lnTo>
                    <a:pt x="308" y="98"/>
                  </a:lnTo>
                  <a:lnTo>
                    <a:pt x="309" y="95"/>
                  </a:lnTo>
                  <a:lnTo>
                    <a:pt x="309" y="90"/>
                  </a:lnTo>
                  <a:lnTo>
                    <a:pt x="309" y="84"/>
                  </a:lnTo>
                  <a:lnTo>
                    <a:pt x="303" y="78"/>
                  </a:lnTo>
                  <a:lnTo>
                    <a:pt x="294" y="75"/>
                  </a:lnTo>
                  <a:lnTo>
                    <a:pt x="285" y="72"/>
                  </a:lnTo>
                  <a:lnTo>
                    <a:pt x="284" y="69"/>
                  </a:lnTo>
                  <a:lnTo>
                    <a:pt x="284" y="66"/>
                  </a:lnTo>
                  <a:lnTo>
                    <a:pt x="283" y="66"/>
                  </a:lnTo>
                  <a:lnTo>
                    <a:pt x="282" y="66"/>
                  </a:lnTo>
                  <a:lnTo>
                    <a:pt x="281" y="65"/>
                  </a:lnTo>
                  <a:lnTo>
                    <a:pt x="280" y="65"/>
                  </a:lnTo>
                  <a:lnTo>
                    <a:pt x="279" y="63"/>
                  </a:lnTo>
                  <a:lnTo>
                    <a:pt x="279" y="60"/>
                  </a:lnTo>
                  <a:lnTo>
                    <a:pt x="266" y="60"/>
                  </a:lnTo>
                  <a:lnTo>
                    <a:pt x="254" y="60"/>
                  </a:lnTo>
                  <a:lnTo>
                    <a:pt x="245" y="60"/>
                  </a:lnTo>
                  <a:lnTo>
                    <a:pt x="236" y="60"/>
                  </a:lnTo>
                  <a:lnTo>
                    <a:pt x="231" y="60"/>
                  </a:lnTo>
                  <a:lnTo>
                    <a:pt x="224" y="60"/>
                  </a:lnTo>
                  <a:lnTo>
                    <a:pt x="218" y="60"/>
                  </a:lnTo>
                  <a:lnTo>
                    <a:pt x="215" y="60"/>
                  </a:lnTo>
                  <a:lnTo>
                    <a:pt x="212" y="60"/>
                  </a:lnTo>
                  <a:lnTo>
                    <a:pt x="206" y="54"/>
                  </a:lnTo>
                  <a:lnTo>
                    <a:pt x="194" y="54"/>
                  </a:lnTo>
                  <a:lnTo>
                    <a:pt x="182" y="54"/>
                  </a:lnTo>
                  <a:lnTo>
                    <a:pt x="176" y="48"/>
                  </a:lnTo>
                  <a:lnTo>
                    <a:pt x="176" y="45"/>
                  </a:lnTo>
                  <a:lnTo>
                    <a:pt x="176" y="42"/>
                  </a:lnTo>
                  <a:lnTo>
                    <a:pt x="169" y="35"/>
                  </a:lnTo>
                  <a:lnTo>
                    <a:pt x="165" y="34"/>
                  </a:lnTo>
                  <a:lnTo>
                    <a:pt x="158" y="30"/>
                  </a:lnTo>
                  <a:lnTo>
                    <a:pt x="154" y="25"/>
                  </a:lnTo>
                  <a:lnTo>
                    <a:pt x="151" y="24"/>
                  </a:lnTo>
                  <a:lnTo>
                    <a:pt x="148" y="12"/>
                  </a:lnTo>
                  <a:lnTo>
                    <a:pt x="146" y="0"/>
                  </a:lnTo>
                  <a:lnTo>
                    <a:pt x="139" y="0"/>
                  </a:lnTo>
                  <a:lnTo>
                    <a:pt x="136" y="0"/>
                  </a:lnTo>
                  <a:lnTo>
                    <a:pt x="134" y="0"/>
                  </a:lnTo>
                  <a:lnTo>
                    <a:pt x="127" y="0"/>
                  </a:lnTo>
                  <a:lnTo>
                    <a:pt x="115" y="0"/>
                  </a:lnTo>
                  <a:lnTo>
                    <a:pt x="103" y="0"/>
                  </a:lnTo>
                  <a:lnTo>
                    <a:pt x="79" y="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8" name="Freeform 65"/>
            <p:cNvSpPr>
              <a:spLocks noChangeAspect="1"/>
            </p:cNvSpPr>
            <p:nvPr/>
          </p:nvSpPr>
          <p:spPr bwMode="gray">
            <a:xfrm rot="355651">
              <a:off x="7834313" y="4591050"/>
              <a:ext cx="66652" cy="45779"/>
            </a:xfrm>
            <a:custGeom>
              <a:avLst/>
              <a:gdLst/>
              <a:ahLst/>
              <a:cxnLst>
                <a:cxn ang="0">
                  <a:pos x="39" y="5"/>
                </a:cxn>
                <a:cxn ang="0">
                  <a:pos x="16" y="25"/>
                </a:cxn>
                <a:cxn ang="0">
                  <a:pos x="2" y="47"/>
                </a:cxn>
                <a:cxn ang="0">
                  <a:pos x="0" y="59"/>
                </a:cxn>
                <a:cxn ang="0">
                  <a:pos x="2" y="77"/>
                </a:cxn>
                <a:cxn ang="0">
                  <a:pos x="11" y="99"/>
                </a:cxn>
                <a:cxn ang="0">
                  <a:pos x="25" y="118"/>
                </a:cxn>
                <a:cxn ang="0">
                  <a:pos x="40" y="140"/>
                </a:cxn>
                <a:cxn ang="0">
                  <a:pos x="66" y="173"/>
                </a:cxn>
                <a:cxn ang="0">
                  <a:pos x="81" y="190"/>
                </a:cxn>
                <a:cxn ang="0">
                  <a:pos x="89" y="195"/>
                </a:cxn>
                <a:cxn ang="0">
                  <a:pos x="94" y="200"/>
                </a:cxn>
                <a:cxn ang="0">
                  <a:pos x="98" y="203"/>
                </a:cxn>
                <a:cxn ang="0">
                  <a:pos x="106" y="211"/>
                </a:cxn>
                <a:cxn ang="0">
                  <a:pos x="109" y="219"/>
                </a:cxn>
                <a:cxn ang="0">
                  <a:pos x="114" y="226"/>
                </a:cxn>
                <a:cxn ang="0">
                  <a:pos x="123" y="227"/>
                </a:cxn>
                <a:cxn ang="0">
                  <a:pos x="133" y="224"/>
                </a:cxn>
                <a:cxn ang="0">
                  <a:pos x="150" y="218"/>
                </a:cxn>
                <a:cxn ang="0">
                  <a:pos x="165" y="212"/>
                </a:cxn>
                <a:cxn ang="0">
                  <a:pos x="173" y="210"/>
                </a:cxn>
                <a:cxn ang="0">
                  <a:pos x="183" y="218"/>
                </a:cxn>
                <a:cxn ang="0">
                  <a:pos x="202" y="240"/>
                </a:cxn>
                <a:cxn ang="0">
                  <a:pos x="224" y="266"/>
                </a:cxn>
                <a:cxn ang="0">
                  <a:pos x="239" y="281"/>
                </a:cxn>
                <a:cxn ang="0">
                  <a:pos x="247" y="287"/>
                </a:cxn>
                <a:cxn ang="0">
                  <a:pos x="251" y="289"/>
                </a:cxn>
                <a:cxn ang="0">
                  <a:pos x="258" y="293"/>
                </a:cxn>
                <a:cxn ang="0">
                  <a:pos x="273" y="296"/>
                </a:cxn>
                <a:cxn ang="0">
                  <a:pos x="290" y="289"/>
                </a:cxn>
                <a:cxn ang="0">
                  <a:pos x="307" y="271"/>
                </a:cxn>
                <a:cxn ang="0">
                  <a:pos x="321" y="251"/>
                </a:cxn>
                <a:cxn ang="0">
                  <a:pos x="332" y="230"/>
                </a:cxn>
                <a:cxn ang="0">
                  <a:pos x="337" y="212"/>
                </a:cxn>
                <a:cxn ang="0">
                  <a:pos x="345" y="199"/>
                </a:cxn>
                <a:cxn ang="0">
                  <a:pos x="356" y="187"/>
                </a:cxn>
                <a:cxn ang="0">
                  <a:pos x="365" y="175"/>
                </a:cxn>
                <a:cxn ang="0">
                  <a:pos x="368" y="161"/>
                </a:cxn>
                <a:cxn ang="0">
                  <a:pos x="367" y="142"/>
                </a:cxn>
                <a:cxn ang="0">
                  <a:pos x="358" y="113"/>
                </a:cxn>
                <a:cxn ang="0">
                  <a:pos x="345" y="91"/>
                </a:cxn>
                <a:cxn ang="0">
                  <a:pos x="323" y="73"/>
                </a:cxn>
                <a:cxn ang="0">
                  <a:pos x="284" y="47"/>
                </a:cxn>
                <a:cxn ang="0">
                  <a:pos x="268" y="38"/>
                </a:cxn>
                <a:cxn ang="0">
                  <a:pos x="257" y="33"/>
                </a:cxn>
                <a:cxn ang="0">
                  <a:pos x="241" y="20"/>
                </a:cxn>
                <a:cxn ang="0">
                  <a:pos x="227" y="8"/>
                </a:cxn>
                <a:cxn ang="0">
                  <a:pos x="210" y="3"/>
                </a:cxn>
                <a:cxn ang="0">
                  <a:pos x="179" y="1"/>
                </a:cxn>
                <a:cxn ang="0">
                  <a:pos x="160" y="5"/>
                </a:cxn>
                <a:cxn ang="0">
                  <a:pos x="143" y="11"/>
                </a:cxn>
                <a:cxn ang="0">
                  <a:pos x="115" y="14"/>
                </a:cxn>
                <a:cxn ang="0">
                  <a:pos x="99" y="9"/>
                </a:cxn>
                <a:cxn ang="0">
                  <a:pos x="89" y="6"/>
                </a:cxn>
                <a:cxn ang="0">
                  <a:pos x="69" y="5"/>
                </a:cxn>
                <a:cxn ang="0">
                  <a:pos x="56" y="2"/>
                </a:cxn>
              </a:cxnLst>
              <a:rect l="0" t="0" r="r" b="b"/>
              <a:pathLst>
                <a:path w="368" h="296">
                  <a:moveTo>
                    <a:pt x="51" y="0"/>
                  </a:moveTo>
                  <a:lnTo>
                    <a:pt x="39" y="5"/>
                  </a:lnTo>
                  <a:lnTo>
                    <a:pt x="27" y="8"/>
                  </a:lnTo>
                  <a:lnTo>
                    <a:pt x="16" y="25"/>
                  </a:lnTo>
                  <a:lnTo>
                    <a:pt x="3" y="41"/>
                  </a:lnTo>
                  <a:lnTo>
                    <a:pt x="2" y="47"/>
                  </a:lnTo>
                  <a:lnTo>
                    <a:pt x="1" y="54"/>
                  </a:lnTo>
                  <a:lnTo>
                    <a:pt x="0" y="59"/>
                  </a:lnTo>
                  <a:lnTo>
                    <a:pt x="0" y="66"/>
                  </a:lnTo>
                  <a:lnTo>
                    <a:pt x="2" y="77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18" y="108"/>
                  </a:lnTo>
                  <a:lnTo>
                    <a:pt x="25" y="118"/>
                  </a:lnTo>
                  <a:lnTo>
                    <a:pt x="31" y="126"/>
                  </a:lnTo>
                  <a:lnTo>
                    <a:pt x="40" y="140"/>
                  </a:lnTo>
                  <a:lnTo>
                    <a:pt x="57" y="162"/>
                  </a:lnTo>
                  <a:lnTo>
                    <a:pt x="66" y="173"/>
                  </a:lnTo>
                  <a:lnTo>
                    <a:pt x="75" y="183"/>
                  </a:lnTo>
                  <a:lnTo>
                    <a:pt x="81" y="190"/>
                  </a:lnTo>
                  <a:lnTo>
                    <a:pt x="86" y="192"/>
                  </a:lnTo>
                  <a:lnTo>
                    <a:pt x="89" y="195"/>
                  </a:lnTo>
                  <a:lnTo>
                    <a:pt x="93" y="197"/>
                  </a:lnTo>
                  <a:lnTo>
                    <a:pt x="94" y="200"/>
                  </a:lnTo>
                  <a:lnTo>
                    <a:pt x="97" y="201"/>
                  </a:lnTo>
                  <a:lnTo>
                    <a:pt x="98" y="203"/>
                  </a:lnTo>
                  <a:lnTo>
                    <a:pt x="103" y="208"/>
                  </a:lnTo>
                  <a:lnTo>
                    <a:pt x="106" y="211"/>
                  </a:lnTo>
                  <a:lnTo>
                    <a:pt x="109" y="213"/>
                  </a:lnTo>
                  <a:lnTo>
                    <a:pt x="109" y="219"/>
                  </a:lnTo>
                  <a:lnTo>
                    <a:pt x="112" y="223"/>
                  </a:lnTo>
                  <a:lnTo>
                    <a:pt x="114" y="226"/>
                  </a:lnTo>
                  <a:lnTo>
                    <a:pt x="118" y="227"/>
                  </a:lnTo>
                  <a:lnTo>
                    <a:pt x="123" y="227"/>
                  </a:lnTo>
                  <a:lnTo>
                    <a:pt x="127" y="227"/>
                  </a:lnTo>
                  <a:lnTo>
                    <a:pt x="133" y="224"/>
                  </a:lnTo>
                  <a:lnTo>
                    <a:pt x="138" y="223"/>
                  </a:lnTo>
                  <a:lnTo>
                    <a:pt x="150" y="218"/>
                  </a:lnTo>
                  <a:lnTo>
                    <a:pt x="161" y="213"/>
                  </a:lnTo>
                  <a:lnTo>
                    <a:pt x="165" y="212"/>
                  </a:lnTo>
                  <a:lnTo>
                    <a:pt x="170" y="211"/>
                  </a:lnTo>
                  <a:lnTo>
                    <a:pt x="173" y="210"/>
                  </a:lnTo>
                  <a:lnTo>
                    <a:pt x="175" y="211"/>
                  </a:lnTo>
                  <a:lnTo>
                    <a:pt x="183" y="218"/>
                  </a:lnTo>
                  <a:lnTo>
                    <a:pt x="192" y="228"/>
                  </a:lnTo>
                  <a:lnTo>
                    <a:pt x="202" y="240"/>
                  </a:lnTo>
                  <a:lnTo>
                    <a:pt x="213" y="253"/>
                  </a:lnTo>
                  <a:lnTo>
                    <a:pt x="224" y="266"/>
                  </a:lnTo>
                  <a:lnTo>
                    <a:pt x="234" y="277"/>
                  </a:lnTo>
                  <a:lnTo>
                    <a:pt x="239" y="281"/>
                  </a:lnTo>
                  <a:lnTo>
                    <a:pt x="243" y="285"/>
                  </a:lnTo>
                  <a:lnTo>
                    <a:pt x="247" y="287"/>
                  </a:lnTo>
                  <a:lnTo>
                    <a:pt x="250" y="288"/>
                  </a:lnTo>
                  <a:lnTo>
                    <a:pt x="251" y="289"/>
                  </a:lnTo>
                  <a:lnTo>
                    <a:pt x="253" y="291"/>
                  </a:lnTo>
                  <a:lnTo>
                    <a:pt x="258" y="293"/>
                  </a:lnTo>
                  <a:lnTo>
                    <a:pt x="263" y="294"/>
                  </a:lnTo>
                  <a:lnTo>
                    <a:pt x="273" y="296"/>
                  </a:lnTo>
                  <a:lnTo>
                    <a:pt x="280" y="296"/>
                  </a:lnTo>
                  <a:lnTo>
                    <a:pt x="290" y="289"/>
                  </a:lnTo>
                  <a:lnTo>
                    <a:pt x="298" y="280"/>
                  </a:lnTo>
                  <a:lnTo>
                    <a:pt x="307" y="271"/>
                  </a:lnTo>
                  <a:lnTo>
                    <a:pt x="315" y="261"/>
                  </a:lnTo>
                  <a:lnTo>
                    <a:pt x="321" y="251"/>
                  </a:lnTo>
                  <a:lnTo>
                    <a:pt x="327" y="240"/>
                  </a:lnTo>
                  <a:lnTo>
                    <a:pt x="332" y="230"/>
                  </a:lnTo>
                  <a:lnTo>
                    <a:pt x="334" y="219"/>
                  </a:lnTo>
                  <a:lnTo>
                    <a:pt x="337" y="212"/>
                  </a:lnTo>
                  <a:lnTo>
                    <a:pt x="340" y="205"/>
                  </a:lnTo>
                  <a:lnTo>
                    <a:pt x="345" y="199"/>
                  </a:lnTo>
                  <a:lnTo>
                    <a:pt x="351" y="193"/>
                  </a:lnTo>
                  <a:lnTo>
                    <a:pt x="356" y="187"/>
                  </a:lnTo>
                  <a:lnTo>
                    <a:pt x="361" y="181"/>
                  </a:lnTo>
                  <a:lnTo>
                    <a:pt x="365" y="175"/>
                  </a:lnTo>
                  <a:lnTo>
                    <a:pt x="367" y="170"/>
                  </a:lnTo>
                  <a:lnTo>
                    <a:pt x="368" y="161"/>
                  </a:lnTo>
                  <a:lnTo>
                    <a:pt x="368" y="151"/>
                  </a:lnTo>
                  <a:lnTo>
                    <a:pt x="367" y="142"/>
                  </a:lnTo>
                  <a:lnTo>
                    <a:pt x="365" y="132"/>
                  </a:lnTo>
                  <a:lnTo>
                    <a:pt x="358" y="113"/>
                  </a:lnTo>
                  <a:lnTo>
                    <a:pt x="351" y="97"/>
                  </a:lnTo>
                  <a:lnTo>
                    <a:pt x="345" y="91"/>
                  </a:lnTo>
                  <a:lnTo>
                    <a:pt x="335" y="83"/>
                  </a:lnTo>
                  <a:lnTo>
                    <a:pt x="323" y="73"/>
                  </a:lnTo>
                  <a:lnTo>
                    <a:pt x="308" y="64"/>
                  </a:lnTo>
                  <a:lnTo>
                    <a:pt x="284" y="47"/>
                  </a:lnTo>
                  <a:lnTo>
                    <a:pt x="272" y="39"/>
                  </a:lnTo>
                  <a:lnTo>
                    <a:pt x="268" y="38"/>
                  </a:lnTo>
                  <a:lnTo>
                    <a:pt x="262" y="36"/>
                  </a:lnTo>
                  <a:lnTo>
                    <a:pt x="257" y="33"/>
                  </a:lnTo>
                  <a:lnTo>
                    <a:pt x="251" y="29"/>
                  </a:lnTo>
                  <a:lnTo>
                    <a:pt x="241" y="20"/>
                  </a:lnTo>
                  <a:lnTo>
                    <a:pt x="233" y="12"/>
                  </a:lnTo>
                  <a:lnTo>
                    <a:pt x="227" y="8"/>
                  </a:lnTo>
                  <a:lnTo>
                    <a:pt x="219" y="6"/>
                  </a:lnTo>
                  <a:lnTo>
                    <a:pt x="210" y="3"/>
                  </a:lnTo>
                  <a:lnTo>
                    <a:pt x="200" y="2"/>
                  </a:lnTo>
                  <a:lnTo>
                    <a:pt x="179" y="1"/>
                  </a:lnTo>
                  <a:lnTo>
                    <a:pt x="163" y="2"/>
                  </a:lnTo>
                  <a:lnTo>
                    <a:pt x="160" y="5"/>
                  </a:lnTo>
                  <a:lnTo>
                    <a:pt x="156" y="8"/>
                  </a:lnTo>
                  <a:lnTo>
                    <a:pt x="143" y="11"/>
                  </a:lnTo>
                  <a:lnTo>
                    <a:pt x="127" y="15"/>
                  </a:lnTo>
                  <a:lnTo>
                    <a:pt x="115" y="14"/>
                  </a:lnTo>
                  <a:lnTo>
                    <a:pt x="103" y="12"/>
                  </a:lnTo>
                  <a:lnTo>
                    <a:pt x="99" y="9"/>
                  </a:lnTo>
                  <a:lnTo>
                    <a:pt x="95" y="8"/>
                  </a:lnTo>
                  <a:lnTo>
                    <a:pt x="89" y="6"/>
                  </a:lnTo>
                  <a:lnTo>
                    <a:pt x="83" y="5"/>
                  </a:lnTo>
                  <a:lnTo>
                    <a:pt x="69" y="5"/>
                  </a:lnTo>
                  <a:lnTo>
                    <a:pt x="58" y="3"/>
                  </a:lnTo>
                  <a:lnTo>
                    <a:pt x="56" y="2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9" name="Freeform 66"/>
            <p:cNvSpPr>
              <a:spLocks noChangeAspect="1"/>
            </p:cNvSpPr>
            <p:nvPr/>
          </p:nvSpPr>
          <p:spPr bwMode="gray">
            <a:xfrm rot="355651">
              <a:off x="7834313" y="4591050"/>
              <a:ext cx="66652" cy="45779"/>
            </a:xfrm>
            <a:custGeom>
              <a:avLst/>
              <a:gdLst/>
              <a:ahLst/>
              <a:cxnLst>
                <a:cxn ang="0">
                  <a:pos x="39" y="5"/>
                </a:cxn>
                <a:cxn ang="0">
                  <a:pos x="16" y="25"/>
                </a:cxn>
                <a:cxn ang="0">
                  <a:pos x="2" y="47"/>
                </a:cxn>
                <a:cxn ang="0">
                  <a:pos x="0" y="59"/>
                </a:cxn>
                <a:cxn ang="0">
                  <a:pos x="2" y="77"/>
                </a:cxn>
                <a:cxn ang="0">
                  <a:pos x="11" y="99"/>
                </a:cxn>
                <a:cxn ang="0">
                  <a:pos x="25" y="118"/>
                </a:cxn>
                <a:cxn ang="0">
                  <a:pos x="40" y="140"/>
                </a:cxn>
                <a:cxn ang="0">
                  <a:pos x="66" y="173"/>
                </a:cxn>
                <a:cxn ang="0">
                  <a:pos x="81" y="190"/>
                </a:cxn>
                <a:cxn ang="0">
                  <a:pos x="89" y="195"/>
                </a:cxn>
                <a:cxn ang="0">
                  <a:pos x="94" y="200"/>
                </a:cxn>
                <a:cxn ang="0">
                  <a:pos x="98" y="203"/>
                </a:cxn>
                <a:cxn ang="0">
                  <a:pos x="106" y="211"/>
                </a:cxn>
                <a:cxn ang="0">
                  <a:pos x="109" y="219"/>
                </a:cxn>
                <a:cxn ang="0">
                  <a:pos x="114" y="226"/>
                </a:cxn>
                <a:cxn ang="0">
                  <a:pos x="123" y="227"/>
                </a:cxn>
                <a:cxn ang="0">
                  <a:pos x="133" y="224"/>
                </a:cxn>
                <a:cxn ang="0">
                  <a:pos x="150" y="218"/>
                </a:cxn>
                <a:cxn ang="0">
                  <a:pos x="165" y="212"/>
                </a:cxn>
                <a:cxn ang="0">
                  <a:pos x="173" y="210"/>
                </a:cxn>
                <a:cxn ang="0">
                  <a:pos x="183" y="218"/>
                </a:cxn>
                <a:cxn ang="0">
                  <a:pos x="202" y="240"/>
                </a:cxn>
                <a:cxn ang="0">
                  <a:pos x="224" y="266"/>
                </a:cxn>
                <a:cxn ang="0">
                  <a:pos x="239" y="281"/>
                </a:cxn>
                <a:cxn ang="0">
                  <a:pos x="247" y="287"/>
                </a:cxn>
                <a:cxn ang="0">
                  <a:pos x="251" y="289"/>
                </a:cxn>
                <a:cxn ang="0">
                  <a:pos x="258" y="293"/>
                </a:cxn>
                <a:cxn ang="0">
                  <a:pos x="273" y="296"/>
                </a:cxn>
                <a:cxn ang="0">
                  <a:pos x="290" y="289"/>
                </a:cxn>
                <a:cxn ang="0">
                  <a:pos x="307" y="271"/>
                </a:cxn>
                <a:cxn ang="0">
                  <a:pos x="321" y="251"/>
                </a:cxn>
                <a:cxn ang="0">
                  <a:pos x="332" y="230"/>
                </a:cxn>
                <a:cxn ang="0">
                  <a:pos x="337" y="212"/>
                </a:cxn>
                <a:cxn ang="0">
                  <a:pos x="345" y="199"/>
                </a:cxn>
                <a:cxn ang="0">
                  <a:pos x="356" y="187"/>
                </a:cxn>
                <a:cxn ang="0">
                  <a:pos x="365" y="175"/>
                </a:cxn>
                <a:cxn ang="0">
                  <a:pos x="368" y="161"/>
                </a:cxn>
                <a:cxn ang="0">
                  <a:pos x="367" y="142"/>
                </a:cxn>
                <a:cxn ang="0">
                  <a:pos x="358" y="113"/>
                </a:cxn>
                <a:cxn ang="0">
                  <a:pos x="345" y="91"/>
                </a:cxn>
                <a:cxn ang="0">
                  <a:pos x="323" y="73"/>
                </a:cxn>
                <a:cxn ang="0">
                  <a:pos x="284" y="47"/>
                </a:cxn>
                <a:cxn ang="0">
                  <a:pos x="268" y="38"/>
                </a:cxn>
                <a:cxn ang="0">
                  <a:pos x="257" y="33"/>
                </a:cxn>
                <a:cxn ang="0">
                  <a:pos x="241" y="20"/>
                </a:cxn>
                <a:cxn ang="0">
                  <a:pos x="227" y="8"/>
                </a:cxn>
                <a:cxn ang="0">
                  <a:pos x="210" y="3"/>
                </a:cxn>
                <a:cxn ang="0">
                  <a:pos x="179" y="1"/>
                </a:cxn>
                <a:cxn ang="0">
                  <a:pos x="160" y="5"/>
                </a:cxn>
                <a:cxn ang="0">
                  <a:pos x="143" y="11"/>
                </a:cxn>
                <a:cxn ang="0">
                  <a:pos x="115" y="14"/>
                </a:cxn>
                <a:cxn ang="0">
                  <a:pos x="99" y="9"/>
                </a:cxn>
                <a:cxn ang="0">
                  <a:pos x="89" y="6"/>
                </a:cxn>
                <a:cxn ang="0">
                  <a:pos x="69" y="5"/>
                </a:cxn>
                <a:cxn ang="0">
                  <a:pos x="56" y="2"/>
                </a:cxn>
              </a:cxnLst>
              <a:rect l="0" t="0" r="r" b="b"/>
              <a:pathLst>
                <a:path w="368" h="296">
                  <a:moveTo>
                    <a:pt x="51" y="0"/>
                  </a:moveTo>
                  <a:lnTo>
                    <a:pt x="39" y="5"/>
                  </a:lnTo>
                  <a:lnTo>
                    <a:pt x="27" y="8"/>
                  </a:lnTo>
                  <a:lnTo>
                    <a:pt x="16" y="25"/>
                  </a:lnTo>
                  <a:lnTo>
                    <a:pt x="3" y="41"/>
                  </a:lnTo>
                  <a:lnTo>
                    <a:pt x="2" y="47"/>
                  </a:lnTo>
                  <a:lnTo>
                    <a:pt x="1" y="54"/>
                  </a:lnTo>
                  <a:lnTo>
                    <a:pt x="0" y="59"/>
                  </a:lnTo>
                  <a:lnTo>
                    <a:pt x="0" y="66"/>
                  </a:lnTo>
                  <a:lnTo>
                    <a:pt x="2" y="77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18" y="108"/>
                  </a:lnTo>
                  <a:lnTo>
                    <a:pt x="25" y="118"/>
                  </a:lnTo>
                  <a:lnTo>
                    <a:pt x="31" y="126"/>
                  </a:lnTo>
                  <a:lnTo>
                    <a:pt x="40" y="140"/>
                  </a:lnTo>
                  <a:lnTo>
                    <a:pt x="57" y="162"/>
                  </a:lnTo>
                  <a:lnTo>
                    <a:pt x="66" y="173"/>
                  </a:lnTo>
                  <a:lnTo>
                    <a:pt x="75" y="183"/>
                  </a:lnTo>
                  <a:lnTo>
                    <a:pt x="81" y="190"/>
                  </a:lnTo>
                  <a:lnTo>
                    <a:pt x="86" y="192"/>
                  </a:lnTo>
                  <a:lnTo>
                    <a:pt x="89" y="195"/>
                  </a:lnTo>
                  <a:lnTo>
                    <a:pt x="93" y="197"/>
                  </a:lnTo>
                  <a:lnTo>
                    <a:pt x="94" y="200"/>
                  </a:lnTo>
                  <a:lnTo>
                    <a:pt x="97" y="201"/>
                  </a:lnTo>
                  <a:lnTo>
                    <a:pt x="98" y="203"/>
                  </a:lnTo>
                  <a:lnTo>
                    <a:pt x="103" y="208"/>
                  </a:lnTo>
                  <a:lnTo>
                    <a:pt x="106" y="211"/>
                  </a:lnTo>
                  <a:lnTo>
                    <a:pt x="109" y="213"/>
                  </a:lnTo>
                  <a:lnTo>
                    <a:pt x="109" y="219"/>
                  </a:lnTo>
                  <a:lnTo>
                    <a:pt x="112" y="223"/>
                  </a:lnTo>
                  <a:lnTo>
                    <a:pt x="114" y="226"/>
                  </a:lnTo>
                  <a:lnTo>
                    <a:pt x="118" y="227"/>
                  </a:lnTo>
                  <a:lnTo>
                    <a:pt x="123" y="227"/>
                  </a:lnTo>
                  <a:lnTo>
                    <a:pt x="127" y="227"/>
                  </a:lnTo>
                  <a:lnTo>
                    <a:pt x="133" y="224"/>
                  </a:lnTo>
                  <a:lnTo>
                    <a:pt x="138" y="223"/>
                  </a:lnTo>
                  <a:lnTo>
                    <a:pt x="150" y="218"/>
                  </a:lnTo>
                  <a:lnTo>
                    <a:pt x="161" y="213"/>
                  </a:lnTo>
                  <a:lnTo>
                    <a:pt x="165" y="212"/>
                  </a:lnTo>
                  <a:lnTo>
                    <a:pt x="170" y="211"/>
                  </a:lnTo>
                  <a:lnTo>
                    <a:pt x="173" y="210"/>
                  </a:lnTo>
                  <a:lnTo>
                    <a:pt x="175" y="211"/>
                  </a:lnTo>
                  <a:lnTo>
                    <a:pt x="183" y="218"/>
                  </a:lnTo>
                  <a:lnTo>
                    <a:pt x="192" y="228"/>
                  </a:lnTo>
                  <a:lnTo>
                    <a:pt x="202" y="240"/>
                  </a:lnTo>
                  <a:lnTo>
                    <a:pt x="213" y="253"/>
                  </a:lnTo>
                  <a:lnTo>
                    <a:pt x="224" y="266"/>
                  </a:lnTo>
                  <a:lnTo>
                    <a:pt x="234" y="277"/>
                  </a:lnTo>
                  <a:lnTo>
                    <a:pt x="239" y="281"/>
                  </a:lnTo>
                  <a:lnTo>
                    <a:pt x="243" y="285"/>
                  </a:lnTo>
                  <a:lnTo>
                    <a:pt x="247" y="287"/>
                  </a:lnTo>
                  <a:lnTo>
                    <a:pt x="250" y="288"/>
                  </a:lnTo>
                  <a:lnTo>
                    <a:pt x="251" y="289"/>
                  </a:lnTo>
                  <a:lnTo>
                    <a:pt x="253" y="291"/>
                  </a:lnTo>
                  <a:lnTo>
                    <a:pt x="258" y="293"/>
                  </a:lnTo>
                  <a:lnTo>
                    <a:pt x="263" y="294"/>
                  </a:lnTo>
                  <a:lnTo>
                    <a:pt x="273" y="296"/>
                  </a:lnTo>
                  <a:lnTo>
                    <a:pt x="280" y="296"/>
                  </a:lnTo>
                  <a:lnTo>
                    <a:pt x="290" y="289"/>
                  </a:lnTo>
                  <a:lnTo>
                    <a:pt x="298" y="280"/>
                  </a:lnTo>
                  <a:lnTo>
                    <a:pt x="307" y="271"/>
                  </a:lnTo>
                  <a:lnTo>
                    <a:pt x="315" y="261"/>
                  </a:lnTo>
                  <a:lnTo>
                    <a:pt x="321" y="251"/>
                  </a:lnTo>
                  <a:lnTo>
                    <a:pt x="327" y="240"/>
                  </a:lnTo>
                  <a:lnTo>
                    <a:pt x="332" y="230"/>
                  </a:lnTo>
                  <a:lnTo>
                    <a:pt x="334" y="219"/>
                  </a:lnTo>
                  <a:lnTo>
                    <a:pt x="337" y="212"/>
                  </a:lnTo>
                  <a:lnTo>
                    <a:pt x="340" y="205"/>
                  </a:lnTo>
                  <a:lnTo>
                    <a:pt x="345" y="199"/>
                  </a:lnTo>
                  <a:lnTo>
                    <a:pt x="351" y="193"/>
                  </a:lnTo>
                  <a:lnTo>
                    <a:pt x="356" y="187"/>
                  </a:lnTo>
                  <a:lnTo>
                    <a:pt x="361" y="181"/>
                  </a:lnTo>
                  <a:lnTo>
                    <a:pt x="365" y="175"/>
                  </a:lnTo>
                  <a:lnTo>
                    <a:pt x="367" y="170"/>
                  </a:lnTo>
                  <a:lnTo>
                    <a:pt x="368" y="161"/>
                  </a:lnTo>
                  <a:lnTo>
                    <a:pt x="368" y="151"/>
                  </a:lnTo>
                  <a:lnTo>
                    <a:pt x="367" y="142"/>
                  </a:lnTo>
                  <a:lnTo>
                    <a:pt x="365" y="132"/>
                  </a:lnTo>
                  <a:lnTo>
                    <a:pt x="358" y="113"/>
                  </a:lnTo>
                  <a:lnTo>
                    <a:pt x="351" y="97"/>
                  </a:lnTo>
                  <a:lnTo>
                    <a:pt x="345" y="91"/>
                  </a:lnTo>
                  <a:lnTo>
                    <a:pt x="335" y="83"/>
                  </a:lnTo>
                  <a:lnTo>
                    <a:pt x="323" y="73"/>
                  </a:lnTo>
                  <a:lnTo>
                    <a:pt x="308" y="64"/>
                  </a:lnTo>
                  <a:lnTo>
                    <a:pt x="284" y="47"/>
                  </a:lnTo>
                  <a:lnTo>
                    <a:pt x="272" y="39"/>
                  </a:lnTo>
                  <a:lnTo>
                    <a:pt x="268" y="38"/>
                  </a:lnTo>
                  <a:lnTo>
                    <a:pt x="262" y="36"/>
                  </a:lnTo>
                  <a:lnTo>
                    <a:pt x="257" y="33"/>
                  </a:lnTo>
                  <a:lnTo>
                    <a:pt x="251" y="29"/>
                  </a:lnTo>
                  <a:lnTo>
                    <a:pt x="241" y="20"/>
                  </a:lnTo>
                  <a:lnTo>
                    <a:pt x="233" y="12"/>
                  </a:lnTo>
                  <a:lnTo>
                    <a:pt x="227" y="8"/>
                  </a:lnTo>
                  <a:lnTo>
                    <a:pt x="219" y="6"/>
                  </a:lnTo>
                  <a:lnTo>
                    <a:pt x="210" y="3"/>
                  </a:lnTo>
                  <a:lnTo>
                    <a:pt x="200" y="2"/>
                  </a:lnTo>
                  <a:lnTo>
                    <a:pt x="179" y="1"/>
                  </a:lnTo>
                  <a:lnTo>
                    <a:pt x="163" y="2"/>
                  </a:lnTo>
                  <a:lnTo>
                    <a:pt x="160" y="5"/>
                  </a:lnTo>
                  <a:lnTo>
                    <a:pt x="156" y="8"/>
                  </a:lnTo>
                  <a:lnTo>
                    <a:pt x="143" y="11"/>
                  </a:lnTo>
                  <a:lnTo>
                    <a:pt x="127" y="15"/>
                  </a:lnTo>
                  <a:lnTo>
                    <a:pt x="115" y="14"/>
                  </a:lnTo>
                  <a:lnTo>
                    <a:pt x="103" y="12"/>
                  </a:lnTo>
                  <a:lnTo>
                    <a:pt x="99" y="9"/>
                  </a:lnTo>
                  <a:lnTo>
                    <a:pt x="95" y="8"/>
                  </a:lnTo>
                  <a:lnTo>
                    <a:pt x="89" y="6"/>
                  </a:lnTo>
                  <a:lnTo>
                    <a:pt x="83" y="5"/>
                  </a:lnTo>
                  <a:lnTo>
                    <a:pt x="69" y="5"/>
                  </a:lnTo>
                  <a:lnTo>
                    <a:pt x="58" y="3"/>
                  </a:lnTo>
                  <a:lnTo>
                    <a:pt x="56" y="2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0" name="Freeform 67"/>
            <p:cNvSpPr>
              <a:spLocks noChangeAspect="1"/>
            </p:cNvSpPr>
            <p:nvPr/>
          </p:nvSpPr>
          <p:spPr bwMode="gray">
            <a:xfrm rot="355651">
              <a:off x="7785393" y="4518025"/>
              <a:ext cx="53957" cy="38325"/>
            </a:xfrm>
            <a:custGeom>
              <a:avLst/>
              <a:gdLst/>
              <a:ahLst/>
              <a:cxnLst>
                <a:cxn ang="0">
                  <a:pos x="20" y="11"/>
                </a:cxn>
                <a:cxn ang="0">
                  <a:pos x="11" y="28"/>
                </a:cxn>
                <a:cxn ang="0">
                  <a:pos x="4" y="46"/>
                </a:cxn>
                <a:cxn ang="0">
                  <a:pos x="1" y="65"/>
                </a:cxn>
                <a:cxn ang="0">
                  <a:pos x="3" y="87"/>
                </a:cxn>
                <a:cxn ang="0">
                  <a:pos x="17" y="120"/>
                </a:cxn>
                <a:cxn ang="0">
                  <a:pos x="24" y="136"/>
                </a:cxn>
                <a:cxn ang="0">
                  <a:pos x="25" y="146"/>
                </a:cxn>
                <a:cxn ang="0">
                  <a:pos x="24" y="164"/>
                </a:cxn>
                <a:cxn ang="0">
                  <a:pos x="19" y="189"/>
                </a:cxn>
                <a:cxn ang="0">
                  <a:pos x="14" y="213"/>
                </a:cxn>
                <a:cxn ang="0">
                  <a:pos x="13" y="228"/>
                </a:cxn>
                <a:cxn ang="0">
                  <a:pos x="19" y="236"/>
                </a:cxn>
                <a:cxn ang="0">
                  <a:pos x="22" y="241"/>
                </a:cxn>
                <a:cxn ang="0">
                  <a:pos x="25" y="241"/>
                </a:cxn>
                <a:cxn ang="0">
                  <a:pos x="30" y="239"/>
                </a:cxn>
                <a:cxn ang="0">
                  <a:pos x="41" y="226"/>
                </a:cxn>
                <a:cxn ang="0">
                  <a:pos x="58" y="214"/>
                </a:cxn>
                <a:cxn ang="0">
                  <a:pos x="80" y="212"/>
                </a:cxn>
                <a:cxn ang="0">
                  <a:pos x="114" y="217"/>
                </a:cxn>
                <a:cxn ang="0">
                  <a:pos x="154" y="218"/>
                </a:cxn>
                <a:cxn ang="0">
                  <a:pos x="177" y="214"/>
                </a:cxn>
                <a:cxn ang="0">
                  <a:pos x="191" y="207"/>
                </a:cxn>
                <a:cxn ang="0">
                  <a:pos x="205" y="194"/>
                </a:cxn>
                <a:cxn ang="0">
                  <a:pos x="226" y="178"/>
                </a:cxn>
                <a:cxn ang="0">
                  <a:pos x="252" y="164"/>
                </a:cxn>
                <a:cxn ang="0">
                  <a:pos x="274" y="151"/>
                </a:cxn>
                <a:cxn ang="0">
                  <a:pos x="280" y="144"/>
                </a:cxn>
                <a:cxn ang="0">
                  <a:pos x="282" y="137"/>
                </a:cxn>
                <a:cxn ang="0">
                  <a:pos x="279" y="128"/>
                </a:cxn>
                <a:cxn ang="0">
                  <a:pos x="268" y="117"/>
                </a:cxn>
                <a:cxn ang="0">
                  <a:pos x="251" y="106"/>
                </a:cxn>
                <a:cxn ang="0">
                  <a:pos x="222" y="93"/>
                </a:cxn>
                <a:cxn ang="0">
                  <a:pos x="192" y="78"/>
                </a:cxn>
                <a:cxn ang="0">
                  <a:pos x="171" y="66"/>
                </a:cxn>
                <a:cxn ang="0">
                  <a:pos x="161" y="56"/>
                </a:cxn>
                <a:cxn ang="0">
                  <a:pos x="154" y="45"/>
                </a:cxn>
                <a:cxn ang="0">
                  <a:pos x="143" y="30"/>
                </a:cxn>
                <a:cxn ang="0">
                  <a:pos x="128" y="17"/>
                </a:cxn>
                <a:cxn ang="0">
                  <a:pos x="113" y="7"/>
                </a:cxn>
                <a:cxn ang="0">
                  <a:pos x="96" y="0"/>
                </a:cxn>
                <a:cxn ang="0">
                  <a:pos x="71" y="0"/>
                </a:cxn>
                <a:cxn ang="0">
                  <a:pos x="56" y="1"/>
                </a:cxn>
                <a:cxn ang="0">
                  <a:pos x="37" y="1"/>
                </a:cxn>
                <a:cxn ang="0">
                  <a:pos x="25" y="3"/>
                </a:cxn>
              </a:cxnLst>
              <a:rect l="0" t="0" r="r" b="b"/>
              <a:pathLst>
                <a:path w="282" h="241">
                  <a:moveTo>
                    <a:pt x="25" y="3"/>
                  </a:moveTo>
                  <a:lnTo>
                    <a:pt x="20" y="11"/>
                  </a:lnTo>
                  <a:lnTo>
                    <a:pt x="15" y="19"/>
                  </a:lnTo>
                  <a:lnTo>
                    <a:pt x="11" y="28"/>
                  </a:lnTo>
                  <a:lnTo>
                    <a:pt x="8" y="37"/>
                  </a:lnTo>
                  <a:lnTo>
                    <a:pt x="4" y="46"/>
                  </a:lnTo>
                  <a:lnTo>
                    <a:pt x="2" y="55"/>
                  </a:lnTo>
                  <a:lnTo>
                    <a:pt x="1" y="65"/>
                  </a:lnTo>
                  <a:lnTo>
                    <a:pt x="0" y="75"/>
                  </a:lnTo>
                  <a:lnTo>
                    <a:pt x="3" y="87"/>
                  </a:lnTo>
                  <a:lnTo>
                    <a:pt x="10" y="104"/>
                  </a:lnTo>
                  <a:lnTo>
                    <a:pt x="17" y="120"/>
                  </a:lnTo>
                  <a:lnTo>
                    <a:pt x="22" y="132"/>
                  </a:lnTo>
                  <a:lnTo>
                    <a:pt x="24" y="136"/>
                  </a:lnTo>
                  <a:lnTo>
                    <a:pt x="25" y="142"/>
                  </a:lnTo>
                  <a:lnTo>
                    <a:pt x="25" y="146"/>
                  </a:lnTo>
                  <a:lnTo>
                    <a:pt x="25" y="152"/>
                  </a:lnTo>
                  <a:lnTo>
                    <a:pt x="24" y="164"/>
                  </a:lnTo>
                  <a:lnTo>
                    <a:pt x="22" y="176"/>
                  </a:lnTo>
                  <a:lnTo>
                    <a:pt x="19" y="189"/>
                  </a:lnTo>
                  <a:lnTo>
                    <a:pt x="15" y="201"/>
                  </a:lnTo>
                  <a:lnTo>
                    <a:pt x="14" y="213"/>
                  </a:lnTo>
                  <a:lnTo>
                    <a:pt x="13" y="223"/>
                  </a:lnTo>
                  <a:lnTo>
                    <a:pt x="13" y="228"/>
                  </a:lnTo>
                  <a:lnTo>
                    <a:pt x="15" y="231"/>
                  </a:lnTo>
                  <a:lnTo>
                    <a:pt x="19" y="236"/>
                  </a:lnTo>
                  <a:lnTo>
                    <a:pt x="21" y="239"/>
                  </a:lnTo>
                  <a:lnTo>
                    <a:pt x="22" y="241"/>
                  </a:lnTo>
                  <a:lnTo>
                    <a:pt x="24" y="241"/>
                  </a:lnTo>
                  <a:lnTo>
                    <a:pt x="25" y="241"/>
                  </a:lnTo>
                  <a:lnTo>
                    <a:pt x="27" y="241"/>
                  </a:lnTo>
                  <a:lnTo>
                    <a:pt x="30" y="239"/>
                  </a:lnTo>
                  <a:lnTo>
                    <a:pt x="33" y="234"/>
                  </a:lnTo>
                  <a:lnTo>
                    <a:pt x="41" y="226"/>
                  </a:lnTo>
                  <a:lnTo>
                    <a:pt x="48" y="219"/>
                  </a:lnTo>
                  <a:lnTo>
                    <a:pt x="58" y="214"/>
                  </a:lnTo>
                  <a:lnTo>
                    <a:pt x="69" y="213"/>
                  </a:lnTo>
                  <a:lnTo>
                    <a:pt x="80" y="212"/>
                  </a:lnTo>
                  <a:lnTo>
                    <a:pt x="91" y="213"/>
                  </a:lnTo>
                  <a:lnTo>
                    <a:pt x="114" y="217"/>
                  </a:lnTo>
                  <a:lnTo>
                    <a:pt x="135" y="219"/>
                  </a:lnTo>
                  <a:lnTo>
                    <a:pt x="154" y="218"/>
                  </a:lnTo>
                  <a:lnTo>
                    <a:pt x="169" y="217"/>
                  </a:lnTo>
                  <a:lnTo>
                    <a:pt x="177" y="214"/>
                  </a:lnTo>
                  <a:lnTo>
                    <a:pt x="184" y="211"/>
                  </a:lnTo>
                  <a:lnTo>
                    <a:pt x="191" y="207"/>
                  </a:lnTo>
                  <a:lnTo>
                    <a:pt x="197" y="201"/>
                  </a:lnTo>
                  <a:lnTo>
                    <a:pt x="205" y="194"/>
                  </a:lnTo>
                  <a:lnTo>
                    <a:pt x="215" y="185"/>
                  </a:lnTo>
                  <a:lnTo>
                    <a:pt x="226" y="178"/>
                  </a:lnTo>
                  <a:lnTo>
                    <a:pt x="235" y="172"/>
                  </a:lnTo>
                  <a:lnTo>
                    <a:pt x="252" y="164"/>
                  </a:lnTo>
                  <a:lnTo>
                    <a:pt x="270" y="154"/>
                  </a:lnTo>
                  <a:lnTo>
                    <a:pt x="274" y="151"/>
                  </a:lnTo>
                  <a:lnTo>
                    <a:pt x="278" y="147"/>
                  </a:lnTo>
                  <a:lnTo>
                    <a:pt x="280" y="144"/>
                  </a:lnTo>
                  <a:lnTo>
                    <a:pt x="281" y="141"/>
                  </a:lnTo>
                  <a:lnTo>
                    <a:pt x="282" y="137"/>
                  </a:lnTo>
                  <a:lnTo>
                    <a:pt x="281" y="133"/>
                  </a:lnTo>
                  <a:lnTo>
                    <a:pt x="279" y="128"/>
                  </a:lnTo>
                  <a:lnTo>
                    <a:pt x="275" y="124"/>
                  </a:lnTo>
                  <a:lnTo>
                    <a:pt x="268" y="117"/>
                  </a:lnTo>
                  <a:lnTo>
                    <a:pt x="260" y="112"/>
                  </a:lnTo>
                  <a:lnTo>
                    <a:pt x="251" y="106"/>
                  </a:lnTo>
                  <a:lnTo>
                    <a:pt x="241" y="102"/>
                  </a:lnTo>
                  <a:lnTo>
                    <a:pt x="222" y="93"/>
                  </a:lnTo>
                  <a:lnTo>
                    <a:pt x="202" y="84"/>
                  </a:lnTo>
                  <a:lnTo>
                    <a:pt x="192" y="78"/>
                  </a:lnTo>
                  <a:lnTo>
                    <a:pt x="177" y="70"/>
                  </a:lnTo>
                  <a:lnTo>
                    <a:pt x="171" y="66"/>
                  </a:lnTo>
                  <a:lnTo>
                    <a:pt x="165" y="60"/>
                  </a:lnTo>
                  <a:lnTo>
                    <a:pt x="161" y="56"/>
                  </a:lnTo>
                  <a:lnTo>
                    <a:pt x="157" y="53"/>
                  </a:lnTo>
                  <a:lnTo>
                    <a:pt x="154" y="45"/>
                  </a:lnTo>
                  <a:lnTo>
                    <a:pt x="149" y="37"/>
                  </a:lnTo>
                  <a:lnTo>
                    <a:pt x="143" y="30"/>
                  </a:lnTo>
                  <a:lnTo>
                    <a:pt x="136" y="22"/>
                  </a:lnTo>
                  <a:lnTo>
                    <a:pt x="128" y="17"/>
                  </a:lnTo>
                  <a:lnTo>
                    <a:pt x="120" y="11"/>
                  </a:lnTo>
                  <a:lnTo>
                    <a:pt x="113" y="7"/>
                  </a:lnTo>
                  <a:lnTo>
                    <a:pt x="105" y="3"/>
                  </a:lnTo>
                  <a:lnTo>
                    <a:pt x="96" y="0"/>
                  </a:lnTo>
                  <a:lnTo>
                    <a:pt x="83" y="0"/>
                  </a:lnTo>
                  <a:lnTo>
                    <a:pt x="71" y="0"/>
                  </a:lnTo>
                  <a:lnTo>
                    <a:pt x="60" y="0"/>
                  </a:lnTo>
                  <a:lnTo>
                    <a:pt x="56" y="1"/>
                  </a:lnTo>
                  <a:lnTo>
                    <a:pt x="47" y="1"/>
                  </a:lnTo>
                  <a:lnTo>
                    <a:pt x="37" y="1"/>
                  </a:lnTo>
                  <a:lnTo>
                    <a:pt x="32" y="0"/>
                  </a:lnTo>
                  <a:lnTo>
                    <a:pt x="25" y="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1" name="Freeform 68"/>
            <p:cNvSpPr>
              <a:spLocks noChangeAspect="1"/>
            </p:cNvSpPr>
            <p:nvPr/>
          </p:nvSpPr>
          <p:spPr bwMode="gray">
            <a:xfrm rot="355651">
              <a:off x="7716627" y="4405313"/>
              <a:ext cx="178795" cy="103268"/>
            </a:xfrm>
            <a:custGeom>
              <a:avLst/>
              <a:gdLst/>
              <a:ahLst/>
              <a:cxnLst>
                <a:cxn ang="0">
                  <a:pos x="267" y="256"/>
                </a:cxn>
                <a:cxn ang="0">
                  <a:pos x="239" y="293"/>
                </a:cxn>
                <a:cxn ang="0">
                  <a:pos x="227" y="307"/>
                </a:cxn>
                <a:cxn ang="0">
                  <a:pos x="215" y="322"/>
                </a:cxn>
                <a:cxn ang="0">
                  <a:pos x="234" y="365"/>
                </a:cxn>
                <a:cxn ang="0">
                  <a:pos x="248" y="388"/>
                </a:cxn>
                <a:cxn ang="0">
                  <a:pos x="264" y="405"/>
                </a:cxn>
                <a:cxn ang="0">
                  <a:pos x="257" y="405"/>
                </a:cxn>
                <a:cxn ang="0">
                  <a:pos x="234" y="411"/>
                </a:cxn>
                <a:cxn ang="0">
                  <a:pos x="215" y="417"/>
                </a:cxn>
                <a:cxn ang="0">
                  <a:pos x="183" y="436"/>
                </a:cxn>
                <a:cxn ang="0">
                  <a:pos x="154" y="439"/>
                </a:cxn>
                <a:cxn ang="0">
                  <a:pos x="140" y="439"/>
                </a:cxn>
                <a:cxn ang="0">
                  <a:pos x="113" y="439"/>
                </a:cxn>
                <a:cxn ang="0">
                  <a:pos x="75" y="439"/>
                </a:cxn>
                <a:cxn ang="0">
                  <a:pos x="55" y="439"/>
                </a:cxn>
                <a:cxn ang="0">
                  <a:pos x="32" y="447"/>
                </a:cxn>
                <a:cxn ang="0">
                  <a:pos x="16" y="456"/>
                </a:cxn>
                <a:cxn ang="0">
                  <a:pos x="0" y="480"/>
                </a:cxn>
                <a:cxn ang="0">
                  <a:pos x="0" y="505"/>
                </a:cxn>
                <a:cxn ang="0">
                  <a:pos x="5" y="530"/>
                </a:cxn>
                <a:cxn ang="0">
                  <a:pos x="17" y="546"/>
                </a:cxn>
                <a:cxn ang="0">
                  <a:pos x="26" y="575"/>
                </a:cxn>
                <a:cxn ang="0">
                  <a:pos x="45" y="597"/>
                </a:cxn>
                <a:cxn ang="0">
                  <a:pos x="67" y="624"/>
                </a:cxn>
                <a:cxn ang="0">
                  <a:pos x="94" y="634"/>
                </a:cxn>
                <a:cxn ang="0">
                  <a:pos x="114" y="623"/>
                </a:cxn>
                <a:cxn ang="0">
                  <a:pos x="130" y="601"/>
                </a:cxn>
                <a:cxn ang="0">
                  <a:pos x="139" y="583"/>
                </a:cxn>
                <a:cxn ang="0">
                  <a:pos x="153" y="557"/>
                </a:cxn>
                <a:cxn ang="0">
                  <a:pos x="166" y="526"/>
                </a:cxn>
                <a:cxn ang="0">
                  <a:pos x="184" y="515"/>
                </a:cxn>
                <a:cxn ang="0">
                  <a:pos x="200" y="497"/>
                </a:cxn>
                <a:cxn ang="0">
                  <a:pos x="221" y="472"/>
                </a:cxn>
                <a:cxn ang="0">
                  <a:pos x="246" y="458"/>
                </a:cxn>
                <a:cxn ang="0">
                  <a:pos x="272" y="433"/>
                </a:cxn>
                <a:cxn ang="0">
                  <a:pos x="282" y="420"/>
                </a:cxn>
                <a:cxn ang="0">
                  <a:pos x="336" y="423"/>
                </a:cxn>
                <a:cxn ang="0">
                  <a:pos x="469" y="395"/>
                </a:cxn>
                <a:cxn ang="0">
                  <a:pos x="552" y="360"/>
                </a:cxn>
                <a:cxn ang="0">
                  <a:pos x="583" y="327"/>
                </a:cxn>
                <a:cxn ang="0">
                  <a:pos x="622" y="303"/>
                </a:cxn>
                <a:cxn ang="0">
                  <a:pos x="712" y="259"/>
                </a:cxn>
                <a:cxn ang="0">
                  <a:pos x="795" y="227"/>
                </a:cxn>
                <a:cxn ang="0">
                  <a:pos x="846" y="201"/>
                </a:cxn>
                <a:cxn ang="0">
                  <a:pos x="888" y="184"/>
                </a:cxn>
                <a:cxn ang="0">
                  <a:pos x="959" y="152"/>
                </a:cxn>
                <a:cxn ang="0">
                  <a:pos x="973" y="141"/>
                </a:cxn>
                <a:cxn ang="0">
                  <a:pos x="937" y="106"/>
                </a:cxn>
                <a:cxn ang="0">
                  <a:pos x="875" y="92"/>
                </a:cxn>
                <a:cxn ang="0">
                  <a:pos x="820" y="64"/>
                </a:cxn>
                <a:cxn ang="0">
                  <a:pos x="762" y="13"/>
                </a:cxn>
                <a:cxn ang="0">
                  <a:pos x="716" y="1"/>
                </a:cxn>
                <a:cxn ang="0">
                  <a:pos x="623" y="21"/>
                </a:cxn>
                <a:cxn ang="0">
                  <a:pos x="534" y="77"/>
                </a:cxn>
                <a:cxn ang="0">
                  <a:pos x="504" y="95"/>
                </a:cxn>
                <a:cxn ang="0">
                  <a:pos x="451" y="116"/>
                </a:cxn>
                <a:cxn ang="0">
                  <a:pos x="394" y="148"/>
                </a:cxn>
                <a:cxn ang="0">
                  <a:pos x="362" y="178"/>
                </a:cxn>
                <a:cxn ang="0">
                  <a:pos x="336" y="201"/>
                </a:cxn>
                <a:cxn ang="0">
                  <a:pos x="316" y="212"/>
                </a:cxn>
              </a:cxnLst>
              <a:rect l="0" t="0" r="r" b="b"/>
              <a:pathLst>
                <a:path w="978" h="635">
                  <a:moveTo>
                    <a:pt x="295" y="220"/>
                  </a:moveTo>
                  <a:lnTo>
                    <a:pt x="287" y="230"/>
                  </a:lnTo>
                  <a:lnTo>
                    <a:pt x="279" y="242"/>
                  </a:lnTo>
                  <a:lnTo>
                    <a:pt x="272" y="246"/>
                  </a:lnTo>
                  <a:lnTo>
                    <a:pt x="270" y="250"/>
                  </a:lnTo>
                  <a:lnTo>
                    <a:pt x="267" y="256"/>
                  </a:lnTo>
                  <a:lnTo>
                    <a:pt x="264" y="263"/>
                  </a:lnTo>
                  <a:lnTo>
                    <a:pt x="258" y="270"/>
                  </a:lnTo>
                  <a:lnTo>
                    <a:pt x="248" y="283"/>
                  </a:lnTo>
                  <a:lnTo>
                    <a:pt x="241" y="288"/>
                  </a:lnTo>
                  <a:lnTo>
                    <a:pt x="241" y="290"/>
                  </a:lnTo>
                  <a:lnTo>
                    <a:pt x="239" y="293"/>
                  </a:lnTo>
                  <a:lnTo>
                    <a:pt x="237" y="295"/>
                  </a:lnTo>
                  <a:lnTo>
                    <a:pt x="234" y="295"/>
                  </a:lnTo>
                  <a:lnTo>
                    <a:pt x="234" y="298"/>
                  </a:lnTo>
                  <a:lnTo>
                    <a:pt x="231" y="303"/>
                  </a:lnTo>
                  <a:lnTo>
                    <a:pt x="229" y="305"/>
                  </a:lnTo>
                  <a:lnTo>
                    <a:pt x="227" y="307"/>
                  </a:lnTo>
                  <a:lnTo>
                    <a:pt x="226" y="314"/>
                  </a:lnTo>
                  <a:lnTo>
                    <a:pt x="225" y="315"/>
                  </a:lnTo>
                  <a:lnTo>
                    <a:pt x="224" y="315"/>
                  </a:lnTo>
                  <a:lnTo>
                    <a:pt x="222" y="318"/>
                  </a:lnTo>
                  <a:lnTo>
                    <a:pt x="219" y="319"/>
                  </a:lnTo>
                  <a:lnTo>
                    <a:pt x="215" y="322"/>
                  </a:lnTo>
                  <a:lnTo>
                    <a:pt x="215" y="348"/>
                  </a:lnTo>
                  <a:lnTo>
                    <a:pt x="219" y="352"/>
                  </a:lnTo>
                  <a:lnTo>
                    <a:pt x="227" y="352"/>
                  </a:lnTo>
                  <a:lnTo>
                    <a:pt x="228" y="357"/>
                  </a:lnTo>
                  <a:lnTo>
                    <a:pt x="230" y="363"/>
                  </a:lnTo>
                  <a:lnTo>
                    <a:pt x="234" y="365"/>
                  </a:lnTo>
                  <a:lnTo>
                    <a:pt x="237" y="371"/>
                  </a:lnTo>
                  <a:lnTo>
                    <a:pt x="240" y="378"/>
                  </a:lnTo>
                  <a:lnTo>
                    <a:pt x="241" y="382"/>
                  </a:lnTo>
                  <a:lnTo>
                    <a:pt x="245" y="383"/>
                  </a:lnTo>
                  <a:lnTo>
                    <a:pt x="247" y="384"/>
                  </a:lnTo>
                  <a:lnTo>
                    <a:pt x="248" y="388"/>
                  </a:lnTo>
                  <a:lnTo>
                    <a:pt x="249" y="390"/>
                  </a:lnTo>
                  <a:lnTo>
                    <a:pt x="251" y="391"/>
                  </a:lnTo>
                  <a:lnTo>
                    <a:pt x="255" y="394"/>
                  </a:lnTo>
                  <a:lnTo>
                    <a:pt x="256" y="398"/>
                  </a:lnTo>
                  <a:lnTo>
                    <a:pt x="257" y="401"/>
                  </a:lnTo>
                  <a:lnTo>
                    <a:pt x="264" y="405"/>
                  </a:lnTo>
                  <a:lnTo>
                    <a:pt x="268" y="409"/>
                  </a:lnTo>
                  <a:lnTo>
                    <a:pt x="268" y="409"/>
                  </a:lnTo>
                  <a:lnTo>
                    <a:pt x="264" y="409"/>
                  </a:lnTo>
                  <a:lnTo>
                    <a:pt x="260" y="409"/>
                  </a:lnTo>
                  <a:lnTo>
                    <a:pt x="258" y="407"/>
                  </a:lnTo>
                  <a:lnTo>
                    <a:pt x="257" y="405"/>
                  </a:lnTo>
                  <a:lnTo>
                    <a:pt x="253" y="405"/>
                  </a:lnTo>
                  <a:lnTo>
                    <a:pt x="251" y="405"/>
                  </a:lnTo>
                  <a:lnTo>
                    <a:pt x="249" y="405"/>
                  </a:lnTo>
                  <a:lnTo>
                    <a:pt x="241" y="407"/>
                  </a:lnTo>
                  <a:lnTo>
                    <a:pt x="234" y="409"/>
                  </a:lnTo>
                  <a:lnTo>
                    <a:pt x="234" y="411"/>
                  </a:lnTo>
                  <a:lnTo>
                    <a:pt x="234" y="412"/>
                  </a:lnTo>
                  <a:lnTo>
                    <a:pt x="232" y="412"/>
                  </a:lnTo>
                  <a:lnTo>
                    <a:pt x="231" y="412"/>
                  </a:lnTo>
                  <a:lnTo>
                    <a:pt x="229" y="411"/>
                  </a:lnTo>
                  <a:lnTo>
                    <a:pt x="227" y="412"/>
                  </a:lnTo>
                  <a:lnTo>
                    <a:pt x="215" y="417"/>
                  </a:lnTo>
                  <a:lnTo>
                    <a:pt x="203" y="420"/>
                  </a:lnTo>
                  <a:lnTo>
                    <a:pt x="200" y="423"/>
                  </a:lnTo>
                  <a:lnTo>
                    <a:pt x="200" y="426"/>
                  </a:lnTo>
                  <a:lnTo>
                    <a:pt x="200" y="428"/>
                  </a:lnTo>
                  <a:lnTo>
                    <a:pt x="192" y="431"/>
                  </a:lnTo>
                  <a:lnTo>
                    <a:pt x="183" y="436"/>
                  </a:lnTo>
                  <a:lnTo>
                    <a:pt x="178" y="439"/>
                  </a:lnTo>
                  <a:lnTo>
                    <a:pt x="172" y="439"/>
                  </a:lnTo>
                  <a:lnTo>
                    <a:pt x="166" y="439"/>
                  </a:lnTo>
                  <a:lnTo>
                    <a:pt x="162" y="439"/>
                  </a:lnTo>
                  <a:lnTo>
                    <a:pt x="159" y="439"/>
                  </a:lnTo>
                  <a:lnTo>
                    <a:pt x="154" y="439"/>
                  </a:lnTo>
                  <a:lnTo>
                    <a:pt x="153" y="439"/>
                  </a:lnTo>
                  <a:lnTo>
                    <a:pt x="151" y="439"/>
                  </a:lnTo>
                  <a:lnTo>
                    <a:pt x="148" y="439"/>
                  </a:lnTo>
                  <a:lnTo>
                    <a:pt x="145" y="439"/>
                  </a:lnTo>
                  <a:lnTo>
                    <a:pt x="143" y="439"/>
                  </a:lnTo>
                  <a:lnTo>
                    <a:pt x="140" y="439"/>
                  </a:lnTo>
                  <a:lnTo>
                    <a:pt x="138" y="439"/>
                  </a:lnTo>
                  <a:lnTo>
                    <a:pt x="135" y="439"/>
                  </a:lnTo>
                  <a:lnTo>
                    <a:pt x="129" y="439"/>
                  </a:lnTo>
                  <a:lnTo>
                    <a:pt x="123" y="439"/>
                  </a:lnTo>
                  <a:lnTo>
                    <a:pt x="116" y="439"/>
                  </a:lnTo>
                  <a:lnTo>
                    <a:pt x="113" y="439"/>
                  </a:lnTo>
                  <a:lnTo>
                    <a:pt x="109" y="439"/>
                  </a:lnTo>
                  <a:lnTo>
                    <a:pt x="102" y="439"/>
                  </a:lnTo>
                  <a:lnTo>
                    <a:pt x="94" y="439"/>
                  </a:lnTo>
                  <a:lnTo>
                    <a:pt x="86" y="439"/>
                  </a:lnTo>
                  <a:lnTo>
                    <a:pt x="81" y="439"/>
                  </a:lnTo>
                  <a:lnTo>
                    <a:pt x="75" y="439"/>
                  </a:lnTo>
                  <a:lnTo>
                    <a:pt x="72" y="439"/>
                  </a:lnTo>
                  <a:lnTo>
                    <a:pt x="67" y="439"/>
                  </a:lnTo>
                  <a:lnTo>
                    <a:pt x="64" y="439"/>
                  </a:lnTo>
                  <a:lnTo>
                    <a:pt x="61" y="439"/>
                  </a:lnTo>
                  <a:lnTo>
                    <a:pt x="56" y="439"/>
                  </a:lnTo>
                  <a:lnTo>
                    <a:pt x="55" y="439"/>
                  </a:lnTo>
                  <a:lnTo>
                    <a:pt x="53" y="439"/>
                  </a:lnTo>
                  <a:lnTo>
                    <a:pt x="49" y="442"/>
                  </a:lnTo>
                  <a:lnTo>
                    <a:pt x="42" y="442"/>
                  </a:lnTo>
                  <a:lnTo>
                    <a:pt x="34" y="442"/>
                  </a:lnTo>
                  <a:lnTo>
                    <a:pt x="34" y="447"/>
                  </a:lnTo>
                  <a:lnTo>
                    <a:pt x="32" y="447"/>
                  </a:lnTo>
                  <a:lnTo>
                    <a:pt x="30" y="447"/>
                  </a:lnTo>
                  <a:lnTo>
                    <a:pt x="26" y="447"/>
                  </a:lnTo>
                  <a:lnTo>
                    <a:pt x="21" y="449"/>
                  </a:lnTo>
                  <a:lnTo>
                    <a:pt x="18" y="451"/>
                  </a:lnTo>
                  <a:lnTo>
                    <a:pt x="17" y="452"/>
                  </a:lnTo>
                  <a:lnTo>
                    <a:pt x="16" y="456"/>
                  </a:lnTo>
                  <a:lnTo>
                    <a:pt x="15" y="458"/>
                  </a:lnTo>
                  <a:lnTo>
                    <a:pt x="11" y="461"/>
                  </a:lnTo>
                  <a:lnTo>
                    <a:pt x="7" y="463"/>
                  </a:lnTo>
                  <a:lnTo>
                    <a:pt x="4" y="466"/>
                  </a:lnTo>
                  <a:lnTo>
                    <a:pt x="1" y="475"/>
                  </a:lnTo>
                  <a:lnTo>
                    <a:pt x="0" y="480"/>
                  </a:lnTo>
                  <a:lnTo>
                    <a:pt x="0" y="486"/>
                  </a:lnTo>
                  <a:lnTo>
                    <a:pt x="0" y="491"/>
                  </a:lnTo>
                  <a:lnTo>
                    <a:pt x="0" y="496"/>
                  </a:lnTo>
                  <a:lnTo>
                    <a:pt x="0" y="499"/>
                  </a:lnTo>
                  <a:lnTo>
                    <a:pt x="0" y="503"/>
                  </a:lnTo>
                  <a:lnTo>
                    <a:pt x="0" y="505"/>
                  </a:lnTo>
                  <a:lnTo>
                    <a:pt x="0" y="507"/>
                  </a:lnTo>
                  <a:lnTo>
                    <a:pt x="0" y="510"/>
                  </a:lnTo>
                  <a:lnTo>
                    <a:pt x="0" y="518"/>
                  </a:lnTo>
                  <a:lnTo>
                    <a:pt x="0" y="526"/>
                  </a:lnTo>
                  <a:lnTo>
                    <a:pt x="3" y="527"/>
                  </a:lnTo>
                  <a:lnTo>
                    <a:pt x="5" y="530"/>
                  </a:lnTo>
                  <a:lnTo>
                    <a:pt x="7" y="534"/>
                  </a:lnTo>
                  <a:lnTo>
                    <a:pt x="7" y="537"/>
                  </a:lnTo>
                  <a:lnTo>
                    <a:pt x="11" y="539"/>
                  </a:lnTo>
                  <a:lnTo>
                    <a:pt x="15" y="540"/>
                  </a:lnTo>
                  <a:lnTo>
                    <a:pt x="16" y="544"/>
                  </a:lnTo>
                  <a:lnTo>
                    <a:pt x="17" y="546"/>
                  </a:lnTo>
                  <a:lnTo>
                    <a:pt x="19" y="549"/>
                  </a:lnTo>
                  <a:lnTo>
                    <a:pt x="23" y="552"/>
                  </a:lnTo>
                  <a:lnTo>
                    <a:pt x="23" y="556"/>
                  </a:lnTo>
                  <a:lnTo>
                    <a:pt x="23" y="559"/>
                  </a:lnTo>
                  <a:lnTo>
                    <a:pt x="25" y="567"/>
                  </a:lnTo>
                  <a:lnTo>
                    <a:pt x="26" y="575"/>
                  </a:lnTo>
                  <a:lnTo>
                    <a:pt x="30" y="578"/>
                  </a:lnTo>
                  <a:lnTo>
                    <a:pt x="34" y="583"/>
                  </a:lnTo>
                  <a:lnTo>
                    <a:pt x="36" y="588"/>
                  </a:lnTo>
                  <a:lnTo>
                    <a:pt x="37" y="594"/>
                  </a:lnTo>
                  <a:lnTo>
                    <a:pt x="42" y="595"/>
                  </a:lnTo>
                  <a:lnTo>
                    <a:pt x="45" y="597"/>
                  </a:lnTo>
                  <a:lnTo>
                    <a:pt x="49" y="605"/>
                  </a:lnTo>
                  <a:lnTo>
                    <a:pt x="53" y="613"/>
                  </a:lnTo>
                  <a:lnTo>
                    <a:pt x="58" y="616"/>
                  </a:lnTo>
                  <a:lnTo>
                    <a:pt x="61" y="620"/>
                  </a:lnTo>
                  <a:lnTo>
                    <a:pt x="64" y="622"/>
                  </a:lnTo>
                  <a:lnTo>
                    <a:pt x="67" y="624"/>
                  </a:lnTo>
                  <a:lnTo>
                    <a:pt x="74" y="624"/>
                  </a:lnTo>
                  <a:lnTo>
                    <a:pt x="80" y="624"/>
                  </a:lnTo>
                  <a:lnTo>
                    <a:pt x="83" y="628"/>
                  </a:lnTo>
                  <a:lnTo>
                    <a:pt x="86" y="630"/>
                  </a:lnTo>
                  <a:lnTo>
                    <a:pt x="91" y="632"/>
                  </a:lnTo>
                  <a:lnTo>
                    <a:pt x="94" y="634"/>
                  </a:lnTo>
                  <a:lnTo>
                    <a:pt x="99" y="635"/>
                  </a:lnTo>
                  <a:lnTo>
                    <a:pt x="102" y="635"/>
                  </a:lnTo>
                  <a:lnTo>
                    <a:pt x="105" y="635"/>
                  </a:lnTo>
                  <a:lnTo>
                    <a:pt x="110" y="632"/>
                  </a:lnTo>
                  <a:lnTo>
                    <a:pt x="112" y="626"/>
                  </a:lnTo>
                  <a:lnTo>
                    <a:pt x="114" y="623"/>
                  </a:lnTo>
                  <a:lnTo>
                    <a:pt x="116" y="620"/>
                  </a:lnTo>
                  <a:lnTo>
                    <a:pt x="121" y="616"/>
                  </a:lnTo>
                  <a:lnTo>
                    <a:pt x="121" y="609"/>
                  </a:lnTo>
                  <a:lnTo>
                    <a:pt x="126" y="607"/>
                  </a:lnTo>
                  <a:lnTo>
                    <a:pt x="129" y="605"/>
                  </a:lnTo>
                  <a:lnTo>
                    <a:pt x="130" y="601"/>
                  </a:lnTo>
                  <a:lnTo>
                    <a:pt x="132" y="597"/>
                  </a:lnTo>
                  <a:lnTo>
                    <a:pt x="132" y="594"/>
                  </a:lnTo>
                  <a:lnTo>
                    <a:pt x="134" y="592"/>
                  </a:lnTo>
                  <a:lnTo>
                    <a:pt x="135" y="590"/>
                  </a:lnTo>
                  <a:lnTo>
                    <a:pt x="136" y="586"/>
                  </a:lnTo>
                  <a:lnTo>
                    <a:pt x="139" y="583"/>
                  </a:lnTo>
                  <a:lnTo>
                    <a:pt x="141" y="580"/>
                  </a:lnTo>
                  <a:lnTo>
                    <a:pt x="143" y="578"/>
                  </a:lnTo>
                  <a:lnTo>
                    <a:pt x="143" y="571"/>
                  </a:lnTo>
                  <a:lnTo>
                    <a:pt x="148" y="567"/>
                  </a:lnTo>
                  <a:lnTo>
                    <a:pt x="151" y="564"/>
                  </a:lnTo>
                  <a:lnTo>
                    <a:pt x="153" y="557"/>
                  </a:lnTo>
                  <a:lnTo>
                    <a:pt x="154" y="548"/>
                  </a:lnTo>
                  <a:lnTo>
                    <a:pt x="159" y="548"/>
                  </a:lnTo>
                  <a:lnTo>
                    <a:pt x="160" y="545"/>
                  </a:lnTo>
                  <a:lnTo>
                    <a:pt x="162" y="540"/>
                  </a:lnTo>
                  <a:lnTo>
                    <a:pt x="164" y="534"/>
                  </a:lnTo>
                  <a:lnTo>
                    <a:pt x="166" y="526"/>
                  </a:lnTo>
                  <a:lnTo>
                    <a:pt x="170" y="521"/>
                  </a:lnTo>
                  <a:lnTo>
                    <a:pt x="178" y="521"/>
                  </a:lnTo>
                  <a:lnTo>
                    <a:pt x="178" y="519"/>
                  </a:lnTo>
                  <a:lnTo>
                    <a:pt x="180" y="517"/>
                  </a:lnTo>
                  <a:lnTo>
                    <a:pt x="182" y="515"/>
                  </a:lnTo>
                  <a:lnTo>
                    <a:pt x="184" y="515"/>
                  </a:lnTo>
                  <a:lnTo>
                    <a:pt x="187" y="513"/>
                  </a:lnTo>
                  <a:lnTo>
                    <a:pt x="189" y="510"/>
                  </a:lnTo>
                  <a:lnTo>
                    <a:pt x="192" y="507"/>
                  </a:lnTo>
                  <a:lnTo>
                    <a:pt x="197" y="503"/>
                  </a:lnTo>
                  <a:lnTo>
                    <a:pt x="200" y="499"/>
                  </a:lnTo>
                  <a:lnTo>
                    <a:pt x="200" y="497"/>
                  </a:lnTo>
                  <a:lnTo>
                    <a:pt x="200" y="496"/>
                  </a:lnTo>
                  <a:lnTo>
                    <a:pt x="206" y="489"/>
                  </a:lnTo>
                  <a:lnTo>
                    <a:pt x="211" y="480"/>
                  </a:lnTo>
                  <a:lnTo>
                    <a:pt x="215" y="477"/>
                  </a:lnTo>
                  <a:lnTo>
                    <a:pt x="219" y="472"/>
                  </a:lnTo>
                  <a:lnTo>
                    <a:pt x="221" y="472"/>
                  </a:lnTo>
                  <a:lnTo>
                    <a:pt x="222" y="472"/>
                  </a:lnTo>
                  <a:lnTo>
                    <a:pt x="230" y="467"/>
                  </a:lnTo>
                  <a:lnTo>
                    <a:pt x="234" y="461"/>
                  </a:lnTo>
                  <a:lnTo>
                    <a:pt x="241" y="461"/>
                  </a:lnTo>
                  <a:lnTo>
                    <a:pt x="244" y="460"/>
                  </a:lnTo>
                  <a:lnTo>
                    <a:pt x="246" y="458"/>
                  </a:lnTo>
                  <a:lnTo>
                    <a:pt x="249" y="455"/>
                  </a:lnTo>
                  <a:lnTo>
                    <a:pt x="253" y="452"/>
                  </a:lnTo>
                  <a:lnTo>
                    <a:pt x="257" y="450"/>
                  </a:lnTo>
                  <a:lnTo>
                    <a:pt x="263" y="444"/>
                  </a:lnTo>
                  <a:lnTo>
                    <a:pt x="268" y="436"/>
                  </a:lnTo>
                  <a:lnTo>
                    <a:pt x="272" y="433"/>
                  </a:lnTo>
                  <a:lnTo>
                    <a:pt x="276" y="431"/>
                  </a:lnTo>
                  <a:lnTo>
                    <a:pt x="276" y="423"/>
                  </a:lnTo>
                  <a:lnTo>
                    <a:pt x="277" y="423"/>
                  </a:lnTo>
                  <a:lnTo>
                    <a:pt x="279" y="423"/>
                  </a:lnTo>
                  <a:lnTo>
                    <a:pt x="279" y="422"/>
                  </a:lnTo>
                  <a:lnTo>
                    <a:pt x="282" y="420"/>
                  </a:lnTo>
                  <a:lnTo>
                    <a:pt x="283" y="420"/>
                  </a:lnTo>
                  <a:lnTo>
                    <a:pt x="283" y="423"/>
                  </a:lnTo>
                  <a:lnTo>
                    <a:pt x="295" y="424"/>
                  </a:lnTo>
                  <a:lnTo>
                    <a:pt x="308" y="426"/>
                  </a:lnTo>
                  <a:lnTo>
                    <a:pt x="322" y="426"/>
                  </a:lnTo>
                  <a:lnTo>
                    <a:pt x="336" y="423"/>
                  </a:lnTo>
                  <a:lnTo>
                    <a:pt x="359" y="417"/>
                  </a:lnTo>
                  <a:lnTo>
                    <a:pt x="380" y="411"/>
                  </a:lnTo>
                  <a:lnTo>
                    <a:pt x="402" y="405"/>
                  </a:lnTo>
                  <a:lnTo>
                    <a:pt x="423" y="402"/>
                  </a:lnTo>
                  <a:lnTo>
                    <a:pt x="446" y="398"/>
                  </a:lnTo>
                  <a:lnTo>
                    <a:pt x="469" y="395"/>
                  </a:lnTo>
                  <a:lnTo>
                    <a:pt x="493" y="394"/>
                  </a:lnTo>
                  <a:lnTo>
                    <a:pt x="517" y="393"/>
                  </a:lnTo>
                  <a:lnTo>
                    <a:pt x="529" y="386"/>
                  </a:lnTo>
                  <a:lnTo>
                    <a:pt x="544" y="379"/>
                  </a:lnTo>
                  <a:lnTo>
                    <a:pt x="547" y="369"/>
                  </a:lnTo>
                  <a:lnTo>
                    <a:pt x="552" y="360"/>
                  </a:lnTo>
                  <a:lnTo>
                    <a:pt x="562" y="348"/>
                  </a:lnTo>
                  <a:lnTo>
                    <a:pt x="574" y="337"/>
                  </a:lnTo>
                  <a:lnTo>
                    <a:pt x="576" y="333"/>
                  </a:lnTo>
                  <a:lnTo>
                    <a:pt x="577" y="330"/>
                  </a:lnTo>
                  <a:lnTo>
                    <a:pt x="581" y="328"/>
                  </a:lnTo>
                  <a:lnTo>
                    <a:pt x="583" y="327"/>
                  </a:lnTo>
                  <a:lnTo>
                    <a:pt x="585" y="325"/>
                  </a:lnTo>
                  <a:lnTo>
                    <a:pt x="585" y="322"/>
                  </a:lnTo>
                  <a:lnTo>
                    <a:pt x="591" y="321"/>
                  </a:lnTo>
                  <a:lnTo>
                    <a:pt x="600" y="316"/>
                  </a:lnTo>
                  <a:lnTo>
                    <a:pt x="611" y="309"/>
                  </a:lnTo>
                  <a:lnTo>
                    <a:pt x="622" y="303"/>
                  </a:lnTo>
                  <a:lnTo>
                    <a:pt x="634" y="295"/>
                  </a:lnTo>
                  <a:lnTo>
                    <a:pt x="646" y="288"/>
                  </a:lnTo>
                  <a:lnTo>
                    <a:pt x="657" y="283"/>
                  </a:lnTo>
                  <a:lnTo>
                    <a:pt x="664" y="280"/>
                  </a:lnTo>
                  <a:lnTo>
                    <a:pt x="682" y="274"/>
                  </a:lnTo>
                  <a:lnTo>
                    <a:pt x="712" y="259"/>
                  </a:lnTo>
                  <a:lnTo>
                    <a:pt x="743" y="245"/>
                  </a:lnTo>
                  <a:lnTo>
                    <a:pt x="755" y="239"/>
                  </a:lnTo>
                  <a:lnTo>
                    <a:pt x="762" y="238"/>
                  </a:lnTo>
                  <a:lnTo>
                    <a:pt x="771" y="235"/>
                  </a:lnTo>
                  <a:lnTo>
                    <a:pt x="782" y="231"/>
                  </a:lnTo>
                  <a:lnTo>
                    <a:pt x="795" y="227"/>
                  </a:lnTo>
                  <a:lnTo>
                    <a:pt x="806" y="221"/>
                  </a:lnTo>
                  <a:lnTo>
                    <a:pt x="817" y="217"/>
                  </a:lnTo>
                  <a:lnTo>
                    <a:pt x="826" y="212"/>
                  </a:lnTo>
                  <a:lnTo>
                    <a:pt x="831" y="209"/>
                  </a:lnTo>
                  <a:lnTo>
                    <a:pt x="842" y="209"/>
                  </a:lnTo>
                  <a:lnTo>
                    <a:pt x="846" y="201"/>
                  </a:lnTo>
                  <a:lnTo>
                    <a:pt x="855" y="199"/>
                  </a:lnTo>
                  <a:lnTo>
                    <a:pt x="865" y="197"/>
                  </a:lnTo>
                  <a:lnTo>
                    <a:pt x="867" y="193"/>
                  </a:lnTo>
                  <a:lnTo>
                    <a:pt x="869" y="190"/>
                  </a:lnTo>
                  <a:lnTo>
                    <a:pt x="875" y="188"/>
                  </a:lnTo>
                  <a:lnTo>
                    <a:pt x="888" y="184"/>
                  </a:lnTo>
                  <a:lnTo>
                    <a:pt x="902" y="179"/>
                  </a:lnTo>
                  <a:lnTo>
                    <a:pt x="918" y="172"/>
                  </a:lnTo>
                  <a:lnTo>
                    <a:pt x="934" y="165"/>
                  </a:lnTo>
                  <a:lnTo>
                    <a:pt x="947" y="159"/>
                  </a:lnTo>
                  <a:lnTo>
                    <a:pt x="956" y="154"/>
                  </a:lnTo>
                  <a:lnTo>
                    <a:pt x="959" y="152"/>
                  </a:lnTo>
                  <a:lnTo>
                    <a:pt x="966" y="151"/>
                  </a:lnTo>
                  <a:lnTo>
                    <a:pt x="968" y="150"/>
                  </a:lnTo>
                  <a:lnTo>
                    <a:pt x="968" y="149"/>
                  </a:lnTo>
                  <a:lnTo>
                    <a:pt x="970" y="148"/>
                  </a:lnTo>
                  <a:lnTo>
                    <a:pt x="971" y="144"/>
                  </a:lnTo>
                  <a:lnTo>
                    <a:pt x="973" y="141"/>
                  </a:lnTo>
                  <a:lnTo>
                    <a:pt x="976" y="138"/>
                  </a:lnTo>
                  <a:lnTo>
                    <a:pt x="978" y="136"/>
                  </a:lnTo>
                  <a:lnTo>
                    <a:pt x="978" y="125"/>
                  </a:lnTo>
                  <a:lnTo>
                    <a:pt x="967" y="125"/>
                  </a:lnTo>
                  <a:lnTo>
                    <a:pt x="954" y="116"/>
                  </a:lnTo>
                  <a:lnTo>
                    <a:pt x="937" y="106"/>
                  </a:lnTo>
                  <a:lnTo>
                    <a:pt x="926" y="106"/>
                  </a:lnTo>
                  <a:lnTo>
                    <a:pt x="919" y="102"/>
                  </a:lnTo>
                  <a:lnTo>
                    <a:pt x="911" y="97"/>
                  </a:lnTo>
                  <a:lnTo>
                    <a:pt x="903" y="95"/>
                  </a:lnTo>
                  <a:lnTo>
                    <a:pt x="894" y="93"/>
                  </a:lnTo>
                  <a:lnTo>
                    <a:pt x="875" y="92"/>
                  </a:lnTo>
                  <a:lnTo>
                    <a:pt x="858" y="92"/>
                  </a:lnTo>
                  <a:lnTo>
                    <a:pt x="853" y="84"/>
                  </a:lnTo>
                  <a:lnTo>
                    <a:pt x="842" y="84"/>
                  </a:lnTo>
                  <a:lnTo>
                    <a:pt x="831" y="74"/>
                  </a:lnTo>
                  <a:lnTo>
                    <a:pt x="823" y="65"/>
                  </a:lnTo>
                  <a:lnTo>
                    <a:pt x="820" y="64"/>
                  </a:lnTo>
                  <a:lnTo>
                    <a:pt x="816" y="61"/>
                  </a:lnTo>
                  <a:lnTo>
                    <a:pt x="813" y="57"/>
                  </a:lnTo>
                  <a:lnTo>
                    <a:pt x="812" y="54"/>
                  </a:lnTo>
                  <a:lnTo>
                    <a:pt x="802" y="46"/>
                  </a:lnTo>
                  <a:lnTo>
                    <a:pt x="782" y="29"/>
                  </a:lnTo>
                  <a:lnTo>
                    <a:pt x="762" y="13"/>
                  </a:lnTo>
                  <a:lnTo>
                    <a:pt x="752" y="5"/>
                  </a:lnTo>
                  <a:lnTo>
                    <a:pt x="747" y="3"/>
                  </a:lnTo>
                  <a:lnTo>
                    <a:pt x="742" y="1"/>
                  </a:lnTo>
                  <a:lnTo>
                    <a:pt x="736" y="0"/>
                  </a:lnTo>
                  <a:lnTo>
                    <a:pt x="729" y="0"/>
                  </a:lnTo>
                  <a:lnTo>
                    <a:pt x="716" y="1"/>
                  </a:lnTo>
                  <a:lnTo>
                    <a:pt x="700" y="3"/>
                  </a:lnTo>
                  <a:lnTo>
                    <a:pt x="672" y="8"/>
                  </a:lnTo>
                  <a:lnTo>
                    <a:pt x="650" y="13"/>
                  </a:lnTo>
                  <a:lnTo>
                    <a:pt x="640" y="15"/>
                  </a:lnTo>
                  <a:lnTo>
                    <a:pt x="632" y="18"/>
                  </a:lnTo>
                  <a:lnTo>
                    <a:pt x="623" y="21"/>
                  </a:lnTo>
                  <a:lnTo>
                    <a:pt x="614" y="26"/>
                  </a:lnTo>
                  <a:lnTo>
                    <a:pt x="599" y="36"/>
                  </a:lnTo>
                  <a:lnTo>
                    <a:pt x="582" y="46"/>
                  </a:lnTo>
                  <a:lnTo>
                    <a:pt x="566" y="57"/>
                  </a:lnTo>
                  <a:lnTo>
                    <a:pt x="551" y="68"/>
                  </a:lnTo>
                  <a:lnTo>
                    <a:pt x="534" y="77"/>
                  </a:lnTo>
                  <a:lnTo>
                    <a:pt x="517" y="84"/>
                  </a:lnTo>
                  <a:lnTo>
                    <a:pt x="516" y="86"/>
                  </a:lnTo>
                  <a:lnTo>
                    <a:pt x="513" y="90"/>
                  </a:lnTo>
                  <a:lnTo>
                    <a:pt x="509" y="91"/>
                  </a:lnTo>
                  <a:lnTo>
                    <a:pt x="506" y="92"/>
                  </a:lnTo>
                  <a:lnTo>
                    <a:pt x="504" y="95"/>
                  </a:lnTo>
                  <a:lnTo>
                    <a:pt x="503" y="98"/>
                  </a:lnTo>
                  <a:lnTo>
                    <a:pt x="487" y="98"/>
                  </a:lnTo>
                  <a:lnTo>
                    <a:pt x="479" y="106"/>
                  </a:lnTo>
                  <a:lnTo>
                    <a:pt x="468" y="106"/>
                  </a:lnTo>
                  <a:lnTo>
                    <a:pt x="460" y="114"/>
                  </a:lnTo>
                  <a:lnTo>
                    <a:pt x="451" y="116"/>
                  </a:lnTo>
                  <a:lnTo>
                    <a:pt x="442" y="117"/>
                  </a:lnTo>
                  <a:lnTo>
                    <a:pt x="435" y="125"/>
                  </a:lnTo>
                  <a:lnTo>
                    <a:pt x="428" y="128"/>
                  </a:lnTo>
                  <a:lnTo>
                    <a:pt x="418" y="132"/>
                  </a:lnTo>
                  <a:lnTo>
                    <a:pt x="407" y="139"/>
                  </a:lnTo>
                  <a:lnTo>
                    <a:pt x="394" y="148"/>
                  </a:lnTo>
                  <a:lnTo>
                    <a:pt x="382" y="157"/>
                  </a:lnTo>
                  <a:lnTo>
                    <a:pt x="372" y="165"/>
                  </a:lnTo>
                  <a:lnTo>
                    <a:pt x="368" y="169"/>
                  </a:lnTo>
                  <a:lnTo>
                    <a:pt x="365" y="173"/>
                  </a:lnTo>
                  <a:lnTo>
                    <a:pt x="363" y="176"/>
                  </a:lnTo>
                  <a:lnTo>
                    <a:pt x="362" y="178"/>
                  </a:lnTo>
                  <a:lnTo>
                    <a:pt x="359" y="180"/>
                  </a:lnTo>
                  <a:lnTo>
                    <a:pt x="355" y="182"/>
                  </a:lnTo>
                  <a:lnTo>
                    <a:pt x="352" y="187"/>
                  </a:lnTo>
                  <a:lnTo>
                    <a:pt x="351" y="190"/>
                  </a:lnTo>
                  <a:lnTo>
                    <a:pt x="344" y="196"/>
                  </a:lnTo>
                  <a:lnTo>
                    <a:pt x="336" y="201"/>
                  </a:lnTo>
                  <a:lnTo>
                    <a:pt x="328" y="201"/>
                  </a:lnTo>
                  <a:lnTo>
                    <a:pt x="328" y="209"/>
                  </a:lnTo>
                  <a:lnTo>
                    <a:pt x="321" y="209"/>
                  </a:lnTo>
                  <a:lnTo>
                    <a:pt x="321" y="211"/>
                  </a:lnTo>
                  <a:lnTo>
                    <a:pt x="318" y="212"/>
                  </a:lnTo>
                  <a:lnTo>
                    <a:pt x="316" y="212"/>
                  </a:lnTo>
                  <a:lnTo>
                    <a:pt x="313" y="212"/>
                  </a:lnTo>
                  <a:lnTo>
                    <a:pt x="310" y="216"/>
                  </a:lnTo>
                  <a:lnTo>
                    <a:pt x="307" y="220"/>
                  </a:lnTo>
                  <a:lnTo>
                    <a:pt x="306" y="223"/>
                  </a:lnTo>
                  <a:lnTo>
                    <a:pt x="295" y="2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2" name="Freeform 69"/>
            <p:cNvSpPr>
              <a:spLocks noChangeAspect="1"/>
            </p:cNvSpPr>
            <p:nvPr/>
          </p:nvSpPr>
          <p:spPr bwMode="gray">
            <a:xfrm rot="355651">
              <a:off x="7696526" y="4340225"/>
              <a:ext cx="87811" cy="57489"/>
            </a:xfrm>
            <a:custGeom>
              <a:avLst/>
              <a:gdLst/>
              <a:ahLst/>
              <a:cxnLst>
                <a:cxn ang="0">
                  <a:pos x="40" y="6"/>
                </a:cxn>
                <a:cxn ang="0">
                  <a:pos x="20" y="11"/>
                </a:cxn>
                <a:cxn ang="0">
                  <a:pos x="8" y="18"/>
                </a:cxn>
                <a:cxn ang="0">
                  <a:pos x="4" y="21"/>
                </a:cxn>
                <a:cxn ang="0">
                  <a:pos x="0" y="29"/>
                </a:cxn>
                <a:cxn ang="0">
                  <a:pos x="15" y="44"/>
                </a:cxn>
                <a:cxn ang="0">
                  <a:pos x="49" y="67"/>
                </a:cxn>
                <a:cxn ang="0">
                  <a:pos x="91" y="76"/>
                </a:cxn>
                <a:cxn ang="0">
                  <a:pos x="150" y="96"/>
                </a:cxn>
                <a:cxn ang="0">
                  <a:pos x="159" y="99"/>
                </a:cxn>
                <a:cxn ang="0">
                  <a:pos x="165" y="103"/>
                </a:cxn>
                <a:cxn ang="0">
                  <a:pos x="179" y="108"/>
                </a:cxn>
                <a:cxn ang="0">
                  <a:pos x="216" y="142"/>
                </a:cxn>
                <a:cxn ang="0">
                  <a:pos x="235" y="168"/>
                </a:cxn>
                <a:cxn ang="0">
                  <a:pos x="230" y="203"/>
                </a:cxn>
                <a:cxn ang="0">
                  <a:pos x="212" y="217"/>
                </a:cxn>
                <a:cxn ang="0">
                  <a:pos x="186" y="231"/>
                </a:cxn>
                <a:cxn ang="0">
                  <a:pos x="172" y="251"/>
                </a:cxn>
                <a:cxn ang="0">
                  <a:pos x="164" y="265"/>
                </a:cxn>
                <a:cxn ang="0">
                  <a:pos x="163" y="280"/>
                </a:cxn>
                <a:cxn ang="0">
                  <a:pos x="181" y="298"/>
                </a:cxn>
                <a:cxn ang="0">
                  <a:pos x="195" y="313"/>
                </a:cxn>
                <a:cxn ang="0">
                  <a:pos x="212" y="339"/>
                </a:cxn>
                <a:cxn ang="0">
                  <a:pos x="221" y="348"/>
                </a:cxn>
                <a:cxn ang="0">
                  <a:pos x="240" y="358"/>
                </a:cxn>
                <a:cxn ang="0">
                  <a:pos x="257" y="362"/>
                </a:cxn>
                <a:cxn ang="0">
                  <a:pos x="282" y="352"/>
                </a:cxn>
                <a:cxn ang="0">
                  <a:pos x="313" y="351"/>
                </a:cxn>
                <a:cxn ang="0">
                  <a:pos x="331" y="362"/>
                </a:cxn>
                <a:cxn ang="0">
                  <a:pos x="346" y="364"/>
                </a:cxn>
                <a:cxn ang="0">
                  <a:pos x="366" y="366"/>
                </a:cxn>
                <a:cxn ang="0">
                  <a:pos x="384" y="344"/>
                </a:cxn>
                <a:cxn ang="0">
                  <a:pos x="406" y="312"/>
                </a:cxn>
                <a:cxn ang="0">
                  <a:pos x="421" y="303"/>
                </a:cxn>
                <a:cxn ang="0">
                  <a:pos x="461" y="285"/>
                </a:cxn>
                <a:cxn ang="0">
                  <a:pos x="470" y="276"/>
                </a:cxn>
                <a:cxn ang="0">
                  <a:pos x="476" y="256"/>
                </a:cxn>
                <a:cxn ang="0">
                  <a:pos x="479" y="227"/>
                </a:cxn>
                <a:cxn ang="0">
                  <a:pos x="462" y="193"/>
                </a:cxn>
                <a:cxn ang="0">
                  <a:pos x="452" y="154"/>
                </a:cxn>
                <a:cxn ang="0">
                  <a:pos x="430" y="135"/>
                </a:cxn>
                <a:cxn ang="0">
                  <a:pos x="358" y="122"/>
                </a:cxn>
                <a:cxn ang="0">
                  <a:pos x="341" y="112"/>
                </a:cxn>
                <a:cxn ang="0">
                  <a:pos x="269" y="81"/>
                </a:cxn>
                <a:cxn ang="0">
                  <a:pos x="254" y="68"/>
                </a:cxn>
                <a:cxn ang="0">
                  <a:pos x="212" y="53"/>
                </a:cxn>
                <a:cxn ang="0">
                  <a:pos x="196" y="40"/>
                </a:cxn>
                <a:cxn ang="0">
                  <a:pos x="186" y="30"/>
                </a:cxn>
                <a:cxn ang="0">
                  <a:pos x="167" y="18"/>
                </a:cxn>
                <a:cxn ang="0">
                  <a:pos x="162" y="15"/>
                </a:cxn>
                <a:cxn ang="0">
                  <a:pos x="155" y="9"/>
                </a:cxn>
                <a:cxn ang="0">
                  <a:pos x="83" y="1"/>
                </a:cxn>
              </a:cxnLst>
              <a:rect l="0" t="0" r="r" b="b"/>
              <a:pathLst>
                <a:path w="479" h="366">
                  <a:moveTo>
                    <a:pt x="54" y="0"/>
                  </a:moveTo>
                  <a:lnTo>
                    <a:pt x="51" y="1"/>
                  </a:lnTo>
                  <a:lnTo>
                    <a:pt x="45" y="2"/>
                  </a:lnTo>
                  <a:lnTo>
                    <a:pt x="40" y="6"/>
                  </a:lnTo>
                  <a:lnTo>
                    <a:pt x="36" y="9"/>
                  </a:lnTo>
                  <a:lnTo>
                    <a:pt x="29" y="9"/>
                  </a:lnTo>
                  <a:lnTo>
                    <a:pt x="23" y="10"/>
                  </a:lnTo>
                  <a:lnTo>
                    <a:pt x="20" y="11"/>
                  </a:lnTo>
                  <a:lnTo>
                    <a:pt x="18" y="12"/>
                  </a:lnTo>
                  <a:lnTo>
                    <a:pt x="16" y="15"/>
                  </a:lnTo>
                  <a:lnTo>
                    <a:pt x="14" y="18"/>
                  </a:lnTo>
                  <a:lnTo>
                    <a:pt x="8" y="18"/>
                  </a:lnTo>
                  <a:lnTo>
                    <a:pt x="5" y="19"/>
                  </a:lnTo>
                  <a:lnTo>
                    <a:pt x="4" y="19"/>
                  </a:lnTo>
                  <a:lnTo>
                    <a:pt x="4" y="20"/>
                  </a:lnTo>
                  <a:lnTo>
                    <a:pt x="4" y="21"/>
                  </a:lnTo>
                  <a:lnTo>
                    <a:pt x="4" y="22"/>
                  </a:lnTo>
                  <a:lnTo>
                    <a:pt x="3" y="22"/>
                  </a:lnTo>
                  <a:lnTo>
                    <a:pt x="0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4" y="37"/>
                  </a:lnTo>
                  <a:lnTo>
                    <a:pt x="9" y="40"/>
                  </a:lnTo>
                  <a:lnTo>
                    <a:pt x="15" y="44"/>
                  </a:lnTo>
                  <a:lnTo>
                    <a:pt x="20" y="48"/>
                  </a:lnTo>
                  <a:lnTo>
                    <a:pt x="32" y="57"/>
                  </a:lnTo>
                  <a:lnTo>
                    <a:pt x="40" y="64"/>
                  </a:lnTo>
                  <a:lnTo>
                    <a:pt x="49" y="67"/>
                  </a:lnTo>
                  <a:lnTo>
                    <a:pt x="59" y="69"/>
                  </a:lnTo>
                  <a:lnTo>
                    <a:pt x="71" y="72"/>
                  </a:lnTo>
                  <a:lnTo>
                    <a:pt x="82" y="73"/>
                  </a:lnTo>
                  <a:lnTo>
                    <a:pt x="91" y="76"/>
                  </a:lnTo>
                  <a:lnTo>
                    <a:pt x="112" y="84"/>
                  </a:lnTo>
                  <a:lnTo>
                    <a:pt x="134" y="92"/>
                  </a:lnTo>
                  <a:lnTo>
                    <a:pt x="149" y="95"/>
                  </a:lnTo>
                  <a:lnTo>
                    <a:pt x="150" y="96"/>
                  </a:lnTo>
                  <a:lnTo>
                    <a:pt x="151" y="97"/>
                  </a:lnTo>
                  <a:lnTo>
                    <a:pt x="152" y="98"/>
                  </a:lnTo>
                  <a:lnTo>
                    <a:pt x="154" y="99"/>
                  </a:lnTo>
                  <a:lnTo>
                    <a:pt x="159" y="99"/>
                  </a:lnTo>
                  <a:lnTo>
                    <a:pt x="163" y="99"/>
                  </a:lnTo>
                  <a:lnTo>
                    <a:pt x="163" y="101"/>
                  </a:lnTo>
                  <a:lnTo>
                    <a:pt x="164" y="102"/>
                  </a:lnTo>
                  <a:lnTo>
                    <a:pt x="165" y="103"/>
                  </a:lnTo>
                  <a:lnTo>
                    <a:pt x="168" y="104"/>
                  </a:lnTo>
                  <a:lnTo>
                    <a:pt x="172" y="104"/>
                  </a:lnTo>
                  <a:lnTo>
                    <a:pt x="177" y="104"/>
                  </a:lnTo>
                  <a:lnTo>
                    <a:pt x="179" y="108"/>
                  </a:lnTo>
                  <a:lnTo>
                    <a:pt x="181" y="113"/>
                  </a:lnTo>
                  <a:lnTo>
                    <a:pt x="189" y="118"/>
                  </a:lnTo>
                  <a:lnTo>
                    <a:pt x="203" y="130"/>
                  </a:lnTo>
                  <a:lnTo>
                    <a:pt x="216" y="142"/>
                  </a:lnTo>
                  <a:lnTo>
                    <a:pt x="221" y="150"/>
                  </a:lnTo>
                  <a:lnTo>
                    <a:pt x="230" y="154"/>
                  </a:lnTo>
                  <a:lnTo>
                    <a:pt x="235" y="159"/>
                  </a:lnTo>
                  <a:lnTo>
                    <a:pt x="235" y="168"/>
                  </a:lnTo>
                  <a:lnTo>
                    <a:pt x="235" y="179"/>
                  </a:lnTo>
                  <a:lnTo>
                    <a:pt x="235" y="190"/>
                  </a:lnTo>
                  <a:lnTo>
                    <a:pt x="235" y="199"/>
                  </a:lnTo>
                  <a:lnTo>
                    <a:pt x="230" y="203"/>
                  </a:lnTo>
                  <a:lnTo>
                    <a:pt x="226" y="208"/>
                  </a:lnTo>
                  <a:lnTo>
                    <a:pt x="217" y="208"/>
                  </a:lnTo>
                  <a:lnTo>
                    <a:pt x="215" y="212"/>
                  </a:lnTo>
                  <a:lnTo>
                    <a:pt x="212" y="217"/>
                  </a:lnTo>
                  <a:lnTo>
                    <a:pt x="203" y="217"/>
                  </a:lnTo>
                  <a:lnTo>
                    <a:pt x="199" y="226"/>
                  </a:lnTo>
                  <a:lnTo>
                    <a:pt x="195" y="231"/>
                  </a:lnTo>
                  <a:lnTo>
                    <a:pt x="186" y="231"/>
                  </a:lnTo>
                  <a:lnTo>
                    <a:pt x="181" y="236"/>
                  </a:lnTo>
                  <a:lnTo>
                    <a:pt x="177" y="240"/>
                  </a:lnTo>
                  <a:lnTo>
                    <a:pt x="177" y="249"/>
                  </a:lnTo>
                  <a:lnTo>
                    <a:pt x="172" y="251"/>
                  </a:lnTo>
                  <a:lnTo>
                    <a:pt x="168" y="253"/>
                  </a:lnTo>
                  <a:lnTo>
                    <a:pt x="168" y="262"/>
                  </a:lnTo>
                  <a:lnTo>
                    <a:pt x="165" y="264"/>
                  </a:lnTo>
                  <a:lnTo>
                    <a:pt x="164" y="265"/>
                  </a:lnTo>
                  <a:lnTo>
                    <a:pt x="164" y="267"/>
                  </a:lnTo>
                  <a:lnTo>
                    <a:pt x="163" y="270"/>
                  </a:lnTo>
                  <a:lnTo>
                    <a:pt x="163" y="276"/>
                  </a:lnTo>
                  <a:lnTo>
                    <a:pt x="163" y="280"/>
                  </a:lnTo>
                  <a:lnTo>
                    <a:pt x="168" y="285"/>
                  </a:lnTo>
                  <a:lnTo>
                    <a:pt x="173" y="289"/>
                  </a:lnTo>
                  <a:lnTo>
                    <a:pt x="179" y="295"/>
                  </a:lnTo>
                  <a:lnTo>
                    <a:pt x="181" y="298"/>
                  </a:lnTo>
                  <a:lnTo>
                    <a:pt x="187" y="299"/>
                  </a:lnTo>
                  <a:lnTo>
                    <a:pt x="191" y="301"/>
                  </a:lnTo>
                  <a:lnTo>
                    <a:pt x="193" y="306"/>
                  </a:lnTo>
                  <a:lnTo>
                    <a:pt x="195" y="313"/>
                  </a:lnTo>
                  <a:lnTo>
                    <a:pt x="199" y="316"/>
                  </a:lnTo>
                  <a:lnTo>
                    <a:pt x="206" y="324"/>
                  </a:lnTo>
                  <a:lnTo>
                    <a:pt x="210" y="333"/>
                  </a:lnTo>
                  <a:lnTo>
                    <a:pt x="212" y="339"/>
                  </a:lnTo>
                  <a:lnTo>
                    <a:pt x="216" y="341"/>
                  </a:lnTo>
                  <a:lnTo>
                    <a:pt x="219" y="342"/>
                  </a:lnTo>
                  <a:lnTo>
                    <a:pt x="221" y="345"/>
                  </a:lnTo>
                  <a:lnTo>
                    <a:pt x="221" y="348"/>
                  </a:lnTo>
                  <a:lnTo>
                    <a:pt x="226" y="353"/>
                  </a:lnTo>
                  <a:lnTo>
                    <a:pt x="230" y="357"/>
                  </a:lnTo>
                  <a:lnTo>
                    <a:pt x="239" y="357"/>
                  </a:lnTo>
                  <a:lnTo>
                    <a:pt x="240" y="358"/>
                  </a:lnTo>
                  <a:lnTo>
                    <a:pt x="243" y="360"/>
                  </a:lnTo>
                  <a:lnTo>
                    <a:pt x="246" y="361"/>
                  </a:lnTo>
                  <a:lnTo>
                    <a:pt x="249" y="362"/>
                  </a:lnTo>
                  <a:lnTo>
                    <a:pt x="257" y="362"/>
                  </a:lnTo>
                  <a:lnTo>
                    <a:pt x="263" y="362"/>
                  </a:lnTo>
                  <a:lnTo>
                    <a:pt x="267" y="357"/>
                  </a:lnTo>
                  <a:lnTo>
                    <a:pt x="272" y="353"/>
                  </a:lnTo>
                  <a:lnTo>
                    <a:pt x="282" y="352"/>
                  </a:lnTo>
                  <a:lnTo>
                    <a:pt x="292" y="351"/>
                  </a:lnTo>
                  <a:lnTo>
                    <a:pt x="302" y="349"/>
                  </a:lnTo>
                  <a:lnTo>
                    <a:pt x="312" y="348"/>
                  </a:lnTo>
                  <a:lnTo>
                    <a:pt x="313" y="351"/>
                  </a:lnTo>
                  <a:lnTo>
                    <a:pt x="315" y="353"/>
                  </a:lnTo>
                  <a:lnTo>
                    <a:pt x="317" y="353"/>
                  </a:lnTo>
                  <a:lnTo>
                    <a:pt x="321" y="353"/>
                  </a:lnTo>
                  <a:lnTo>
                    <a:pt x="331" y="362"/>
                  </a:lnTo>
                  <a:lnTo>
                    <a:pt x="337" y="362"/>
                  </a:lnTo>
                  <a:lnTo>
                    <a:pt x="344" y="362"/>
                  </a:lnTo>
                  <a:lnTo>
                    <a:pt x="344" y="363"/>
                  </a:lnTo>
                  <a:lnTo>
                    <a:pt x="346" y="364"/>
                  </a:lnTo>
                  <a:lnTo>
                    <a:pt x="350" y="365"/>
                  </a:lnTo>
                  <a:lnTo>
                    <a:pt x="353" y="366"/>
                  </a:lnTo>
                  <a:lnTo>
                    <a:pt x="361" y="366"/>
                  </a:lnTo>
                  <a:lnTo>
                    <a:pt x="366" y="366"/>
                  </a:lnTo>
                  <a:lnTo>
                    <a:pt x="369" y="360"/>
                  </a:lnTo>
                  <a:lnTo>
                    <a:pt x="371" y="353"/>
                  </a:lnTo>
                  <a:lnTo>
                    <a:pt x="380" y="348"/>
                  </a:lnTo>
                  <a:lnTo>
                    <a:pt x="384" y="344"/>
                  </a:lnTo>
                  <a:lnTo>
                    <a:pt x="384" y="335"/>
                  </a:lnTo>
                  <a:lnTo>
                    <a:pt x="393" y="325"/>
                  </a:lnTo>
                  <a:lnTo>
                    <a:pt x="402" y="313"/>
                  </a:lnTo>
                  <a:lnTo>
                    <a:pt x="406" y="312"/>
                  </a:lnTo>
                  <a:lnTo>
                    <a:pt x="409" y="309"/>
                  </a:lnTo>
                  <a:lnTo>
                    <a:pt x="411" y="306"/>
                  </a:lnTo>
                  <a:lnTo>
                    <a:pt x="411" y="303"/>
                  </a:lnTo>
                  <a:lnTo>
                    <a:pt x="421" y="303"/>
                  </a:lnTo>
                  <a:lnTo>
                    <a:pt x="426" y="298"/>
                  </a:lnTo>
                  <a:lnTo>
                    <a:pt x="430" y="294"/>
                  </a:lnTo>
                  <a:lnTo>
                    <a:pt x="446" y="289"/>
                  </a:lnTo>
                  <a:lnTo>
                    <a:pt x="461" y="285"/>
                  </a:lnTo>
                  <a:lnTo>
                    <a:pt x="462" y="284"/>
                  </a:lnTo>
                  <a:lnTo>
                    <a:pt x="465" y="280"/>
                  </a:lnTo>
                  <a:lnTo>
                    <a:pt x="467" y="277"/>
                  </a:lnTo>
                  <a:lnTo>
                    <a:pt x="470" y="276"/>
                  </a:lnTo>
                  <a:lnTo>
                    <a:pt x="471" y="270"/>
                  </a:lnTo>
                  <a:lnTo>
                    <a:pt x="474" y="262"/>
                  </a:lnTo>
                  <a:lnTo>
                    <a:pt x="475" y="259"/>
                  </a:lnTo>
                  <a:lnTo>
                    <a:pt x="476" y="256"/>
                  </a:lnTo>
                  <a:lnTo>
                    <a:pt x="478" y="255"/>
                  </a:lnTo>
                  <a:lnTo>
                    <a:pt x="479" y="253"/>
                  </a:lnTo>
                  <a:lnTo>
                    <a:pt x="479" y="240"/>
                  </a:lnTo>
                  <a:lnTo>
                    <a:pt x="479" y="227"/>
                  </a:lnTo>
                  <a:lnTo>
                    <a:pt x="476" y="221"/>
                  </a:lnTo>
                  <a:lnTo>
                    <a:pt x="471" y="213"/>
                  </a:lnTo>
                  <a:lnTo>
                    <a:pt x="467" y="204"/>
                  </a:lnTo>
                  <a:lnTo>
                    <a:pt x="462" y="193"/>
                  </a:lnTo>
                  <a:lnTo>
                    <a:pt x="458" y="182"/>
                  </a:lnTo>
                  <a:lnTo>
                    <a:pt x="456" y="172"/>
                  </a:lnTo>
                  <a:lnTo>
                    <a:pt x="454" y="162"/>
                  </a:lnTo>
                  <a:lnTo>
                    <a:pt x="452" y="154"/>
                  </a:lnTo>
                  <a:lnTo>
                    <a:pt x="443" y="145"/>
                  </a:lnTo>
                  <a:lnTo>
                    <a:pt x="443" y="135"/>
                  </a:lnTo>
                  <a:lnTo>
                    <a:pt x="437" y="135"/>
                  </a:lnTo>
                  <a:lnTo>
                    <a:pt x="430" y="135"/>
                  </a:lnTo>
                  <a:lnTo>
                    <a:pt x="420" y="134"/>
                  </a:lnTo>
                  <a:lnTo>
                    <a:pt x="397" y="128"/>
                  </a:lnTo>
                  <a:lnTo>
                    <a:pt x="372" y="124"/>
                  </a:lnTo>
                  <a:lnTo>
                    <a:pt x="358" y="122"/>
                  </a:lnTo>
                  <a:lnTo>
                    <a:pt x="356" y="121"/>
                  </a:lnTo>
                  <a:lnTo>
                    <a:pt x="353" y="117"/>
                  </a:lnTo>
                  <a:lnTo>
                    <a:pt x="347" y="115"/>
                  </a:lnTo>
                  <a:lnTo>
                    <a:pt x="341" y="112"/>
                  </a:lnTo>
                  <a:lnTo>
                    <a:pt x="324" y="105"/>
                  </a:lnTo>
                  <a:lnTo>
                    <a:pt x="305" y="97"/>
                  </a:lnTo>
                  <a:lnTo>
                    <a:pt x="286" y="88"/>
                  </a:lnTo>
                  <a:lnTo>
                    <a:pt x="269" y="81"/>
                  </a:lnTo>
                  <a:lnTo>
                    <a:pt x="263" y="77"/>
                  </a:lnTo>
                  <a:lnTo>
                    <a:pt x="258" y="74"/>
                  </a:lnTo>
                  <a:lnTo>
                    <a:pt x="255" y="70"/>
                  </a:lnTo>
                  <a:lnTo>
                    <a:pt x="254" y="68"/>
                  </a:lnTo>
                  <a:lnTo>
                    <a:pt x="239" y="66"/>
                  </a:lnTo>
                  <a:lnTo>
                    <a:pt x="226" y="64"/>
                  </a:lnTo>
                  <a:lnTo>
                    <a:pt x="221" y="55"/>
                  </a:lnTo>
                  <a:lnTo>
                    <a:pt x="212" y="53"/>
                  </a:lnTo>
                  <a:lnTo>
                    <a:pt x="203" y="49"/>
                  </a:lnTo>
                  <a:lnTo>
                    <a:pt x="201" y="45"/>
                  </a:lnTo>
                  <a:lnTo>
                    <a:pt x="199" y="40"/>
                  </a:lnTo>
                  <a:lnTo>
                    <a:pt x="196" y="40"/>
                  </a:lnTo>
                  <a:lnTo>
                    <a:pt x="192" y="38"/>
                  </a:lnTo>
                  <a:lnTo>
                    <a:pt x="191" y="35"/>
                  </a:lnTo>
                  <a:lnTo>
                    <a:pt x="190" y="31"/>
                  </a:lnTo>
                  <a:lnTo>
                    <a:pt x="186" y="30"/>
                  </a:lnTo>
                  <a:lnTo>
                    <a:pt x="179" y="27"/>
                  </a:lnTo>
                  <a:lnTo>
                    <a:pt x="174" y="22"/>
                  </a:lnTo>
                  <a:lnTo>
                    <a:pt x="172" y="18"/>
                  </a:lnTo>
                  <a:lnTo>
                    <a:pt x="167" y="18"/>
                  </a:lnTo>
                  <a:lnTo>
                    <a:pt x="163" y="18"/>
                  </a:lnTo>
                  <a:lnTo>
                    <a:pt x="162" y="17"/>
                  </a:lnTo>
                  <a:lnTo>
                    <a:pt x="162" y="16"/>
                  </a:lnTo>
                  <a:lnTo>
                    <a:pt x="162" y="15"/>
                  </a:lnTo>
                  <a:lnTo>
                    <a:pt x="162" y="15"/>
                  </a:lnTo>
                  <a:lnTo>
                    <a:pt x="161" y="14"/>
                  </a:lnTo>
                  <a:lnTo>
                    <a:pt x="159" y="14"/>
                  </a:lnTo>
                  <a:lnTo>
                    <a:pt x="155" y="9"/>
                  </a:lnTo>
                  <a:lnTo>
                    <a:pt x="153" y="5"/>
                  </a:lnTo>
                  <a:lnTo>
                    <a:pt x="132" y="3"/>
                  </a:lnTo>
                  <a:lnTo>
                    <a:pt x="109" y="2"/>
                  </a:lnTo>
                  <a:lnTo>
                    <a:pt x="83" y="1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3" name="Freeform 70"/>
            <p:cNvSpPr>
              <a:spLocks noChangeAspect="1"/>
            </p:cNvSpPr>
            <p:nvPr/>
          </p:nvSpPr>
          <p:spPr bwMode="gray">
            <a:xfrm rot="355651">
              <a:off x="7666903" y="4279900"/>
              <a:ext cx="65593" cy="45779"/>
            </a:xfrm>
            <a:custGeom>
              <a:avLst/>
              <a:gdLst/>
              <a:ahLst/>
              <a:cxnLst>
                <a:cxn ang="0">
                  <a:pos x="109" y="59"/>
                </a:cxn>
                <a:cxn ang="0">
                  <a:pos x="90" y="77"/>
                </a:cxn>
                <a:cxn ang="0">
                  <a:pos x="81" y="84"/>
                </a:cxn>
                <a:cxn ang="0">
                  <a:pos x="59" y="90"/>
                </a:cxn>
                <a:cxn ang="0">
                  <a:pos x="32" y="99"/>
                </a:cxn>
                <a:cxn ang="0">
                  <a:pos x="13" y="113"/>
                </a:cxn>
                <a:cxn ang="0">
                  <a:pos x="6" y="117"/>
                </a:cxn>
                <a:cxn ang="0">
                  <a:pos x="72" y="117"/>
                </a:cxn>
                <a:cxn ang="0">
                  <a:pos x="87" y="130"/>
                </a:cxn>
                <a:cxn ang="0">
                  <a:pos x="118" y="154"/>
                </a:cxn>
                <a:cxn ang="0">
                  <a:pos x="125" y="176"/>
                </a:cxn>
                <a:cxn ang="0">
                  <a:pos x="131" y="185"/>
                </a:cxn>
                <a:cxn ang="0">
                  <a:pos x="139" y="220"/>
                </a:cxn>
                <a:cxn ang="0">
                  <a:pos x="145" y="249"/>
                </a:cxn>
                <a:cxn ang="0">
                  <a:pos x="151" y="268"/>
                </a:cxn>
                <a:cxn ang="0">
                  <a:pos x="154" y="276"/>
                </a:cxn>
                <a:cxn ang="0">
                  <a:pos x="164" y="277"/>
                </a:cxn>
                <a:cxn ang="0">
                  <a:pos x="167" y="280"/>
                </a:cxn>
                <a:cxn ang="0">
                  <a:pos x="194" y="283"/>
                </a:cxn>
                <a:cxn ang="0">
                  <a:pos x="253" y="284"/>
                </a:cxn>
                <a:cxn ang="0">
                  <a:pos x="314" y="282"/>
                </a:cxn>
                <a:cxn ang="0">
                  <a:pos x="358" y="278"/>
                </a:cxn>
                <a:cxn ang="0">
                  <a:pos x="367" y="276"/>
                </a:cxn>
                <a:cxn ang="0">
                  <a:pos x="371" y="244"/>
                </a:cxn>
                <a:cxn ang="0">
                  <a:pos x="352" y="231"/>
                </a:cxn>
                <a:cxn ang="0">
                  <a:pos x="333" y="211"/>
                </a:cxn>
                <a:cxn ang="0">
                  <a:pos x="321" y="203"/>
                </a:cxn>
                <a:cxn ang="0">
                  <a:pos x="309" y="186"/>
                </a:cxn>
                <a:cxn ang="0">
                  <a:pos x="299" y="167"/>
                </a:cxn>
                <a:cxn ang="0">
                  <a:pos x="285" y="158"/>
                </a:cxn>
                <a:cxn ang="0">
                  <a:pos x="275" y="132"/>
                </a:cxn>
                <a:cxn ang="0">
                  <a:pos x="264" y="88"/>
                </a:cxn>
                <a:cxn ang="0">
                  <a:pos x="259" y="59"/>
                </a:cxn>
                <a:cxn ang="0">
                  <a:pos x="248" y="46"/>
                </a:cxn>
                <a:cxn ang="0">
                  <a:pos x="247" y="31"/>
                </a:cxn>
                <a:cxn ang="0">
                  <a:pos x="245" y="24"/>
                </a:cxn>
                <a:cxn ang="0">
                  <a:pos x="237" y="7"/>
                </a:cxn>
                <a:cxn ang="0">
                  <a:pos x="214" y="3"/>
                </a:cxn>
                <a:cxn ang="0">
                  <a:pos x="192" y="12"/>
                </a:cxn>
                <a:cxn ang="0">
                  <a:pos x="167" y="18"/>
                </a:cxn>
                <a:cxn ang="0">
                  <a:pos x="156" y="27"/>
                </a:cxn>
                <a:cxn ang="0">
                  <a:pos x="145" y="30"/>
                </a:cxn>
                <a:cxn ang="0">
                  <a:pos x="128" y="33"/>
                </a:cxn>
                <a:cxn ang="0">
                  <a:pos x="118" y="40"/>
                </a:cxn>
              </a:cxnLst>
              <a:rect l="0" t="0" r="r" b="b"/>
              <a:pathLst>
                <a:path w="371" h="284">
                  <a:moveTo>
                    <a:pt x="118" y="40"/>
                  </a:moveTo>
                  <a:lnTo>
                    <a:pt x="115" y="47"/>
                  </a:lnTo>
                  <a:lnTo>
                    <a:pt x="109" y="59"/>
                  </a:lnTo>
                  <a:lnTo>
                    <a:pt x="102" y="71"/>
                  </a:lnTo>
                  <a:lnTo>
                    <a:pt x="99" y="77"/>
                  </a:lnTo>
                  <a:lnTo>
                    <a:pt x="90" y="77"/>
                  </a:lnTo>
                  <a:lnTo>
                    <a:pt x="89" y="79"/>
                  </a:lnTo>
                  <a:lnTo>
                    <a:pt x="85" y="81"/>
                  </a:lnTo>
                  <a:lnTo>
                    <a:pt x="81" y="84"/>
                  </a:lnTo>
                  <a:lnTo>
                    <a:pt x="77" y="85"/>
                  </a:lnTo>
                  <a:lnTo>
                    <a:pt x="65" y="89"/>
                  </a:lnTo>
                  <a:lnTo>
                    <a:pt x="59" y="90"/>
                  </a:lnTo>
                  <a:lnTo>
                    <a:pt x="52" y="95"/>
                  </a:lnTo>
                  <a:lnTo>
                    <a:pt x="45" y="99"/>
                  </a:lnTo>
                  <a:lnTo>
                    <a:pt x="32" y="99"/>
                  </a:lnTo>
                  <a:lnTo>
                    <a:pt x="23" y="104"/>
                  </a:lnTo>
                  <a:lnTo>
                    <a:pt x="20" y="108"/>
                  </a:lnTo>
                  <a:lnTo>
                    <a:pt x="13" y="113"/>
                  </a:lnTo>
                  <a:lnTo>
                    <a:pt x="5" y="116"/>
                  </a:lnTo>
                  <a:lnTo>
                    <a:pt x="0" y="117"/>
                  </a:lnTo>
                  <a:lnTo>
                    <a:pt x="6" y="117"/>
                  </a:lnTo>
                  <a:lnTo>
                    <a:pt x="27" y="117"/>
                  </a:lnTo>
                  <a:lnTo>
                    <a:pt x="53" y="117"/>
                  </a:lnTo>
                  <a:lnTo>
                    <a:pt x="72" y="117"/>
                  </a:lnTo>
                  <a:lnTo>
                    <a:pt x="77" y="122"/>
                  </a:lnTo>
                  <a:lnTo>
                    <a:pt x="81" y="126"/>
                  </a:lnTo>
                  <a:lnTo>
                    <a:pt x="87" y="130"/>
                  </a:lnTo>
                  <a:lnTo>
                    <a:pt x="98" y="140"/>
                  </a:lnTo>
                  <a:lnTo>
                    <a:pt x="110" y="149"/>
                  </a:lnTo>
                  <a:lnTo>
                    <a:pt x="118" y="154"/>
                  </a:lnTo>
                  <a:lnTo>
                    <a:pt x="119" y="161"/>
                  </a:lnTo>
                  <a:lnTo>
                    <a:pt x="122" y="171"/>
                  </a:lnTo>
                  <a:lnTo>
                    <a:pt x="125" y="176"/>
                  </a:lnTo>
                  <a:lnTo>
                    <a:pt x="127" y="181"/>
                  </a:lnTo>
                  <a:lnTo>
                    <a:pt x="129" y="184"/>
                  </a:lnTo>
                  <a:lnTo>
                    <a:pt x="131" y="185"/>
                  </a:lnTo>
                  <a:lnTo>
                    <a:pt x="132" y="196"/>
                  </a:lnTo>
                  <a:lnTo>
                    <a:pt x="136" y="207"/>
                  </a:lnTo>
                  <a:lnTo>
                    <a:pt x="139" y="220"/>
                  </a:lnTo>
                  <a:lnTo>
                    <a:pt x="140" y="231"/>
                  </a:lnTo>
                  <a:lnTo>
                    <a:pt x="141" y="240"/>
                  </a:lnTo>
                  <a:lnTo>
                    <a:pt x="145" y="249"/>
                  </a:lnTo>
                  <a:lnTo>
                    <a:pt x="148" y="258"/>
                  </a:lnTo>
                  <a:lnTo>
                    <a:pt x="149" y="267"/>
                  </a:lnTo>
                  <a:lnTo>
                    <a:pt x="151" y="268"/>
                  </a:lnTo>
                  <a:lnTo>
                    <a:pt x="154" y="270"/>
                  </a:lnTo>
                  <a:lnTo>
                    <a:pt x="154" y="272"/>
                  </a:lnTo>
                  <a:lnTo>
                    <a:pt x="154" y="276"/>
                  </a:lnTo>
                  <a:lnTo>
                    <a:pt x="158" y="276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6" y="278"/>
                  </a:lnTo>
                  <a:lnTo>
                    <a:pt x="167" y="279"/>
                  </a:lnTo>
                  <a:lnTo>
                    <a:pt x="167" y="280"/>
                  </a:lnTo>
                  <a:lnTo>
                    <a:pt x="180" y="280"/>
                  </a:lnTo>
                  <a:lnTo>
                    <a:pt x="185" y="282"/>
                  </a:lnTo>
                  <a:lnTo>
                    <a:pt x="194" y="283"/>
                  </a:lnTo>
                  <a:lnTo>
                    <a:pt x="207" y="283"/>
                  </a:lnTo>
                  <a:lnTo>
                    <a:pt x="223" y="284"/>
                  </a:lnTo>
                  <a:lnTo>
                    <a:pt x="253" y="284"/>
                  </a:lnTo>
                  <a:lnTo>
                    <a:pt x="271" y="284"/>
                  </a:lnTo>
                  <a:lnTo>
                    <a:pt x="292" y="284"/>
                  </a:lnTo>
                  <a:lnTo>
                    <a:pt x="314" y="282"/>
                  </a:lnTo>
                  <a:lnTo>
                    <a:pt x="337" y="281"/>
                  </a:lnTo>
                  <a:lnTo>
                    <a:pt x="357" y="280"/>
                  </a:lnTo>
                  <a:lnTo>
                    <a:pt x="358" y="278"/>
                  </a:lnTo>
                  <a:lnTo>
                    <a:pt x="360" y="277"/>
                  </a:lnTo>
                  <a:lnTo>
                    <a:pt x="363" y="276"/>
                  </a:lnTo>
                  <a:lnTo>
                    <a:pt x="367" y="276"/>
                  </a:lnTo>
                  <a:lnTo>
                    <a:pt x="371" y="271"/>
                  </a:lnTo>
                  <a:lnTo>
                    <a:pt x="371" y="258"/>
                  </a:lnTo>
                  <a:lnTo>
                    <a:pt x="371" y="244"/>
                  </a:lnTo>
                  <a:lnTo>
                    <a:pt x="367" y="235"/>
                  </a:lnTo>
                  <a:lnTo>
                    <a:pt x="359" y="233"/>
                  </a:lnTo>
                  <a:lnTo>
                    <a:pt x="352" y="231"/>
                  </a:lnTo>
                  <a:lnTo>
                    <a:pt x="347" y="224"/>
                  </a:lnTo>
                  <a:lnTo>
                    <a:pt x="339" y="215"/>
                  </a:lnTo>
                  <a:lnTo>
                    <a:pt x="333" y="211"/>
                  </a:lnTo>
                  <a:lnTo>
                    <a:pt x="329" y="207"/>
                  </a:lnTo>
                  <a:lnTo>
                    <a:pt x="324" y="204"/>
                  </a:lnTo>
                  <a:lnTo>
                    <a:pt x="321" y="203"/>
                  </a:lnTo>
                  <a:lnTo>
                    <a:pt x="317" y="199"/>
                  </a:lnTo>
                  <a:lnTo>
                    <a:pt x="314" y="193"/>
                  </a:lnTo>
                  <a:lnTo>
                    <a:pt x="309" y="186"/>
                  </a:lnTo>
                  <a:lnTo>
                    <a:pt x="303" y="180"/>
                  </a:lnTo>
                  <a:lnTo>
                    <a:pt x="299" y="176"/>
                  </a:lnTo>
                  <a:lnTo>
                    <a:pt x="299" y="167"/>
                  </a:lnTo>
                  <a:lnTo>
                    <a:pt x="294" y="163"/>
                  </a:lnTo>
                  <a:lnTo>
                    <a:pt x="290" y="161"/>
                  </a:lnTo>
                  <a:lnTo>
                    <a:pt x="285" y="158"/>
                  </a:lnTo>
                  <a:lnTo>
                    <a:pt x="283" y="151"/>
                  </a:lnTo>
                  <a:lnTo>
                    <a:pt x="280" y="140"/>
                  </a:lnTo>
                  <a:lnTo>
                    <a:pt x="275" y="132"/>
                  </a:lnTo>
                  <a:lnTo>
                    <a:pt x="271" y="126"/>
                  </a:lnTo>
                  <a:lnTo>
                    <a:pt x="270" y="108"/>
                  </a:lnTo>
                  <a:lnTo>
                    <a:pt x="264" y="88"/>
                  </a:lnTo>
                  <a:lnTo>
                    <a:pt x="262" y="78"/>
                  </a:lnTo>
                  <a:lnTo>
                    <a:pt x="260" y="68"/>
                  </a:lnTo>
                  <a:lnTo>
                    <a:pt x="259" y="59"/>
                  </a:lnTo>
                  <a:lnTo>
                    <a:pt x="257" y="50"/>
                  </a:lnTo>
                  <a:lnTo>
                    <a:pt x="253" y="48"/>
                  </a:lnTo>
                  <a:lnTo>
                    <a:pt x="248" y="46"/>
                  </a:lnTo>
                  <a:lnTo>
                    <a:pt x="248" y="38"/>
                  </a:lnTo>
                  <a:lnTo>
                    <a:pt x="248" y="31"/>
                  </a:lnTo>
                  <a:lnTo>
                    <a:pt x="247" y="31"/>
                  </a:lnTo>
                  <a:lnTo>
                    <a:pt x="246" y="29"/>
                  </a:lnTo>
                  <a:lnTo>
                    <a:pt x="245" y="27"/>
                  </a:lnTo>
                  <a:lnTo>
                    <a:pt x="245" y="24"/>
                  </a:lnTo>
                  <a:lnTo>
                    <a:pt x="244" y="18"/>
                  </a:lnTo>
                  <a:lnTo>
                    <a:pt x="244" y="13"/>
                  </a:lnTo>
                  <a:lnTo>
                    <a:pt x="237" y="7"/>
                  </a:lnTo>
                  <a:lnTo>
                    <a:pt x="231" y="0"/>
                  </a:lnTo>
                  <a:lnTo>
                    <a:pt x="222" y="1"/>
                  </a:lnTo>
                  <a:lnTo>
                    <a:pt x="214" y="3"/>
                  </a:lnTo>
                  <a:lnTo>
                    <a:pt x="206" y="5"/>
                  </a:lnTo>
                  <a:lnTo>
                    <a:pt x="199" y="9"/>
                  </a:lnTo>
                  <a:lnTo>
                    <a:pt x="192" y="12"/>
                  </a:lnTo>
                  <a:lnTo>
                    <a:pt x="184" y="15"/>
                  </a:lnTo>
                  <a:lnTo>
                    <a:pt x="176" y="18"/>
                  </a:lnTo>
                  <a:lnTo>
                    <a:pt x="167" y="18"/>
                  </a:lnTo>
                  <a:lnTo>
                    <a:pt x="165" y="22"/>
                  </a:lnTo>
                  <a:lnTo>
                    <a:pt x="163" y="27"/>
                  </a:lnTo>
                  <a:lnTo>
                    <a:pt x="156" y="27"/>
                  </a:lnTo>
                  <a:lnTo>
                    <a:pt x="149" y="27"/>
                  </a:lnTo>
                  <a:lnTo>
                    <a:pt x="148" y="29"/>
                  </a:lnTo>
                  <a:lnTo>
                    <a:pt x="145" y="30"/>
                  </a:lnTo>
                  <a:lnTo>
                    <a:pt x="139" y="31"/>
                  </a:lnTo>
                  <a:lnTo>
                    <a:pt x="133" y="32"/>
                  </a:lnTo>
                  <a:lnTo>
                    <a:pt x="128" y="33"/>
                  </a:lnTo>
                  <a:lnTo>
                    <a:pt x="122" y="36"/>
                  </a:lnTo>
                  <a:lnTo>
                    <a:pt x="119" y="38"/>
                  </a:lnTo>
                  <a:lnTo>
                    <a:pt x="118" y="4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4" name="Freeform 71"/>
            <p:cNvSpPr>
              <a:spLocks noChangeAspect="1"/>
            </p:cNvSpPr>
            <p:nvPr/>
          </p:nvSpPr>
          <p:spPr bwMode="gray">
            <a:xfrm rot="355651">
              <a:off x="7647859" y="4232275"/>
              <a:ext cx="51839" cy="33003"/>
            </a:xfrm>
            <a:custGeom>
              <a:avLst/>
              <a:gdLst/>
              <a:ahLst/>
              <a:cxnLst>
                <a:cxn ang="0">
                  <a:pos x="9" y="29"/>
                </a:cxn>
                <a:cxn ang="0">
                  <a:pos x="0" y="33"/>
                </a:cxn>
                <a:cxn ang="0">
                  <a:pos x="9" y="40"/>
                </a:cxn>
                <a:cxn ang="0">
                  <a:pos x="13" y="48"/>
                </a:cxn>
                <a:cxn ang="0">
                  <a:pos x="33" y="57"/>
                </a:cxn>
                <a:cxn ang="0">
                  <a:pos x="48" y="63"/>
                </a:cxn>
                <a:cxn ang="0">
                  <a:pos x="59" y="79"/>
                </a:cxn>
                <a:cxn ang="0">
                  <a:pos x="72" y="88"/>
                </a:cxn>
                <a:cxn ang="0">
                  <a:pos x="97" y="110"/>
                </a:cxn>
                <a:cxn ang="0">
                  <a:pos x="104" y="121"/>
                </a:cxn>
                <a:cxn ang="0">
                  <a:pos x="116" y="133"/>
                </a:cxn>
                <a:cxn ang="0">
                  <a:pos x="124" y="137"/>
                </a:cxn>
                <a:cxn ang="0">
                  <a:pos x="129" y="144"/>
                </a:cxn>
                <a:cxn ang="0">
                  <a:pos x="144" y="152"/>
                </a:cxn>
                <a:cxn ang="0">
                  <a:pos x="154" y="165"/>
                </a:cxn>
                <a:cxn ang="0">
                  <a:pos x="172" y="174"/>
                </a:cxn>
                <a:cxn ang="0">
                  <a:pos x="184" y="185"/>
                </a:cxn>
                <a:cxn ang="0">
                  <a:pos x="203" y="187"/>
                </a:cxn>
                <a:cxn ang="0">
                  <a:pos x="203" y="178"/>
                </a:cxn>
                <a:cxn ang="0">
                  <a:pos x="212" y="156"/>
                </a:cxn>
                <a:cxn ang="0">
                  <a:pos x="222" y="138"/>
                </a:cxn>
                <a:cxn ang="0">
                  <a:pos x="244" y="124"/>
                </a:cxn>
                <a:cxn ang="0">
                  <a:pos x="252" y="116"/>
                </a:cxn>
                <a:cxn ang="0">
                  <a:pos x="262" y="110"/>
                </a:cxn>
                <a:cxn ang="0">
                  <a:pos x="267" y="101"/>
                </a:cxn>
                <a:cxn ang="0">
                  <a:pos x="274" y="89"/>
                </a:cxn>
                <a:cxn ang="0">
                  <a:pos x="280" y="75"/>
                </a:cxn>
                <a:cxn ang="0">
                  <a:pos x="262" y="61"/>
                </a:cxn>
                <a:cxn ang="0">
                  <a:pos x="253" y="52"/>
                </a:cxn>
                <a:cxn ang="0">
                  <a:pos x="244" y="47"/>
                </a:cxn>
                <a:cxn ang="0">
                  <a:pos x="236" y="40"/>
                </a:cxn>
                <a:cxn ang="0">
                  <a:pos x="231" y="33"/>
                </a:cxn>
                <a:cxn ang="0">
                  <a:pos x="222" y="29"/>
                </a:cxn>
                <a:cxn ang="0">
                  <a:pos x="212" y="29"/>
                </a:cxn>
                <a:cxn ang="0">
                  <a:pos x="198" y="20"/>
                </a:cxn>
                <a:cxn ang="0">
                  <a:pos x="176" y="20"/>
                </a:cxn>
                <a:cxn ang="0">
                  <a:pos x="156" y="20"/>
                </a:cxn>
                <a:cxn ang="0">
                  <a:pos x="136" y="20"/>
                </a:cxn>
                <a:cxn ang="0">
                  <a:pos x="126" y="20"/>
                </a:cxn>
                <a:cxn ang="0">
                  <a:pos x="104" y="20"/>
                </a:cxn>
                <a:cxn ang="0">
                  <a:pos x="86" y="24"/>
                </a:cxn>
                <a:cxn ang="0">
                  <a:pos x="79" y="18"/>
                </a:cxn>
                <a:cxn ang="0">
                  <a:pos x="68" y="11"/>
                </a:cxn>
                <a:cxn ang="0">
                  <a:pos x="54" y="7"/>
                </a:cxn>
                <a:cxn ang="0">
                  <a:pos x="42" y="0"/>
                </a:cxn>
                <a:cxn ang="0">
                  <a:pos x="33" y="1"/>
                </a:cxn>
              </a:cxnLst>
              <a:rect l="0" t="0" r="r" b="b"/>
              <a:pathLst>
                <a:path w="280" h="187">
                  <a:moveTo>
                    <a:pt x="31" y="2"/>
                  </a:moveTo>
                  <a:lnTo>
                    <a:pt x="20" y="14"/>
                  </a:lnTo>
                  <a:lnTo>
                    <a:pt x="9" y="29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0" y="33"/>
                  </a:lnTo>
                  <a:lnTo>
                    <a:pt x="2" y="37"/>
                  </a:lnTo>
                  <a:lnTo>
                    <a:pt x="6" y="39"/>
                  </a:lnTo>
                  <a:lnTo>
                    <a:pt x="9" y="40"/>
                  </a:lnTo>
                  <a:lnTo>
                    <a:pt x="11" y="42"/>
                  </a:lnTo>
                  <a:lnTo>
                    <a:pt x="13" y="44"/>
                  </a:lnTo>
                  <a:lnTo>
                    <a:pt x="13" y="48"/>
                  </a:lnTo>
                  <a:lnTo>
                    <a:pt x="22" y="50"/>
                  </a:lnTo>
                  <a:lnTo>
                    <a:pt x="27" y="52"/>
                  </a:lnTo>
                  <a:lnTo>
                    <a:pt x="33" y="57"/>
                  </a:lnTo>
                  <a:lnTo>
                    <a:pt x="40" y="61"/>
                  </a:lnTo>
                  <a:lnTo>
                    <a:pt x="42" y="61"/>
                  </a:lnTo>
                  <a:lnTo>
                    <a:pt x="48" y="63"/>
                  </a:lnTo>
                  <a:lnTo>
                    <a:pt x="52" y="67"/>
                  </a:lnTo>
                  <a:lnTo>
                    <a:pt x="54" y="70"/>
                  </a:lnTo>
                  <a:lnTo>
                    <a:pt x="59" y="79"/>
                  </a:lnTo>
                  <a:lnTo>
                    <a:pt x="61" y="79"/>
                  </a:lnTo>
                  <a:lnTo>
                    <a:pt x="63" y="79"/>
                  </a:lnTo>
                  <a:lnTo>
                    <a:pt x="72" y="88"/>
                  </a:lnTo>
                  <a:lnTo>
                    <a:pt x="85" y="99"/>
                  </a:lnTo>
                  <a:lnTo>
                    <a:pt x="95" y="106"/>
                  </a:lnTo>
                  <a:lnTo>
                    <a:pt x="97" y="110"/>
                  </a:lnTo>
                  <a:lnTo>
                    <a:pt x="99" y="115"/>
                  </a:lnTo>
                  <a:lnTo>
                    <a:pt x="99" y="119"/>
                  </a:lnTo>
                  <a:lnTo>
                    <a:pt x="104" y="121"/>
                  </a:lnTo>
                  <a:lnTo>
                    <a:pt x="108" y="124"/>
                  </a:lnTo>
                  <a:lnTo>
                    <a:pt x="111" y="128"/>
                  </a:lnTo>
                  <a:lnTo>
                    <a:pt x="116" y="133"/>
                  </a:lnTo>
                  <a:lnTo>
                    <a:pt x="118" y="135"/>
                  </a:lnTo>
                  <a:lnTo>
                    <a:pt x="120" y="136"/>
                  </a:lnTo>
                  <a:lnTo>
                    <a:pt x="124" y="137"/>
                  </a:lnTo>
                  <a:lnTo>
                    <a:pt x="126" y="138"/>
                  </a:lnTo>
                  <a:lnTo>
                    <a:pt x="127" y="142"/>
                  </a:lnTo>
                  <a:lnTo>
                    <a:pt x="129" y="144"/>
                  </a:lnTo>
                  <a:lnTo>
                    <a:pt x="133" y="146"/>
                  </a:lnTo>
                  <a:lnTo>
                    <a:pt x="136" y="147"/>
                  </a:lnTo>
                  <a:lnTo>
                    <a:pt x="144" y="152"/>
                  </a:lnTo>
                  <a:lnTo>
                    <a:pt x="149" y="156"/>
                  </a:lnTo>
                  <a:lnTo>
                    <a:pt x="152" y="161"/>
                  </a:lnTo>
                  <a:lnTo>
                    <a:pt x="154" y="165"/>
                  </a:lnTo>
                  <a:lnTo>
                    <a:pt x="163" y="169"/>
                  </a:lnTo>
                  <a:lnTo>
                    <a:pt x="167" y="172"/>
                  </a:lnTo>
                  <a:lnTo>
                    <a:pt x="172" y="174"/>
                  </a:lnTo>
                  <a:lnTo>
                    <a:pt x="176" y="176"/>
                  </a:lnTo>
                  <a:lnTo>
                    <a:pt x="181" y="181"/>
                  </a:lnTo>
                  <a:lnTo>
                    <a:pt x="184" y="185"/>
                  </a:lnTo>
                  <a:lnTo>
                    <a:pt x="185" y="187"/>
                  </a:lnTo>
                  <a:lnTo>
                    <a:pt x="194" y="187"/>
                  </a:lnTo>
                  <a:lnTo>
                    <a:pt x="203" y="187"/>
                  </a:lnTo>
                  <a:lnTo>
                    <a:pt x="203" y="183"/>
                  </a:lnTo>
                  <a:lnTo>
                    <a:pt x="203" y="181"/>
                  </a:lnTo>
                  <a:lnTo>
                    <a:pt x="203" y="178"/>
                  </a:lnTo>
                  <a:lnTo>
                    <a:pt x="203" y="174"/>
                  </a:lnTo>
                  <a:lnTo>
                    <a:pt x="207" y="165"/>
                  </a:lnTo>
                  <a:lnTo>
                    <a:pt x="212" y="156"/>
                  </a:lnTo>
                  <a:lnTo>
                    <a:pt x="216" y="156"/>
                  </a:lnTo>
                  <a:lnTo>
                    <a:pt x="219" y="148"/>
                  </a:lnTo>
                  <a:lnTo>
                    <a:pt x="222" y="138"/>
                  </a:lnTo>
                  <a:lnTo>
                    <a:pt x="226" y="138"/>
                  </a:lnTo>
                  <a:lnTo>
                    <a:pt x="233" y="130"/>
                  </a:lnTo>
                  <a:lnTo>
                    <a:pt x="244" y="124"/>
                  </a:lnTo>
                  <a:lnTo>
                    <a:pt x="245" y="120"/>
                  </a:lnTo>
                  <a:lnTo>
                    <a:pt x="249" y="118"/>
                  </a:lnTo>
                  <a:lnTo>
                    <a:pt x="252" y="116"/>
                  </a:lnTo>
                  <a:lnTo>
                    <a:pt x="253" y="115"/>
                  </a:lnTo>
                  <a:lnTo>
                    <a:pt x="258" y="113"/>
                  </a:lnTo>
                  <a:lnTo>
                    <a:pt x="262" y="110"/>
                  </a:lnTo>
                  <a:lnTo>
                    <a:pt x="262" y="106"/>
                  </a:lnTo>
                  <a:lnTo>
                    <a:pt x="264" y="104"/>
                  </a:lnTo>
                  <a:lnTo>
                    <a:pt x="267" y="101"/>
                  </a:lnTo>
                  <a:lnTo>
                    <a:pt x="271" y="97"/>
                  </a:lnTo>
                  <a:lnTo>
                    <a:pt x="272" y="94"/>
                  </a:lnTo>
                  <a:lnTo>
                    <a:pt x="274" y="89"/>
                  </a:lnTo>
                  <a:lnTo>
                    <a:pt x="277" y="85"/>
                  </a:lnTo>
                  <a:lnTo>
                    <a:pt x="280" y="84"/>
                  </a:lnTo>
                  <a:lnTo>
                    <a:pt x="280" y="75"/>
                  </a:lnTo>
                  <a:lnTo>
                    <a:pt x="280" y="66"/>
                  </a:lnTo>
                  <a:lnTo>
                    <a:pt x="271" y="66"/>
                  </a:lnTo>
                  <a:lnTo>
                    <a:pt x="262" y="61"/>
                  </a:lnTo>
                  <a:lnTo>
                    <a:pt x="260" y="57"/>
                  </a:lnTo>
                  <a:lnTo>
                    <a:pt x="258" y="52"/>
                  </a:lnTo>
                  <a:lnTo>
                    <a:pt x="253" y="52"/>
                  </a:lnTo>
                  <a:lnTo>
                    <a:pt x="251" y="50"/>
                  </a:lnTo>
                  <a:lnTo>
                    <a:pt x="249" y="48"/>
                  </a:lnTo>
                  <a:lnTo>
                    <a:pt x="244" y="47"/>
                  </a:lnTo>
                  <a:lnTo>
                    <a:pt x="240" y="43"/>
                  </a:lnTo>
                  <a:lnTo>
                    <a:pt x="238" y="42"/>
                  </a:lnTo>
                  <a:lnTo>
                    <a:pt x="236" y="40"/>
                  </a:lnTo>
                  <a:lnTo>
                    <a:pt x="235" y="37"/>
                  </a:lnTo>
                  <a:lnTo>
                    <a:pt x="235" y="33"/>
                  </a:lnTo>
                  <a:lnTo>
                    <a:pt x="231" y="33"/>
                  </a:lnTo>
                  <a:lnTo>
                    <a:pt x="229" y="33"/>
                  </a:lnTo>
                  <a:lnTo>
                    <a:pt x="226" y="33"/>
                  </a:lnTo>
                  <a:lnTo>
                    <a:pt x="222" y="29"/>
                  </a:lnTo>
                  <a:lnTo>
                    <a:pt x="219" y="29"/>
                  </a:lnTo>
                  <a:lnTo>
                    <a:pt x="216" y="29"/>
                  </a:lnTo>
                  <a:lnTo>
                    <a:pt x="212" y="29"/>
                  </a:lnTo>
                  <a:lnTo>
                    <a:pt x="207" y="24"/>
                  </a:lnTo>
                  <a:lnTo>
                    <a:pt x="203" y="20"/>
                  </a:lnTo>
                  <a:lnTo>
                    <a:pt x="198" y="20"/>
                  </a:lnTo>
                  <a:lnTo>
                    <a:pt x="194" y="20"/>
                  </a:lnTo>
                  <a:lnTo>
                    <a:pt x="185" y="20"/>
                  </a:lnTo>
                  <a:lnTo>
                    <a:pt x="176" y="20"/>
                  </a:lnTo>
                  <a:lnTo>
                    <a:pt x="169" y="20"/>
                  </a:lnTo>
                  <a:lnTo>
                    <a:pt x="163" y="20"/>
                  </a:lnTo>
                  <a:lnTo>
                    <a:pt x="156" y="20"/>
                  </a:lnTo>
                  <a:lnTo>
                    <a:pt x="149" y="20"/>
                  </a:lnTo>
                  <a:lnTo>
                    <a:pt x="140" y="20"/>
                  </a:lnTo>
                  <a:lnTo>
                    <a:pt x="136" y="20"/>
                  </a:lnTo>
                  <a:lnTo>
                    <a:pt x="130" y="20"/>
                  </a:lnTo>
                  <a:lnTo>
                    <a:pt x="128" y="20"/>
                  </a:lnTo>
                  <a:lnTo>
                    <a:pt x="126" y="20"/>
                  </a:lnTo>
                  <a:lnTo>
                    <a:pt x="121" y="20"/>
                  </a:lnTo>
                  <a:lnTo>
                    <a:pt x="113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95" y="24"/>
                  </a:lnTo>
                  <a:lnTo>
                    <a:pt x="86" y="24"/>
                  </a:lnTo>
                  <a:lnTo>
                    <a:pt x="86" y="20"/>
                  </a:lnTo>
                  <a:lnTo>
                    <a:pt x="84" y="20"/>
                  </a:lnTo>
                  <a:lnTo>
                    <a:pt x="79" y="18"/>
                  </a:lnTo>
                  <a:lnTo>
                    <a:pt x="75" y="14"/>
                  </a:lnTo>
                  <a:lnTo>
                    <a:pt x="72" y="11"/>
                  </a:lnTo>
                  <a:lnTo>
                    <a:pt x="68" y="11"/>
                  </a:lnTo>
                  <a:lnTo>
                    <a:pt x="63" y="11"/>
                  </a:lnTo>
                  <a:lnTo>
                    <a:pt x="59" y="11"/>
                  </a:lnTo>
                  <a:lnTo>
                    <a:pt x="54" y="7"/>
                  </a:lnTo>
                  <a:lnTo>
                    <a:pt x="50" y="2"/>
                  </a:lnTo>
                  <a:lnTo>
                    <a:pt x="48" y="1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7" y="0"/>
                  </a:lnTo>
                  <a:lnTo>
                    <a:pt x="33" y="1"/>
                  </a:lnTo>
                  <a:lnTo>
                    <a:pt x="31" y="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5" name="Freeform 72"/>
            <p:cNvSpPr>
              <a:spLocks noChangeAspect="1"/>
            </p:cNvSpPr>
            <p:nvPr/>
          </p:nvSpPr>
          <p:spPr bwMode="gray">
            <a:xfrm rot="355651">
              <a:off x="7594962" y="4195763"/>
              <a:ext cx="40203" cy="34067"/>
            </a:xfrm>
            <a:custGeom>
              <a:avLst/>
              <a:gdLst/>
              <a:ahLst/>
              <a:cxnLst>
                <a:cxn ang="0">
                  <a:pos x="11" y="29"/>
                </a:cxn>
                <a:cxn ang="0">
                  <a:pos x="24" y="49"/>
                </a:cxn>
                <a:cxn ang="0">
                  <a:pos x="24" y="63"/>
                </a:cxn>
                <a:cxn ang="0">
                  <a:pos x="24" y="73"/>
                </a:cxn>
                <a:cxn ang="0">
                  <a:pos x="9" y="109"/>
                </a:cxn>
                <a:cxn ang="0">
                  <a:pos x="5" y="122"/>
                </a:cxn>
                <a:cxn ang="0">
                  <a:pos x="5" y="131"/>
                </a:cxn>
                <a:cxn ang="0">
                  <a:pos x="5" y="153"/>
                </a:cxn>
                <a:cxn ang="0">
                  <a:pos x="14" y="163"/>
                </a:cxn>
                <a:cxn ang="0">
                  <a:pos x="23" y="170"/>
                </a:cxn>
                <a:cxn ang="0">
                  <a:pos x="37" y="177"/>
                </a:cxn>
                <a:cxn ang="0">
                  <a:pos x="43" y="190"/>
                </a:cxn>
                <a:cxn ang="0">
                  <a:pos x="49" y="200"/>
                </a:cxn>
                <a:cxn ang="0">
                  <a:pos x="64" y="212"/>
                </a:cxn>
                <a:cxn ang="0">
                  <a:pos x="77" y="212"/>
                </a:cxn>
                <a:cxn ang="0">
                  <a:pos x="86" y="212"/>
                </a:cxn>
                <a:cxn ang="0">
                  <a:pos x="112" y="210"/>
                </a:cxn>
                <a:cxn ang="0">
                  <a:pos x="123" y="208"/>
                </a:cxn>
                <a:cxn ang="0">
                  <a:pos x="132" y="204"/>
                </a:cxn>
                <a:cxn ang="0">
                  <a:pos x="143" y="201"/>
                </a:cxn>
                <a:cxn ang="0">
                  <a:pos x="150" y="195"/>
                </a:cxn>
                <a:cxn ang="0">
                  <a:pos x="159" y="190"/>
                </a:cxn>
                <a:cxn ang="0">
                  <a:pos x="177" y="172"/>
                </a:cxn>
                <a:cxn ang="0">
                  <a:pos x="187" y="162"/>
                </a:cxn>
                <a:cxn ang="0">
                  <a:pos x="205" y="159"/>
                </a:cxn>
                <a:cxn ang="0">
                  <a:pos x="214" y="144"/>
                </a:cxn>
                <a:cxn ang="0">
                  <a:pos x="205" y="140"/>
                </a:cxn>
                <a:cxn ang="0">
                  <a:pos x="190" y="135"/>
                </a:cxn>
                <a:cxn ang="0">
                  <a:pos x="172" y="127"/>
                </a:cxn>
                <a:cxn ang="0">
                  <a:pos x="163" y="118"/>
                </a:cxn>
                <a:cxn ang="0">
                  <a:pos x="151" y="112"/>
                </a:cxn>
                <a:cxn ang="0">
                  <a:pos x="136" y="100"/>
                </a:cxn>
                <a:cxn ang="0">
                  <a:pos x="126" y="90"/>
                </a:cxn>
                <a:cxn ang="0">
                  <a:pos x="123" y="73"/>
                </a:cxn>
                <a:cxn ang="0">
                  <a:pos x="119" y="63"/>
                </a:cxn>
                <a:cxn ang="0">
                  <a:pos x="119" y="52"/>
                </a:cxn>
                <a:cxn ang="0">
                  <a:pos x="114" y="36"/>
                </a:cxn>
                <a:cxn ang="0">
                  <a:pos x="102" y="18"/>
                </a:cxn>
                <a:cxn ang="0">
                  <a:pos x="100" y="5"/>
                </a:cxn>
                <a:cxn ang="0">
                  <a:pos x="80" y="3"/>
                </a:cxn>
                <a:cxn ang="0">
                  <a:pos x="71" y="0"/>
                </a:cxn>
                <a:cxn ang="0">
                  <a:pos x="55" y="0"/>
                </a:cxn>
                <a:cxn ang="0">
                  <a:pos x="44" y="3"/>
                </a:cxn>
                <a:cxn ang="0">
                  <a:pos x="36" y="5"/>
                </a:cxn>
                <a:cxn ang="0">
                  <a:pos x="28" y="9"/>
                </a:cxn>
                <a:cxn ang="0">
                  <a:pos x="0" y="9"/>
                </a:cxn>
              </a:cxnLst>
              <a:rect l="0" t="0" r="r" b="b"/>
              <a:pathLst>
                <a:path w="214" h="212">
                  <a:moveTo>
                    <a:pt x="0" y="9"/>
                  </a:moveTo>
                  <a:lnTo>
                    <a:pt x="9" y="27"/>
                  </a:lnTo>
                  <a:lnTo>
                    <a:pt x="11" y="29"/>
                  </a:lnTo>
                  <a:lnTo>
                    <a:pt x="14" y="32"/>
                  </a:lnTo>
                  <a:lnTo>
                    <a:pt x="18" y="43"/>
                  </a:lnTo>
                  <a:lnTo>
                    <a:pt x="24" y="49"/>
                  </a:lnTo>
                  <a:lnTo>
                    <a:pt x="24" y="54"/>
                  </a:lnTo>
                  <a:lnTo>
                    <a:pt x="24" y="58"/>
                  </a:lnTo>
                  <a:lnTo>
                    <a:pt x="24" y="63"/>
                  </a:lnTo>
                  <a:lnTo>
                    <a:pt x="24" y="65"/>
                  </a:lnTo>
                  <a:lnTo>
                    <a:pt x="24" y="67"/>
                  </a:lnTo>
                  <a:lnTo>
                    <a:pt x="24" y="73"/>
                  </a:lnTo>
                  <a:lnTo>
                    <a:pt x="20" y="86"/>
                  </a:lnTo>
                  <a:lnTo>
                    <a:pt x="18" y="100"/>
                  </a:lnTo>
                  <a:lnTo>
                    <a:pt x="9" y="109"/>
                  </a:lnTo>
                  <a:lnTo>
                    <a:pt x="9" y="118"/>
                  </a:lnTo>
                  <a:lnTo>
                    <a:pt x="7" y="120"/>
                  </a:lnTo>
                  <a:lnTo>
                    <a:pt x="5" y="122"/>
                  </a:lnTo>
                  <a:lnTo>
                    <a:pt x="5" y="127"/>
                  </a:lnTo>
                  <a:lnTo>
                    <a:pt x="5" y="129"/>
                  </a:lnTo>
                  <a:lnTo>
                    <a:pt x="5" y="131"/>
                  </a:lnTo>
                  <a:lnTo>
                    <a:pt x="5" y="135"/>
                  </a:lnTo>
                  <a:lnTo>
                    <a:pt x="5" y="144"/>
                  </a:lnTo>
                  <a:lnTo>
                    <a:pt x="5" y="153"/>
                  </a:lnTo>
                  <a:lnTo>
                    <a:pt x="8" y="156"/>
                  </a:lnTo>
                  <a:lnTo>
                    <a:pt x="11" y="159"/>
                  </a:lnTo>
                  <a:lnTo>
                    <a:pt x="14" y="163"/>
                  </a:lnTo>
                  <a:lnTo>
                    <a:pt x="14" y="168"/>
                  </a:lnTo>
                  <a:lnTo>
                    <a:pt x="18" y="168"/>
                  </a:lnTo>
                  <a:lnTo>
                    <a:pt x="23" y="170"/>
                  </a:lnTo>
                  <a:lnTo>
                    <a:pt x="26" y="173"/>
                  </a:lnTo>
                  <a:lnTo>
                    <a:pt x="28" y="177"/>
                  </a:lnTo>
                  <a:lnTo>
                    <a:pt x="37" y="177"/>
                  </a:lnTo>
                  <a:lnTo>
                    <a:pt x="37" y="186"/>
                  </a:lnTo>
                  <a:lnTo>
                    <a:pt x="40" y="187"/>
                  </a:lnTo>
                  <a:lnTo>
                    <a:pt x="43" y="190"/>
                  </a:lnTo>
                  <a:lnTo>
                    <a:pt x="45" y="195"/>
                  </a:lnTo>
                  <a:lnTo>
                    <a:pt x="46" y="199"/>
                  </a:lnTo>
                  <a:lnTo>
                    <a:pt x="49" y="200"/>
                  </a:lnTo>
                  <a:lnTo>
                    <a:pt x="55" y="205"/>
                  </a:lnTo>
                  <a:lnTo>
                    <a:pt x="59" y="209"/>
                  </a:lnTo>
                  <a:lnTo>
                    <a:pt x="64" y="212"/>
                  </a:lnTo>
                  <a:lnTo>
                    <a:pt x="68" y="212"/>
                  </a:lnTo>
                  <a:lnTo>
                    <a:pt x="73" y="212"/>
                  </a:lnTo>
                  <a:lnTo>
                    <a:pt x="77" y="212"/>
                  </a:lnTo>
                  <a:lnTo>
                    <a:pt x="80" y="212"/>
                  </a:lnTo>
                  <a:lnTo>
                    <a:pt x="82" y="212"/>
                  </a:lnTo>
                  <a:lnTo>
                    <a:pt x="86" y="212"/>
                  </a:lnTo>
                  <a:lnTo>
                    <a:pt x="97" y="212"/>
                  </a:lnTo>
                  <a:lnTo>
                    <a:pt x="110" y="212"/>
                  </a:lnTo>
                  <a:lnTo>
                    <a:pt x="112" y="210"/>
                  </a:lnTo>
                  <a:lnTo>
                    <a:pt x="114" y="208"/>
                  </a:lnTo>
                  <a:lnTo>
                    <a:pt x="119" y="208"/>
                  </a:lnTo>
                  <a:lnTo>
                    <a:pt x="123" y="208"/>
                  </a:lnTo>
                  <a:lnTo>
                    <a:pt x="128" y="208"/>
                  </a:lnTo>
                  <a:lnTo>
                    <a:pt x="130" y="206"/>
                  </a:lnTo>
                  <a:lnTo>
                    <a:pt x="132" y="204"/>
                  </a:lnTo>
                  <a:lnTo>
                    <a:pt x="135" y="204"/>
                  </a:lnTo>
                  <a:lnTo>
                    <a:pt x="141" y="202"/>
                  </a:lnTo>
                  <a:lnTo>
                    <a:pt x="143" y="201"/>
                  </a:lnTo>
                  <a:lnTo>
                    <a:pt x="145" y="200"/>
                  </a:lnTo>
                  <a:lnTo>
                    <a:pt x="148" y="198"/>
                  </a:lnTo>
                  <a:lnTo>
                    <a:pt x="150" y="195"/>
                  </a:lnTo>
                  <a:lnTo>
                    <a:pt x="154" y="195"/>
                  </a:lnTo>
                  <a:lnTo>
                    <a:pt x="157" y="192"/>
                  </a:lnTo>
                  <a:lnTo>
                    <a:pt x="159" y="190"/>
                  </a:lnTo>
                  <a:lnTo>
                    <a:pt x="163" y="190"/>
                  </a:lnTo>
                  <a:lnTo>
                    <a:pt x="170" y="182"/>
                  </a:lnTo>
                  <a:lnTo>
                    <a:pt x="177" y="172"/>
                  </a:lnTo>
                  <a:lnTo>
                    <a:pt x="180" y="170"/>
                  </a:lnTo>
                  <a:lnTo>
                    <a:pt x="183" y="167"/>
                  </a:lnTo>
                  <a:lnTo>
                    <a:pt x="187" y="162"/>
                  </a:lnTo>
                  <a:lnTo>
                    <a:pt x="190" y="159"/>
                  </a:lnTo>
                  <a:lnTo>
                    <a:pt x="198" y="159"/>
                  </a:lnTo>
                  <a:lnTo>
                    <a:pt x="205" y="159"/>
                  </a:lnTo>
                  <a:lnTo>
                    <a:pt x="209" y="153"/>
                  </a:lnTo>
                  <a:lnTo>
                    <a:pt x="211" y="149"/>
                  </a:lnTo>
                  <a:lnTo>
                    <a:pt x="214" y="144"/>
                  </a:lnTo>
                  <a:lnTo>
                    <a:pt x="209" y="144"/>
                  </a:lnTo>
                  <a:lnTo>
                    <a:pt x="207" y="142"/>
                  </a:lnTo>
                  <a:lnTo>
                    <a:pt x="205" y="140"/>
                  </a:lnTo>
                  <a:lnTo>
                    <a:pt x="200" y="140"/>
                  </a:lnTo>
                  <a:lnTo>
                    <a:pt x="196" y="139"/>
                  </a:lnTo>
                  <a:lnTo>
                    <a:pt x="190" y="135"/>
                  </a:lnTo>
                  <a:lnTo>
                    <a:pt x="186" y="131"/>
                  </a:lnTo>
                  <a:lnTo>
                    <a:pt x="181" y="127"/>
                  </a:lnTo>
                  <a:lnTo>
                    <a:pt x="172" y="127"/>
                  </a:lnTo>
                  <a:lnTo>
                    <a:pt x="170" y="124"/>
                  </a:lnTo>
                  <a:lnTo>
                    <a:pt x="168" y="122"/>
                  </a:lnTo>
                  <a:lnTo>
                    <a:pt x="163" y="118"/>
                  </a:lnTo>
                  <a:lnTo>
                    <a:pt x="160" y="116"/>
                  </a:lnTo>
                  <a:lnTo>
                    <a:pt x="155" y="115"/>
                  </a:lnTo>
                  <a:lnTo>
                    <a:pt x="151" y="112"/>
                  </a:lnTo>
                  <a:lnTo>
                    <a:pt x="150" y="109"/>
                  </a:lnTo>
                  <a:lnTo>
                    <a:pt x="141" y="109"/>
                  </a:lnTo>
                  <a:lnTo>
                    <a:pt x="136" y="100"/>
                  </a:lnTo>
                  <a:lnTo>
                    <a:pt x="133" y="99"/>
                  </a:lnTo>
                  <a:lnTo>
                    <a:pt x="130" y="94"/>
                  </a:lnTo>
                  <a:lnTo>
                    <a:pt x="126" y="90"/>
                  </a:lnTo>
                  <a:lnTo>
                    <a:pt x="123" y="86"/>
                  </a:lnTo>
                  <a:lnTo>
                    <a:pt x="123" y="80"/>
                  </a:lnTo>
                  <a:lnTo>
                    <a:pt x="123" y="73"/>
                  </a:lnTo>
                  <a:lnTo>
                    <a:pt x="121" y="71"/>
                  </a:lnTo>
                  <a:lnTo>
                    <a:pt x="119" y="67"/>
                  </a:lnTo>
                  <a:lnTo>
                    <a:pt x="119" y="63"/>
                  </a:lnTo>
                  <a:lnTo>
                    <a:pt x="119" y="58"/>
                  </a:lnTo>
                  <a:lnTo>
                    <a:pt x="119" y="54"/>
                  </a:lnTo>
                  <a:lnTo>
                    <a:pt x="119" y="52"/>
                  </a:lnTo>
                  <a:lnTo>
                    <a:pt x="119" y="49"/>
                  </a:lnTo>
                  <a:lnTo>
                    <a:pt x="119" y="45"/>
                  </a:lnTo>
                  <a:lnTo>
                    <a:pt x="114" y="36"/>
                  </a:lnTo>
                  <a:lnTo>
                    <a:pt x="110" y="23"/>
                  </a:lnTo>
                  <a:lnTo>
                    <a:pt x="104" y="23"/>
                  </a:lnTo>
                  <a:lnTo>
                    <a:pt x="102" y="18"/>
                  </a:lnTo>
                  <a:lnTo>
                    <a:pt x="101" y="12"/>
                  </a:lnTo>
                  <a:lnTo>
                    <a:pt x="100" y="7"/>
                  </a:lnTo>
                  <a:lnTo>
                    <a:pt x="100" y="5"/>
                  </a:lnTo>
                  <a:lnTo>
                    <a:pt x="91" y="5"/>
                  </a:lnTo>
                  <a:lnTo>
                    <a:pt x="82" y="5"/>
                  </a:lnTo>
                  <a:lnTo>
                    <a:pt x="80" y="3"/>
                  </a:lnTo>
                  <a:lnTo>
                    <a:pt x="77" y="0"/>
                  </a:lnTo>
                  <a:lnTo>
                    <a:pt x="73" y="0"/>
                  </a:lnTo>
                  <a:lnTo>
                    <a:pt x="71" y="0"/>
                  </a:lnTo>
                  <a:lnTo>
                    <a:pt x="68" y="0"/>
                  </a:lnTo>
                  <a:lnTo>
                    <a:pt x="64" y="0"/>
                  </a:lnTo>
                  <a:lnTo>
                    <a:pt x="55" y="0"/>
                  </a:lnTo>
                  <a:lnTo>
                    <a:pt x="46" y="0"/>
                  </a:lnTo>
                  <a:lnTo>
                    <a:pt x="45" y="2"/>
                  </a:lnTo>
                  <a:lnTo>
                    <a:pt x="44" y="3"/>
                  </a:lnTo>
                  <a:lnTo>
                    <a:pt x="43" y="4"/>
                  </a:lnTo>
                  <a:lnTo>
                    <a:pt x="40" y="4"/>
                  </a:lnTo>
                  <a:lnTo>
                    <a:pt x="36" y="5"/>
                  </a:lnTo>
                  <a:lnTo>
                    <a:pt x="33" y="5"/>
                  </a:lnTo>
                  <a:lnTo>
                    <a:pt x="33" y="9"/>
                  </a:lnTo>
                  <a:lnTo>
                    <a:pt x="28" y="9"/>
                  </a:lnTo>
                  <a:lnTo>
                    <a:pt x="24" y="9"/>
                  </a:lnTo>
                  <a:lnTo>
                    <a:pt x="15" y="9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6" name="Freeform 73"/>
            <p:cNvSpPr>
              <a:spLocks noChangeAspect="1"/>
            </p:cNvSpPr>
            <p:nvPr/>
          </p:nvSpPr>
          <p:spPr bwMode="gray">
            <a:xfrm rot="355651">
              <a:off x="7408762" y="4064000"/>
              <a:ext cx="148114" cy="84105"/>
            </a:xfrm>
            <a:custGeom>
              <a:avLst/>
              <a:gdLst/>
              <a:ahLst/>
              <a:cxnLst>
                <a:cxn ang="0">
                  <a:pos x="584" y="18"/>
                </a:cxn>
                <a:cxn ang="0">
                  <a:pos x="539" y="60"/>
                </a:cxn>
                <a:cxn ang="0">
                  <a:pos x="509" y="96"/>
                </a:cxn>
                <a:cxn ang="0">
                  <a:pos x="497" y="108"/>
                </a:cxn>
                <a:cxn ang="0">
                  <a:pos x="457" y="118"/>
                </a:cxn>
                <a:cxn ang="0">
                  <a:pos x="375" y="121"/>
                </a:cxn>
                <a:cxn ang="0">
                  <a:pos x="297" y="129"/>
                </a:cxn>
                <a:cxn ang="0">
                  <a:pos x="259" y="138"/>
                </a:cxn>
                <a:cxn ang="0">
                  <a:pos x="231" y="152"/>
                </a:cxn>
                <a:cxn ang="0">
                  <a:pos x="216" y="170"/>
                </a:cxn>
                <a:cxn ang="0">
                  <a:pos x="173" y="200"/>
                </a:cxn>
                <a:cxn ang="0">
                  <a:pos x="102" y="240"/>
                </a:cxn>
                <a:cxn ang="0">
                  <a:pos x="51" y="278"/>
                </a:cxn>
                <a:cxn ang="0">
                  <a:pos x="16" y="318"/>
                </a:cxn>
                <a:cxn ang="0">
                  <a:pos x="3" y="342"/>
                </a:cxn>
                <a:cxn ang="0">
                  <a:pos x="0" y="377"/>
                </a:cxn>
                <a:cxn ang="0">
                  <a:pos x="16" y="438"/>
                </a:cxn>
                <a:cxn ang="0">
                  <a:pos x="36" y="496"/>
                </a:cxn>
                <a:cxn ang="0">
                  <a:pos x="40" y="526"/>
                </a:cxn>
                <a:cxn ang="0">
                  <a:pos x="55" y="518"/>
                </a:cxn>
                <a:cxn ang="0">
                  <a:pos x="96" y="486"/>
                </a:cxn>
                <a:cxn ang="0">
                  <a:pos x="144" y="447"/>
                </a:cxn>
                <a:cxn ang="0">
                  <a:pos x="201" y="412"/>
                </a:cxn>
                <a:cxn ang="0">
                  <a:pos x="260" y="380"/>
                </a:cxn>
                <a:cxn ang="0">
                  <a:pos x="327" y="368"/>
                </a:cxn>
                <a:cxn ang="0">
                  <a:pos x="396" y="362"/>
                </a:cxn>
                <a:cxn ang="0">
                  <a:pos x="479" y="368"/>
                </a:cxn>
                <a:cxn ang="0">
                  <a:pos x="520" y="369"/>
                </a:cxn>
                <a:cxn ang="0">
                  <a:pos x="530" y="365"/>
                </a:cxn>
                <a:cxn ang="0">
                  <a:pos x="554" y="358"/>
                </a:cxn>
                <a:cxn ang="0">
                  <a:pos x="574" y="335"/>
                </a:cxn>
                <a:cxn ang="0">
                  <a:pos x="604" y="276"/>
                </a:cxn>
                <a:cxn ang="0">
                  <a:pos x="630" y="228"/>
                </a:cxn>
                <a:cxn ang="0">
                  <a:pos x="660" y="197"/>
                </a:cxn>
                <a:cxn ang="0">
                  <a:pos x="707" y="115"/>
                </a:cxn>
                <a:cxn ang="0">
                  <a:pos x="751" y="91"/>
                </a:cxn>
                <a:cxn ang="0">
                  <a:pos x="788" y="70"/>
                </a:cxn>
                <a:cxn ang="0">
                  <a:pos x="798" y="61"/>
                </a:cxn>
                <a:cxn ang="0">
                  <a:pos x="784" y="52"/>
                </a:cxn>
                <a:cxn ang="0">
                  <a:pos x="756" y="42"/>
                </a:cxn>
                <a:cxn ang="0">
                  <a:pos x="727" y="35"/>
                </a:cxn>
                <a:cxn ang="0">
                  <a:pos x="660" y="24"/>
                </a:cxn>
                <a:cxn ang="0">
                  <a:pos x="636" y="7"/>
                </a:cxn>
                <a:cxn ang="0">
                  <a:pos x="608" y="0"/>
                </a:cxn>
              </a:cxnLst>
              <a:rect l="0" t="0" r="r" b="b"/>
              <a:pathLst>
                <a:path w="798" h="526">
                  <a:moveTo>
                    <a:pt x="608" y="0"/>
                  </a:moveTo>
                  <a:lnTo>
                    <a:pt x="597" y="8"/>
                  </a:lnTo>
                  <a:lnTo>
                    <a:pt x="584" y="18"/>
                  </a:lnTo>
                  <a:lnTo>
                    <a:pt x="569" y="31"/>
                  </a:lnTo>
                  <a:lnTo>
                    <a:pt x="554" y="45"/>
                  </a:lnTo>
                  <a:lnTo>
                    <a:pt x="539" y="60"/>
                  </a:lnTo>
                  <a:lnTo>
                    <a:pt x="526" y="73"/>
                  </a:lnTo>
                  <a:lnTo>
                    <a:pt x="516" y="86"/>
                  </a:lnTo>
                  <a:lnTo>
                    <a:pt x="509" y="96"/>
                  </a:lnTo>
                  <a:lnTo>
                    <a:pt x="507" y="101"/>
                  </a:lnTo>
                  <a:lnTo>
                    <a:pt x="502" y="104"/>
                  </a:lnTo>
                  <a:lnTo>
                    <a:pt x="497" y="108"/>
                  </a:lnTo>
                  <a:lnTo>
                    <a:pt x="490" y="110"/>
                  </a:lnTo>
                  <a:lnTo>
                    <a:pt x="475" y="114"/>
                  </a:lnTo>
                  <a:lnTo>
                    <a:pt x="457" y="118"/>
                  </a:lnTo>
                  <a:lnTo>
                    <a:pt x="421" y="120"/>
                  </a:lnTo>
                  <a:lnTo>
                    <a:pt x="394" y="120"/>
                  </a:lnTo>
                  <a:lnTo>
                    <a:pt x="375" y="121"/>
                  </a:lnTo>
                  <a:lnTo>
                    <a:pt x="351" y="122"/>
                  </a:lnTo>
                  <a:lnTo>
                    <a:pt x="324" y="124"/>
                  </a:lnTo>
                  <a:lnTo>
                    <a:pt x="297" y="129"/>
                  </a:lnTo>
                  <a:lnTo>
                    <a:pt x="284" y="131"/>
                  </a:lnTo>
                  <a:lnTo>
                    <a:pt x="271" y="134"/>
                  </a:lnTo>
                  <a:lnTo>
                    <a:pt x="259" y="138"/>
                  </a:lnTo>
                  <a:lnTo>
                    <a:pt x="249" y="142"/>
                  </a:lnTo>
                  <a:lnTo>
                    <a:pt x="239" y="147"/>
                  </a:lnTo>
                  <a:lnTo>
                    <a:pt x="231" y="152"/>
                  </a:lnTo>
                  <a:lnTo>
                    <a:pt x="226" y="158"/>
                  </a:lnTo>
                  <a:lnTo>
                    <a:pt x="221" y="164"/>
                  </a:lnTo>
                  <a:lnTo>
                    <a:pt x="216" y="170"/>
                  </a:lnTo>
                  <a:lnTo>
                    <a:pt x="205" y="179"/>
                  </a:lnTo>
                  <a:lnTo>
                    <a:pt x="191" y="189"/>
                  </a:lnTo>
                  <a:lnTo>
                    <a:pt x="173" y="200"/>
                  </a:lnTo>
                  <a:lnTo>
                    <a:pt x="139" y="220"/>
                  </a:lnTo>
                  <a:lnTo>
                    <a:pt x="115" y="233"/>
                  </a:lnTo>
                  <a:lnTo>
                    <a:pt x="102" y="240"/>
                  </a:lnTo>
                  <a:lnTo>
                    <a:pt x="86" y="252"/>
                  </a:lnTo>
                  <a:lnTo>
                    <a:pt x="68" y="264"/>
                  </a:lnTo>
                  <a:lnTo>
                    <a:pt x="51" y="278"/>
                  </a:lnTo>
                  <a:lnTo>
                    <a:pt x="36" y="294"/>
                  </a:lnTo>
                  <a:lnTo>
                    <a:pt x="22" y="310"/>
                  </a:lnTo>
                  <a:lnTo>
                    <a:pt x="16" y="318"/>
                  </a:lnTo>
                  <a:lnTo>
                    <a:pt x="11" y="326"/>
                  </a:lnTo>
                  <a:lnTo>
                    <a:pt x="7" y="334"/>
                  </a:lnTo>
                  <a:lnTo>
                    <a:pt x="3" y="342"/>
                  </a:lnTo>
                  <a:lnTo>
                    <a:pt x="1" y="353"/>
                  </a:lnTo>
                  <a:lnTo>
                    <a:pt x="0" y="364"/>
                  </a:lnTo>
                  <a:lnTo>
                    <a:pt x="0" y="377"/>
                  </a:lnTo>
                  <a:lnTo>
                    <a:pt x="2" y="388"/>
                  </a:lnTo>
                  <a:lnTo>
                    <a:pt x="8" y="413"/>
                  </a:lnTo>
                  <a:lnTo>
                    <a:pt x="16" y="438"/>
                  </a:lnTo>
                  <a:lnTo>
                    <a:pt x="25" y="461"/>
                  </a:lnTo>
                  <a:lnTo>
                    <a:pt x="32" y="485"/>
                  </a:lnTo>
                  <a:lnTo>
                    <a:pt x="36" y="496"/>
                  </a:lnTo>
                  <a:lnTo>
                    <a:pt x="38" y="506"/>
                  </a:lnTo>
                  <a:lnTo>
                    <a:pt x="40" y="516"/>
                  </a:lnTo>
                  <a:lnTo>
                    <a:pt x="40" y="526"/>
                  </a:lnTo>
                  <a:lnTo>
                    <a:pt x="44" y="525"/>
                  </a:lnTo>
                  <a:lnTo>
                    <a:pt x="49" y="523"/>
                  </a:lnTo>
                  <a:lnTo>
                    <a:pt x="55" y="518"/>
                  </a:lnTo>
                  <a:lnTo>
                    <a:pt x="61" y="514"/>
                  </a:lnTo>
                  <a:lnTo>
                    <a:pt x="78" y="500"/>
                  </a:lnTo>
                  <a:lnTo>
                    <a:pt x="96" y="486"/>
                  </a:lnTo>
                  <a:lnTo>
                    <a:pt x="114" y="471"/>
                  </a:lnTo>
                  <a:lnTo>
                    <a:pt x="131" y="457"/>
                  </a:lnTo>
                  <a:lnTo>
                    <a:pt x="144" y="447"/>
                  </a:lnTo>
                  <a:lnTo>
                    <a:pt x="153" y="440"/>
                  </a:lnTo>
                  <a:lnTo>
                    <a:pt x="176" y="428"/>
                  </a:lnTo>
                  <a:lnTo>
                    <a:pt x="201" y="412"/>
                  </a:lnTo>
                  <a:lnTo>
                    <a:pt x="226" y="397"/>
                  </a:lnTo>
                  <a:lnTo>
                    <a:pt x="245" y="385"/>
                  </a:lnTo>
                  <a:lnTo>
                    <a:pt x="260" y="380"/>
                  </a:lnTo>
                  <a:lnTo>
                    <a:pt x="280" y="374"/>
                  </a:lnTo>
                  <a:lnTo>
                    <a:pt x="303" y="371"/>
                  </a:lnTo>
                  <a:lnTo>
                    <a:pt x="327" y="368"/>
                  </a:lnTo>
                  <a:lnTo>
                    <a:pt x="352" y="364"/>
                  </a:lnTo>
                  <a:lnTo>
                    <a:pt x="375" y="363"/>
                  </a:lnTo>
                  <a:lnTo>
                    <a:pt x="396" y="362"/>
                  </a:lnTo>
                  <a:lnTo>
                    <a:pt x="415" y="362"/>
                  </a:lnTo>
                  <a:lnTo>
                    <a:pt x="440" y="364"/>
                  </a:lnTo>
                  <a:lnTo>
                    <a:pt x="479" y="368"/>
                  </a:lnTo>
                  <a:lnTo>
                    <a:pt x="498" y="369"/>
                  </a:lnTo>
                  <a:lnTo>
                    <a:pt x="515" y="370"/>
                  </a:lnTo>
                  <a:lnTo>
                    <a:pt x="520" y="369"/>
                  </a:lnTo>
                  <a:lnTo>
                    <a:pt x="526" y="369"/>
                  </a:lnTo>
                  <a:lnTo>
                    <a:pt x="529" y="368"/>
                  </a:lnTo>
                  <a:lnTo>
                    <a:pt x="530" y="365"/>
                  </a:lnTo>
                  <a:lnTo>
                    <a:pt x="538" y="364"/>
                  </a:lnTo>
                  <a:lnTo>
                    <a:pt x="547" y="362"/>
                  </a:lnTo>
                  <a:lnTo>
                    <a:pt x="554" y="358"/>
                  </a:lnTo>
                  <a:lnTo>
                    <a:pt x="562" y="351"/>
                  </a:lnTo>
                  <a:lnTo>
                    <a:pt x="568" y="344"/>
                  </a:lnTo>
                  <a:lnTo>
                    <a:pt x="574" y="335"/>
                  </a:lnTo>
                  <a:lnTo>
                    <a:pt x="581" y="326"/>
                  </a:lnTo>
                  <a:lnTo>
                    <a:pt x="585" y="317"/>
                  </a:lnTo>
                  <a:lnTo>
                    <a:pt x="604" y="276"/>
                  </a:lnTo>
                  <a:lnTo>
                    <a:pt x="619" y="243"/>
                  </a:lnTo>
                  <a:lnTo>
                    <a:pt x="623" y="235"/>
                  </a:lnTo>
                  <a:lnTo>
                    <a:pt x="630" y="228"/>
                  </a:lnTo>
                  <a:lnTo>
                    <a:pt x="636" y="220"/>
                  </a:lnTo>
                  <a:lnTo>
                    <a:pt x="644" y="212"/>
                  </a:lnTo>
                  <a:lnTo>
                    <a:pt x="660" y="197"/>
                  </a:lnTo>
                  <a:lnTo>
                    <a:pt x="672" y="181"/>
                  </a:lnTo>
                  <a:lnTo>
                    <a:pt x="707" y="120"/>
                  </a:lnTo>
                  <a:lnTo>
                    <a:pt x="707" y="115"/>
                  </a:lnTo>
                  <a:lnTo>
                    <a:pt x="707" y="110"/>
                  </a:lnTo>
                  <a:lnTo>
                    <a:pt x="722" y="104"/>
                  </a:lnTo>
                  <a:lnTo>
                    <a:pt x="751" y="91"/>
                  </a:lnTo>
                  <a:lnTo>
                    <a:pt x="766" y="83"/>
                  </a:lnTo>
                  <a:lnTo>
                    <a:pt x="779" y="75"/>
                  </a:lnTo>
                  <a:lnTo>
                    <a:pt x="788" y="70"/>
                  </a:lnTo>
                  <a:lnTo>
                    <a:pt x="792" y="65"/>
                  </a:lnTo>
                  <a:lnTo>
                    <a:pt x="798" y="65"/>
                  </a:lnTo>
                  <a:lnTo>
                    <a:pt x="798" y="61"/>
                  </a:lnTo>
                  <a:lnTo>
                    <a:pt x="798" y="55"/>
                  </a:lnTo>
                  <a:lnTo>
                    <a:pt x="792" y="55"/>
                  </a:lnTo>
                  <a:lnTo>
                    <a:pt x="784" y="52"/>
                  </a:lnTo>
                  <a:lnTo>
                    <a:pt x="775" y="50"/>
                  </a:lnTo>
                  <a:lnTo>
                    <a:pt x="765" y="45"/>
                  </a:lnTo>
                  <a:lnTo>
                    <a:pt x="756" y="42"/>
                  </a:lnTo>
                  <a:lnTo>
                    <a:pt x="746" y="38"/>
                  </a:lnTo>
                  <a:lnTo>
                    <a:pt x="736" y="36"/>
                  </a:lnTo>
                  <a:lnTo>
                    <a:pt x="727" y="35"/>
                  </a:lnTo>
                  <a:lnTo>
                    <a:pt x="665" y="35"/>
                  </a:lnTo>
                  <a:lnTo>
                    <a:pt x="664" y="29"/>
                  </a:lnTo>
                  <a:lnTo>
                    <a:pt x="660" y="24"/>
                  </a:lnTo>
                  <a:lnTo>
                    <a:pt x="654" y="17"/>
                  </a:lnTo>
                  <a:lnTo>
                    <a:pt x="645" y="12"/>
                  </a:lnTo>
                  <a:lnTo>
                    <a:pt x="636" y="7"/>
                  </a:lnTo>
                  <a:lnTo>
                    <a:pt x="627" y="3"/>
                  </a:lnTo>
                  <a:lnTo>
                    <a:pt x="617" y="0"/>
                  </a:lnTo>
                  <a:lnTo>
                    <a:pt x="60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7" name="Freeform 74"/>
            <p:cNvSpPr>
              <a:spLocks noChangeAspect="1"/>
            </p:cNvSpPr>
            <p:nvPr/>
          </p:nvSpPr>
          <p:spPr bwMode="gray">
            <a:xfrm rot="355651">
              <a:off x="7580150" y="4097338"/>
              <a:ext cx="40203" cy="31938"/>
            </a:xfrm>
            <a:custGeom>
              <a:avLst/>
              <a:gdLst/>
              <a:ahLst/>
              <a:cxnLst>
                <a:cxn ang="0">
                  <a:pos x="85" y="18"/>
                </a:cxn>
                <a:cxn ang="0">
                  <a:pos x="65" y="31"/>
                </a:cxn>
                <a:cxn ang="0">
                  <a:pos x="50" y="45"/>
                </a:cxn>
                <a:cxn ang="0">
                  <a:pos x="40" y="55"/>
                </a:cxn>
                <a:cxn ang="0">
                  <a:pos x="30" y="68"/>
                </a:cxn>
                <a:cxn ang="0">
                  <a:pos x="30" y="76"/>
                </a:cxn>
                <a:cxn ang="0">
                  <a:pos x="27" y="93"/>
                </a:cxn>
                <a:cxn ang="0">
                  <a:pos x="18" y="100"/>
                </a:cxn>
                <a:cxn ang="0">
                  <a:pos x="13" y="106"/>
                </a:cxn>
                <a:cxn ang="0">
                  <a:pos x="7" y="116"/>
                </a:cxn>
                <a:cxn ang="0">
                  <a:pos x="1" y="126"/>
                </a:cxn>
                <a:cxn ang="0">
                  <a:pos x="5" y="137"/>
                </a:cxn>
                <a:cxn ang="0">
                  <a:pos x="11" y="139"/>
                </a:cxn>
                <a:cxn ang="0">
                  <a:pos x="20" y="141"/>
                </a:cxn>
                <a:cxn ang="0">
                  <a:pos x="35" y="143"/>
                </a:cxn>
                <a:cxn ang="0">
                  <a:pos x="47" y="149"/>
                </a:cxn>
                <a:cxn ang="0">
                  <a:pos x="54" y="151"/>
                </a:cxn>
                <a:cxn ang="0">
                  <a:pos x="72" y="168"/>
                </a:cxn>
                <a:cxn ang="0">
                  <a:pos x="79" y="174"/>
                </a:cxn>
                <a:cxn ang="0">
                  <a:pos x="89" y="190"/>
                </a:cxn>
                <a:cxn ang="0">
                  <a:pos x="99" y="200"/>
                </a:cxn>
                <a:cxn ang="0">
                  <a:pos x="108" y="202"/>
                </a:cxn>
                <a:cxn ang="0">
                  <a:pos x="122" y="198"/>
                </a:cxn>
                <a:cxn ang="0">
                  <a:pos x="134" y="184"/>
                </a:cxn>
                <a:cxn ang="0">
                  <a:pos x="150" y="164"/>
                </a:cxn>
                <a:cxn ang="0">
                  <a:pos x="151" y="152"/>
                </a:cxn>
                <a:cxn ang="0">
                  <a:pos x="157" y="145"/>
                </a:cxn>
                <a:cxn ang="0">
                  <a:pos x="164" y="139"/>
                </a:cxn>
                <a:cxn ang="0">
                  <a:pos x="174" y="135"/>
                </a:cxn>
                <a:cxn ang="0">
                  <a:pos x="190" y="132"/>
                </a:cxn>
                <a:cxn ang="0">
                  <a:pos x="203" y="120"/>
                </a:cxn>
                <a:cxn ang="0">
                  <a:pos x="213" y="110"/>
                </a:cxn>
                <a:cxn ang="0">
                  <a:pos x="217" y="106"/>
                </a:cxn>
                <a:cxn ang="0">
                  <a:pos x="217" y="89"/>
                </a:cxn>
                <a:cxn ang="0">
                  <a:pos x="220" y="85"/>
                </a:cxn>
                <a:cxn ang="0">
                  <a:pos x="216" y="77"/>
                </a:cxn>
                <a:cxn ang="0">
                  <a:pos x="203" y="68"/>
                </a:cxn>
                <a:cxn ang="0">
                  <a:pos x="189" y="58"/>
                </a:cxn>
                <a:cxn ang="0">
                  <a:pos x="182" y="54"/>
                </a:cxn>
                <a:cxn ang="0">
                  <a:pos x="166" y="48"/>
                </a:cxn>
                <a:cxn ang="0">
                  <a:pos x="162" y="43"/>
                </a:cxn>
                <a:cxn ang="0">
                  <a:pos x="157" y="38"/>
                </a:cxn>
                <a:cxn ang="0">
                  <a:pos x="150" y="25"/>
                </a:cxn>
                <a:cxn ang="0">
                  <a:pos x="139" y="18"/>
                </a:cxn>
                <a:cxn ang="0">
                  <a:pos x="136" y="7"/>
                </a:cxn>
                <a:cxn ang="0">
                  <a:pos x="132" y="0"/>
                </a:cxn>
                <a:cxn ang="0">
                  <a:pos x="125" y="0"/>
                </a:cxn>
                <a:cxn ang="0">
                  <a:pos x="114" y="4"/>
                </a:cxn>
              </a:cxnLst>
              <a:rect l="0" t="0" r="r" b="b"/>
              <a:pathLst>
                <a:path w="221" h="202">
                  <a:moveTo>
                    <a:pt x="108" y="7"/>
                  </a:moveTo>
                  <a:lnTo>
                    <a:pt x="95" y="12"/>
                  </a:lnTo>
                  <a:lnTo>
                    <a:pt x="85" y="18"/>
                  </a:lnTo>
                  <a:lnTo>
                    <a:pt x="78" y="23"/>
                  </a:lnTo>
                  <a:lnTo>
                    <a:pt x="72" y="28"/>
                  </a:lnTo>
                  <a:lnTo>
                    <a:pt x="65" y="31"/>
                  </a:lnTo>
                  <a:lnTo>
                    <a:pt x="57" y="38"/>
                  </a:lnTo>
                  <a:lnTo>
                    <a:pt x="54" y="41"/>
                  </a:lnTo>
                  <a:lnTo>
                    <a:pt x="50" y="45"/>
                  </a:lnTo>
                  <a:lnTo>
                    <a:pt x="44" y="48"/>
                  </a:lnTo>
                  <a:lnTo>
                    <a:pt x="43" y="52"/>
                  </a:lnTo>
                  <a:lnTo>
                    <a:pt x="40" y="55"/>
                  </a:lnTo>
                  <a:lnTo>
                    <a:pt x="40" y="58"/>
                  </a:lnTo>
                  <a:lnTo>
                    <a:pt x="36" y="65"/>
                  </a:lnTo>
                  <a:lnTo>
                    <a:pt x="30" y="68"/>
                  </a:lnTo>
                  <a:lnTo>
                    <a:pt x="30" y="73"/>
                  </a:lnTo>
                  <a:lnTo>
                    <a:pt x="30" y="74"/>
                  </a:lnTo>
                  <a:lnTo>
                    <a:pt x="30" y="76"/>
                  </a:lnTo>
                  <a:lnTo>
                    <a:pt x="30" y="79"/>
                  </a:lnTo>
                  <a:lnTo>
                    <a:pt x="29" y="86"/>
                  </a:lnTo>
                  <a:lnTo>
                    <a:pt x="27" y="93"/>
                  </a:lnTo>
                  <a:lnTo>
                    <a:pt x="24" y="94"/>
                  </a:lnTo>
                  <a:lnTo>
                    <a:pt x="20" y="96"/>
                  </a:lnTo>
                  <a:lnTo>
                    <a:pt x="18" y="100"/>
                  </a:lnTo>
                  <a:lnTo>
                    <a:pt x="17" y="103"/>
                  </a:lnTo>
                  <a:lnTo>
                    <a:pt x="15" y="105"/>
                  </a:lnTo>
                  <a:lnTo>
                    <a:pt x="13" y="106"/>
                  </a:lnTo>
                  <a:lnTo>
                    <a:pt x="10" y="110"/>
                  </a:lnTo>
                  <a:lnTo>
                    <a:pt x="7" y="113"/>
                  </a:lnTo>
                  <a:lnTo>
                    <a:pt x="7" y="116"/>
                  </a:lnTo>
                  <a:lnTo>
                    <a:pt x="5" y="118"/>
                  </a:lnTo>
                  <a:lnTo>
                    <a:pt x="3" y="120"/>
                  </a:lnTo>
                  <a:lnTo>
                    <a:pt x="1" y="126"/>
                  </a:lnTo>
                  <a:lnTo>
                    <a:pt x="0" y="133"/>
                  </a:lnTo>
                  <a:lnTo>
                    <a:pt x="3" y="137"/>
                  </a:lnTo>
                  <a:lnTo>
                    <a:pt x="5" y="137"/>
                  </a:lnTo>
                  <a:lnTo>
                    <a:pt x="7" y="137"/>
                  </a:lnTo>
                  <a:lnTo>
                    <a:pt x="10" y="137"/>
                  </a:lnTo>
                  <a:lnTo>
                    <a:pt x="11" y="139"/>
                  </a:lnTo>
                  <a:lnTo>
                    <a:pt x="13" y="141"/>
                  </a:lnTo>
                  <a:lnTo>
                    <a:pt x="17" y="141"/>
                  </a:lnTo>
                  <a:lnTo>
                    <a:pt x="20" y="141"/>
                  </a:lnTo>
                  <a:lnTo>
                    <a:pt x="24" y="141"/>
                  </a:lnTo>
                  <a:lnTo>
                    <a:pt x="30" y="141"/>
                  </a:lnTo>
                  <a:lnTo>
                    <a:pt x="35" y="143"/>
                  </a:lnTo>
                  <a:lnTo>
                    <a:pt x="39" y="144"/>
                  </a:lnTo>
                  <a:lnTo>
                    <a:pt x="44" y="148"/>
                  </a:lnTo>
                  <a:lnTo>
                    <a:pt x="47" y="149"/>
                  </a:lnTo>
                  <a:lnTo>
                    <a:pt x="49" y="148"/>
                  </a:lnTo>
                  <a:lnTo>
                    <a:pt x="50" y="148"/>
                  </a:lnTo>
                  <a:lnTo>
                    <a:pt x="54" y="151"/>
                  </a:lnTo>
                  <a:lnTo>
                    <a:pt x="59" y="158"/>
                  </a:lnTo>
                  <a:lnTo>
                    <a:pt x="68" y="164"/>
                  </a:lnTo>
                  <a:lnTo>
                    <a:pt x="72" y="168"/>
                  </a:lnTo>
                  <a:lnTo>
                    <a:pt x="75" y="171"/>
                  </a:lnTo>
                  <a:lnTo>
                    <a:pt x="78" y="171"/>
                  </a:lnTo>
                  <a:lnTo>
                    <a:pt x="79" y="174"/>
                  </a:lnTo>
                  <a:lnTo>
                    <a:pt x="82" y="178"/>
                  </a:lnTo>
                  <a:lnTo>
                    <a:pt x="82" y="181"/>
                  </a:lnTo>
                  <a:lnTo>
                    <a:pt x="89" y="190"/>
                  </a:lnTo>
                  <a:lnTo>
                    <a:pt x="95" y="198"/>
                  </a:lnTo>
                  <a:lnTo>
                    <a:pt x="98" y="198"/>
                  </a:lnTo>
                  <a:lnTo>
                    <a:pt x="99" y="200"/>
                  </a:lnTo>
                  <a:lnTo>
                    <a:pt x="102" y="202"/>
                  </a:lnTo>
                  <a:lnTo>
                    <a:pt x="105" y="202"/>
                  </a:lnTo>
                  <a:lnTo>
                    <a:pt x="108" y="202"/>
                  </a:lnTo>
                  <a:lnTo>
                    <a:pt x="114" y="202"/>
                  </a:lnTo>
                  <a:lnTo>
                    <a:pt x="118" y="202"/>
                  </a:lnTo>
                  <a:lnTo>
                    <a:pt x="122" y="198"/>
                  </a:lnTo>
                  <a:lnTo>
                    <a:pt x="125" y="194"/>
                  </a:lnTo>
                  <a:lnTo>
                    <a:pt x="132" y="188"/>
                  </a:lnTo>
                  <a:lnTo>
                    <a:pt x="134" y="184"/>
                  </a:lnTo>
                  <a:lnTo>
                    <a:pt x="135" y="181"/>
                  </a:lnTo>
                  <a:lnTo>
                    <a:pt x="143" y="171"/>
                  </a:lnTo>
                  <a:lnTo>
                    <a:pt x="150" y="164"/>
                  </a:lnTo>
                  <a:lnTo>
                    <a:pt x="150" y="161"/>
                  </a:lnTo>
                  <a:lnTo>
                    <a:pt x="150" y="158"/>
                  </a:lnTo>
                  <a:lnTo>
                    <a:pt x="151" y="152"/>
                  </a:lnTo>
                  <a:lnTo>
                    <a:pt x="153" y="148"/>
                  </a:lnTo>
                  <a:lnTo>
                    <a:pt x="155" y="146"/>
                  </a:lnTo>
                  <a:lnTo>
                    <a:pt x="157" y="145"/>
                  </a:lnTo>
                  <a:lnTo>
                    <a:pt x="159" y="143"/>
                  </a:lnTo>
                  <a:lnTo>
                    <a:pt x="160" y="141"/>
                  </a:lnTo>
                  <a:lnTo>
                    <a:pt x="164" y="139"/>
                  </a:lnTo>
                  <a:lnTo>
                    <a:pt x="170" y="137"/>
                  </a:lnTo>
                  <a:lnTo>
                    <a:pt x="173" y="137"/>
                  </a:lnTo>
                  <a:lnTo>
                    <a:pt x="174" y="135"/>
                  </a:lnTo>
                  <a:lnTo>
                    <a:pt x="176" y="133"/>
                  </a:lnTo>
                  <a:lnTo>
                    <a:pt x="183" y="133"/>
                  </a:lnTo>
                  <a:lnTo>
                    <a:pt x="190" y="132"/>
                  </a:lnTo>
                  <a:lnTo>
                    <a:pt x="197" y="130"/>
                  </a:lnTo>
                  <a:lnTo>
                    <a:pt x="200" y="123"/>
                  </a:lnTo>
                  <a:lnTo>
                    <a:pt x="203" y="120"/>
                  </a:lnTo>
                  <a:lnTo>
                    <a:pt x="209" y="118"/>
                  </a:lnTo>
                  <a:lnTo>
                    <a:pt x="213" y="116"/>
                  </a:lnTo>
                  <a:lnTo>
                    <a:pt x="213" y="110"/>
                  </a:lnTo>
                  <a:lnTo>
                    <a:pt x="216" y="110"/>
                  </a:lnTo>
                  <a:lnTo>
                    <a:pt x="217" y="110"/>
                  </a:lnTo>
                  <a:lnTo>
                    <a:pt x="217" y="106"/>
                  </a:lnTo>
                  <a:lnTo>
                    <a:pt x="217" y="103"/>
                  </a:lnTo>
                  <a:lnTo>
                    <a:pt x="217" y="96"/>
                  </a:lnTo>
                  <a:lnTo>
                    <a:pt x="217" y="89"/>
                  </a:lnTo>
                  <a:lnTo>
                    <a:pt x="219" y="88"/>
                  </a:lnTo>
                  <a:lnTo>
                    <a:pt x="220" y="87"/>
                  </a:lnTo>
                  <a:lnTo>
                    <a:pt x="220" y="85"/>
                  </a:lnTo>
                  <a:lnTo>
                    <a:pt x="221" y="83"/>
                  </a:lnTo>
                  <a:lnTo>
                    <a:pt x="217" y="79"/>
                  </a:lnTo>
                  <a:lnTo>
                    <a:pt x="216" y="77"/>
                  </a:lnTo>
                  <a:lnTo>
                    <a:pt x="213" y="76"/>
                  </a:lnTo>
                  <a:lnTo>
                    <a:pt x="210" y="73"/>
                  </a:lnTo>
                  <a:lnTo>
                    <a:pt x="203" y="68"/>
                  </a:lnTo>
                  <a:lnTo>
                    <a:pt x="197" y="62"/>
                  </a:lnTo>
                  <a:lnTo>
                    <a:pt x="190" y="62"/>
                  </a:lnTo>
                  <a:lnTo>
                    <a:pt x="189" y="58"/>
                  </a:lnTo>
                  <a:lnTo>
                    <a:pt x="187" y="55"/>
                  </a:lnTo>
                  <a:lnTo>
                    <a:pt x="183" y="55"/>
                  </a:lnTo>
                  <a:lnTo>
                    <a:pt x="182" y="54"/>
                  </a:lnTo>
                  <a:lnTo>
                    <a:pt x="180" y="52"/>
                  </a:lnTo>
                  <a:lnTo>
                    <a:pt x="173" y="50"/>
                  </a:lnTo>
                  <a:lnTo>
                    <a:pt x="166" y="48"/>
                  </a:lnTo>
                  <a:lnTo>
                    <a:pt x="165" y="46"/>
                  </a:lnTo>
                  <a:lnTo>
                    <a:pt x="164" y="44"/>
                  </a:lnTo>
                  <a:lnTo>
                    <a:pt x="162" y="43"/>
                  </a:lnTo>
                  <a:lnTo>
                    <a:pt x="160" y="41"/>
                  </a:lnTo>
                  <a:lnTo>
                    <a:pt x="160" y="38"/>
                  </a:lnTo>
                  <a:lnTo>
                    <a:pt x="157" y="38"/>
                  </a:lnTo>
                  <a:lnTo>
                    <a:pt x="156" y="38"/>
                  </a:lnTo>
                  <a:lnTo>
                    <a:pt x="153" y="31"/>
                  </a:lnTo>
                  <a:lnTo>
                    <a:pt x="150" y="25"/>
                  </a:lnTo>
                  <a:lnTo>
                    <a:pt x="146" y="21"/>
                  </a:lnTo>
                  <a:lnTo>
                    <a:pt x="143" y="19"/>
                  </a:lnTo>
                  <a:lnTo>
                    <a:pt x="139" y="18"/>
                  </a:lnTo>
                  <a:lnTo>
                    <a:pt x="139" y="11"/>
                  </a:lnTo>
                  <a:lnTo>
                    <a:pt x="137" y="10"/>
                  </a:lnTo>
                  <a:lnTo>
                    <a:pt x="136" y="7"/>
                  </a:lnTo>
                  <a:lnTo>
                    <a:pt x="135" y="4"/>
                  </a:lnTo>
                  <a:lnTo>
                    <a:pt x="135" y="0"/>
                  </a:lnTo>
                  <a:lnTo>
                    <a:pt x="132" y="0"/>
                  </a:lnTo>
                  <a:lnTo>
                    <a:pt x="131" y="0"/>
                  </a:lnTo>
                  <a:lnTo>
                    <a:pt x="128" y="0"/>
                  </a:lnTo>
                  <a:lnTo>
                    <a:pt x="125" y="0"/>
                  </a:lnTo>
                  <a:lnTo>
                    <a:pt x="124" y="0"/>
                  </a:lnTo>
                  <a:lnTo>
                    <a:pt x="120" y="1"/>
                  </a:lnTo>
                  <a:lnTo>
                    <a:pt x="114" y="4"/>
                  </a:lnTo>
                  <a:lnTo>
                    <a:pt x="108" y="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8" name="Freeform 75"/>
            <p:cNvSpPr>
              <a:spLocks noChangeAspect="1"/>
            </p:cNvSpPr>
            <p:nvPr/>
          </p:nvSpPr>
          <p:spPr bwMode="gray">
            <a:xfrm rot="355651">
              <a:off x="7627758" y="4033838"/>
              <a:ext cx="173506" cy="81974"/>
            </a:xfrm>
            <a:custGeom>
              <a:avLst/>
              <a:gdLst/>
              <a:ahLst/>
              <a:cxnLst>
                <a:cxn ang="0">
                  <a:pos x="189" y="32"/>
                </a:cxn>
                <a:cxn ang="0">
                  <a:pos x="131" y="62"/>
                </a:cxn>
                <a:cxn ang="0">
                  <a:pos x="78" y="97"/>
                </a:cxn>
                <a:cxn ang="0">
                  <a:pos x="35" y="138"/>
                </a:cxn>
                <a:cxn ang="0">
                  <a:pos x="3" y="185"/>
                </a:cxn>
                <a:cxn ang="0">
                  <a:pos x="0" y="225"/>
                </a:cxn>
                <a:cxn ang="0">
                  <a:pos x="6" y="303"/>
                </a:cxn>
                <a:cxn ang="0">
                  <a:pos x="11" y="330"/>
                </a:cxn>
                <a:cxn ang="0">
                  <a:pos x="19" y="338"/>
                </a:cxn>
                <a:cxn ang="0">
                  <a:pos x="42" y="341"/>
                </a:cxn>
                <a:cxn ang="0">
                  <a:pos x="127" y="311"/>
                </a:cxn>
                <a:cxn ang="0">
                  <a:pos x="218" y="298"/>
                </a:cxn>
                <a:cxn ang="0">
                  <a:pos x="267" y="294"/>
                </a:cxn>
                <a:cxn ang="0">
                  <a:pos x="311" y="300"/>
                </a:cxn>
                <a:cxn ang="0">
                  <a:pos x="355" y="319"/>
                </a:cxn>
                <a:cxn ang="0">
                  <a:pos x="400" y="360"/>
                </a:cxn>
                <a:cxn ang="0">
                  <a:pos x="452" y="422"/>
                </a:cxn>
                <a:cxn ang="0">
                  <a:pos x="518" y="496"/>
                </a:cxn>
                <a:cxn ang="0">
                  <a:pos x="529" y="499"/>
                </a:cxn>
                <a:cxn ang="0">
                  <a:pos x="551" y="486"/>
                </a:cxn>
                <a:cxn ang="0">
                  <a:pos x="568" y="465"/>
                </a:cxn>
                <a:cxn ang="0">
                  <a:pos x="599" y="403"/>
                </a:cxn>
                <a:cxn ang="0">
                  <a:pos x="627" y="360"/>
                </a:cxn>
                <a:cxn ang="0">
                  <a:pos x="652" y="337"/>
                </a:cxn>
                <a:cxn ang="0">
                  <a:pos x="680" y="328"/>
                </a:cxn>
                <a:cxn ang="0">
                  <a:pos x="742" y="326"/>
                </a:cxn>
                <a:cxn ang="0">
                  <a:pos x="808" y="321"/>
                </a:cxn>
                <a:cxn ang="0">
                  <a:pos x="861" y="319"/>
                </a:cxn>
                <a:cxn ang="0">
                  <a:pos x="890" y="306"/>
                </a:cxn>
                <a:cxn ang="0">
                  <a:pos x="918" y="282"/>
                </a:cxn>
                <a:cxn ang="0">
                  <a:pos x="938" y="252"/>
                </a:cxn>
                <a:cxn ang="0">
                  <a:pos x="948" y="221"/>
                </a:cxn>
                <a:cxn ang="0">
                  <a:pos x="946" y="202"/>
                </a:cxn>
                <a:cxn ang="0">
                  <a:pos x="930" y="179"/>
                </a:cxn>
                <a:cxn ang="0">
                  <a:pos x="909" y="156"/>
                </a:cxn>
                <a:cxn ang="0">
                  <a:pos x="904" y="110"/>
                </a:cxn>
                <a:cxn ang="0">
                  <a:pos x="898" y="81"/>
                </a:cxn>
                <a:cxn ang="0">
                  <a:pos x="885" y="72"/>
                </a:cxn>
                <a:cxn ang="0">
                  <a:pos x="864" y="69"/>
                </a:cxn>
                <a:cxn ang="0">
                  <a:pos x="799" y="69"/>
                </a:cxn>
                <a:cxn ang="0">
                  <a:pos x="748" y="58"/>
                </a:cxn>
                <a:cxn ang="0">
                  <a:pos x="666" y="28"/>
                </a:cxn>
                <a:cxn ang="0">
                  <a:pos x="616" y="14"/>
                </a:cxn>
                <a:cxn ang="0">
                  <a:pos x="560" y="11"/>
                </a:cxn>
                <a:cxn ang="0">
                  <a:pos x="499" y="18"/>
                </a:cxn>
                <a:cxn ang="0">
                  <a:pos x="431" y="18"/>
                </a:cxn>
                <a:cxn ang="0">
                  <a:pos x="366" y="16"/>
                </a:cxn>
                <a:cxn ang="0">
                  <a:pos x="332" y="11"/>
                </a:cxn>
                <a:cxn ang="0">
                  <a:pos x="296" y="2"/>
                </a:cxn>
              </a:cxnLst>
              <a:rect l="0" t="0" r="r" b="b"/>
              <a:pathLst>
                <a:path w="948" h="499">
                  <a:moveTo>
                    <a:pt x="270" y="0"/>
                  </a:moveTo>
                  <a:lnTo>
                    <a:pt x="229" y="15"/>
                  </a:lnTo>
                  <a:lnTo>
                    <a:pt x="189" y="32"/>
                  </a:lnTo>
                  <a:lnTo>
                    <a:pt x="169" y="42"/>
                  </a:lnTo>
                  <a:lnTo>
                    <a:pt x="150" y="52"/>
                  </a:lnTo>
                  <a:lnTo>
                    <a:pt x="131" y="62"/>
                  </a:lnTo>
                  <a:lnTo>
                    <a:pt x="113" y="73"/>
                  </a:lnTo>
                  <a:lnTo>
                    <a:pt x="95" y="85"/>
                  </a:lnTo>
                  <a:lnTo>
                    <a:pt x="78" y="97"/>
                  </a:lnTo>
                  <a:lnTo>
                    <a:pt x="63" y="110"/>
                  </a:lnTo>
                  <a:lnTo>
                    <a:pt x="48" y="124"/>
                  </a:lnTo>
                  <a:lnTo>
                    <a:pt x="35" y="138"/>
                  </a:lnTo>
                  <a:lnTo>
                    <a:pt x="23" y="153"/>
                  </a:lnTo>
                  <a:lnTo>
                    <a:pt x="12" y="168"/>
                  </a:lnTo>
                  <a:lnTo>
                    <a:pt x="3" y="185"/>
                  </a:lnTo>
                  <a:lnTo>
                    <a:pt x="1" y="195"/>
                  </a:lnTo>
                  <a:lnTo>
                    <a:pt x="0" y="208"/>
                  </a:lnTo>
                  <a:lnTo>
                    <a:pt x="0" y="225"/>
                  </a:lnTo>
                  <a:lnTo>
                    <a:pt x="1" y="243"/>
                  </a:lnTo>
                  <a:lnTo>
                    <a:pt x="5" y="278"/>
                  </a:lnTo>
                  <a:lnTo>
                    <a:pt x="6" y="303"/>
                  </a:lnTo>
                  <a:lnTo>
                    <a:pt x="7" y="316"/>
                  </a:lnTo>
                  <a:lnTo>
                    <a:pt x="10" y="326"/>
                  </a:lnTo>
                  <a:lnTo>
                    <a:pt x="11" y="330"/>
                  </a:lnTo>
                  <a:lnTo>
                    <a:pt x="13" y="333"/>
                  </a:lnTo>
                  <a:lnTo>
                    <a:pt x="17" y="336"/>
                  </a:lnTo>
                  <a:lnTo>
                    <a:pt x="19" y="338"/>
                  </a:lnTo>
                  <a:lnTo>
                    <a:pt x="26" y="341"/>
                  </a:lnTo>
                  <a:lnTo>
                    <a:pt x="34" y="341"/>
                  </a:lnTo>
                  <a:lnTo>
                    <a:pt x="42" y="341"/>
                  </a:lnTo>
                  <a:lnTo>
                    <a:pt x="51" y="339"/>
                  </a:lnTo>
                  <a:lnTo>
                    <a:pt x="92" y="323"/>
                  </a:lnTo>
                  <a:lnTo>
                    <a:pt x="127" y="311"/>
                  </a:lnTo>
                  <a:lnTo>
                    <a:pt x="165" y="306"/>
                  </a:lnTo>
                  <a:lnTo>
                    <a:pt x="200" y="300"/>
                  </a:lnTo>
                  <a:lnTo>
                    <a:pt x="218" y="298"/>
                  </a:lnTo>
                  <a:lnTo>
                    <a:pt x="234" y="295"/>
                  </a:lnTo>
                  <a:lnTo>
                    <a:pt x="250" y="294"/>
                  </a:lnTo>
                  <a:lnTo>
                    <a:pt x="267" y="294"/>
                  </a:lnTo>
                  <a:lnTo>
                    <a:pt x="281" y="294"/>
                  </a:lnTo>
                  <a:lnTo>
                    <a:pt x="297" y="297"/>
                  </a:lnTo>
                  <a:lnTo>
                    <a:pt x="311" y="300"/>
                  </a:lnTo>
                  <a:lnTo>
                    <a:pt x="326" y="304"/>
                  </a:lnTo>
                  <a:lnTo>
                    <a:pt x="341" y="311"/>
                  </a:lnTo>
                  <a:lnTo>
                    <a:pt x="355" y="319"/>
                  </a:lnTo>
                  <a:lnTo>
                    <a:pt x="368" y="330"/>
                  </a:lnTo>
                  <a:lnTo>
                    <a:pt x="383" y="342"/>
                  </a:lnTo>
                  <a:lnTo>
                    <a:pt x="400" y="360"/>
                  </a:lnTo>
                  <a:lnTo>
                    <a:pt x="418" y="379"/>
                  </a:lnTo>
                  <a:lnTo>
                    <a:pt x="434" y="400"/>
                  </a:lnTo>
                  <a:lnTo>
                    <a:pt x="452" y="422"/>
                  </a:lnTo>
                  <a:lnTo>
                    <a:pt x="485" y="461"/>
                  </a:lnTo>
                  <a:lnTo>
                    <a:pt x="515" y="494"/>
                  </a:lnTo>
                  <a:lnTo>
                    <a:pt x="518" y="496"/>
                  </a:lnTo>
                  <a:lnTo>
                    <a:pt x="521" y="499"/>
                  </a:lnTo>
                  <a:lnTo>
                    <a:pt x="525" y="499"/>
                  </a:lnTo>
                  <a:lnTo>
                    <a:pt x="529" y="499"/>
                  </a:lnTo>
                  <a:lnTo>
                    <a:pt x="537" y="496"/>
                  </a:lnTo>
                  <a:lnTo>
                    <a:pt x="545" y="492"/>
                  </a:lnTo>
                  <a:lnTo>
                    <a:pt x="551" y="486"/>
                  </a:lnTo>
                  <a:lnTo>
                    <a:pt x="558" y="480"/>
                  </a:lnTo>
                  <a:lnTo>
                    <a:pt x="564" y="473"/>
                  </a:lnTo>
                  <a:lnTo>
                    <a:pt x="568" y="465"/>
                  </a:lnTo>
                  <a:lnTo>
                    <a:pt x="577" y="447"/>
                  </a:lnTo>
                  <a:lnTo>
                    <a:pt x="587" y="425"/>
                  </a:lnTo>
                  <a:lnTo>
                    <a:pt x="599" y="403"/>
                  </a:lnTo>
                  <a:lnTo>
                    <a:pt x="613" y="380"/>
                  </a:lnTo>
                  <a:lnTo>
                    <a:pt x="620" y="369"/>
                  </a:lnTo>
                  <a:lnTo>
                    <a:pt x="627" y="360"/>
                  </a:lnTo>
                  <a:lnTo>
                    <a:pt x="635" y="351"/>
                  </a:lnTo>
                  <a:lnTo>
                    <a:pt x="643" y="343"/>
                  </a:lnTo>
                  <a:lnTo>
                    <a:pt x="652" y="337"/>
                  </a:lnTo>
                  <a:lnTo>
                    <a:pt x="661" y="332"/>
                  </a:lnTo>
                  <a:lnTo>
                    <a:pt x="671" y="329"/>
                  </a:lnTo>
                  <a:lnTo>
                    <a:pt x="680" y="328"/>
                  </a:lnTo>
                  <a:lnTo>
                    <a:pt x="700" y="328"/>
                  </a:lnTo>
                  <a:lnTo>
                    <a:pt x="720" y="327"/>
                  </a:lnTo>
                  <a:lnTo>
                    <a:pt x="742" y="326"/>
                  </a:lnTo>
                  <a:lnTo>
                    <a:pt x="764" y="323"/>
                  </a:lnTo>
                  <a:lnTo>
                    <a:pt x="786" y="322"/>
                  </a:lnTo>
                  <a:lnTo>
                    <a:pt x="808" y="321"/>
                  </a:lnTo>
                  <a:lnTo>
                    <a:pt x="831" y="320"/>
                  </a:lnTo>
                  <a:lnTo>
                    <a:pt x="852" y="320"/>
                  </a:lnTo>
                  <a:lnTo>
                    <a:pt x="861" y="319"/>
                  </a:lnTo>
                  <a:lnTo>
                    <a:pt x="871" y="316"/>
                  </a:lnTo>
                  <a:lnTo>
                    <a:pt x="880" y="311"/>
                  </a:lnTo>
                  <a:lnTo>
                    <a:pt x="890" y="306"/>
                  </a:lnTo>
                  <a:lnTo>
                    <a:pt x="900" y="299"/>
                  </a:lnTo>
                  <a:lnTo>
                    <a:pt x="909" y="291"/>
                  </a:lnTo>
                  <a:lnTo>
                    <a:pt x="918" y="282"/>
                  </a:lnTo>
                  <a:lnTo>
                    <a:pt x="925" y="272"/>
                  </a:lnTo>
                  <a:lnTo>
                    <a:pt x="932" y="262"/>
                  </a:lnTo>
                  <a:lnTo>
                    <a:pt x="938" y="252"/>
                  </a:lnTo>
                  <a:lnTo>
                    <a:pt x="943" y="241"/>
                  </a:lnTo>
                  <a:lnTo>
                    <a:pt x="947" y="231"/>
                  </a:lnTo>
                  <a:lnTo>
                    <a:pt x="948" y="221"/>
                  </a:lnTo>
                  <a:lnTo>
                    <a:pt x="948" y="211"/>
                  </a:lnTo>
                  <a:lnTo>
                    <a:pt x="947" y="206"/>
                  </a:lnTo>
                  <a:lnTo>
                    <a:pt x="946" y="202"/>
                  </a:lnTo>
                  <a:lnTo>
                    <a:pt x="944" y="197"/>
                  </a:lnTo>
                  <a:lnTo>
                    <a:pt x="941" y="193"/>
                  </a:lnTo>
                  <a:lnTo>
                    <a:pt x="930" y="179"/>
                  </a:lnTo>
                  <a:lnTo>
                    <a:pt x="918" y="169"/>
                  </a:lnTo>
                  <a:lnTo>
                    <a:pt x="913" y="163"/>
                  </a:lnTo>
                  <a:lnTo>
                    <a:pt x="909" y="156"/>
                  </a:lnTo>
                  <a:lnTo>
                    <a:pt x="906" y="146"/>
                  </a:lnTo>
                  <a:lnTo>
                    <a:pt x="905" y="135"/>
                  </a:lnTo>
                  <a:lnTo>
                    <a:pt x="904" y="110"/>
                  </a:lnTo>
                  <a:lnTo>
                    <a:pt x="902" y="93"/>
                  </a:lnTo>
                  <a:lnTo>
                    <a:pt x="900" y="87"/>
                  </a:lnTo>
                  <a:lnTo>
                    <a:pt x="898" y="81"/>
                  </a:lnTo>
                  <a:lnTo>
                    <a:pt x="894" y="78"/>
                  </a:lnTo>
                  <a:lnTo>
                    <a:pt x="890" y="74"/>
                  </a:lnTo>
                  <a:lnTo>
                    <a:pt x="885" y="72"/>
                  </a:lnTo>
                  <a:lnTo>
                    <a:pt x="879" y="71"/>
                  </a:lnTo>
                  <a:lnTo>
                    <a:pt x="872" y="70"/>
                  </a:lnTo>
                  <a:lnTo>
                    <a:pt x="864" y="69"/>
                  </a:lnTo>
                  <a:lnTo>
                    <a:pt x="844" y="69"/>
                  </a:lnTo>
                  <a:lnTo>
                    <a:pt x="818" y="70"/>
                  </a:lnTo>
                  <a:lnTo>
                    <a:pt x="799" y="69"/>
                  </a:lnTo>
                  <a:lnTo>
                    <a:pt x="783" y="67"/>
                  </a:lnTo>
                  <a:lnTo>
                    <a:pt x="765" y="62"/>
                  </a:lnTo>
                  <a:lnTo>
                    <a:pt x="748" y="58"/>
                  </a:lnTo>
                  <a:lnTo>
                    <a:pt x="716" y="47"/>
                  </a:lnTo>
                  <a:lnTo>
                    <a:pt x="683" y="34"/>
                  </a:lnTo>
                  <a:lnTo>
                    <a:pt x="666" y="28"/>
                  </a:lnTo>
                  <a:lnTo>
                    <a:pt x="650" y="22"/>
                  </a:lnTo>
                  <a:lnTo>
                    <a:pt x="633" y="18"/>
                  </a:lnTo>
                  <a:lnTo>
                    <a:pt x="616" y="14"/>
                  </a:lnTo>
                  <a:lnTo>
                    <a:pt x="597" y="11"/>
                  </a:lnTo>
                  <a:lnTo>
                    <a:pt x="579" y="10"/>
                  </a:lnTo>
                  <a:lnTo>
                    <a:pt x="560" y="11"/>
                  </a:lnTo>
                  <a:lnTo>
                    <a:pt x="540" y="13"/>
                  </a:lnTo>
                  <a:lnTo>
                    <a:pt x="520" y="16"/>
                  </a:lnTo>
                  <a:lnTo>
                    <a:pt x="499" y="18"/>
                  </a:lnTo>
                  <a:lnTo>
                    <a:pt x="477" y="18"/>
                  </a:lnTo>
                  <a:lnTo>
                    <a:pt x="454" y="18"/>
                  </a:lnTo>
                  <a:lnTo>
                    <a:pt x="431" y="18"/>
                  </a:lnTo>
                  <a:lnTo>
                    <a:pt x="409" y="16"/>
                  </a:lnTo>
                  <a:lnTo>
                    <a:pt x="386" y="16"/>
                  </a:lnTo>
                  <a:lnTo>
                    <a:pt x="366" y="16"/>
                  </a:lnTo>
                  <a:lnTo>
                    <a:pt x="354" y="15"/>
                  </a:lnTo>
                  <a:lnTo>
                    <a:pt x="343" y="13"/>
                  </a:lnTo>
                  <a:lnTo>
                    <a:pt x="332" y="11"/>
                  </a:lnTo>
                  <a:lnTo>
                    <a:pt x="320" y="8"/>
                  </a:lnTo>
                  <a:lnTo>
                    <a:pt x="308" y="5"/>
                  </a:lnTo>
                  <a:lnTo>
                    <a:pt x="296" y="2"/>
                  </a:lnTo>
                  <a:lnTo>
                    <a:pt x="284" y="0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9" name="Freeform 76"/>
            <p:cNvSpPr>
              <a:spLocks noChangeAspect="1"/>
            </p:cNvSpPr>
            <p:nvPr/>
          </p:nvSpPr>
          <p:spPr bwMode="gray">
            <a:xfrm rot="355651">
              <a:off x="7478713" y="4478338"/>
              <a:ext cx="82521" cy="75587"/>
            </a:xfrm>
            <a:custGeom>
              <a:avLst/>
              <a:gdLst/>
              <a:ahLst/>
              <a:cxnLst>
                <a:cxn ang="0">
                  <a:pos x="27" y="182"/>
                </a:cxn>
                <a:cxn ang="0">
                  <a:pos x="4" y="243"/>
                </a:cxn>
                <a:cxn ang="0">
                  <a:pos x="11" y="283"/>
                </a:cxn>
                <a:cxn ang="0">
                  <a:pos x="27" y="301"/>
                </a:cxn>
                <a:cxn ang="0">
                  <a:pos x="38" y="331"/>
                </a:cxn>
                <a:cxn ang="0">
                  <a:pos x="63" y="370"/>
                </a:cxn>
                <a:cxn ang="0">
                  <a:pos x="52" y="400"/>
                </a:cxn>
                <a:cxn ang="0">
                  <a:pos x="63" y="428"/>
                </a:cxn>
                <a:cxn ang="0">
                  <a:pos x="82" y="415"/>
                </a:cxn>
                <a:cxn ang="0">
                  <a:pos x="107" y="422"/>
                </a:cxn>
                <a:cxn ang="0">
                  <a:pos x="135" y="477"/>
                </a:cxn>
                <a:cxn ang="0">
                  <a:pos x="153" y="481"/>
                </a:cxn>
                <a:cxn ang="0">
                  <a:pos x="170" y="464"/>
                </a:cxn>
                <a:cxn ang="0">
                  <a:pos x="206" y="436"/>
                </a:cxn>
                <a:cxn ang="0">
                  <a:pos x="230" y="406"/>
                </a:cxn>
                <a:cxn ang="0">
                  <a:pos x="254" y="385"/>
                </a:cxn>
                <a:cxn ang="0">
                  <a:pos x="269" y="358"/>
                </a:cxn>
                <a:cxn ang="0">
                  <a:pos x="283" y="339"/>
                </a:cxn>
                <a:cxn ang="0">
                  <a:pos x="294" y="330"/>
                </a:cxn>
                <a:cxn ang="0">
                  <a:pos x="299" y="291"/>
                </a:cxn>
                <a:cxn ang="0">
                  <a:pos x="313" y="278"/>
                </a:cxn>
                <a:cxn ang="0">
                  <a:pos x="348" y="265"/>
                </a:cxn>
                <a:cxn ang="0">
                  <a:pos x="365" y="248"/>
                </a:cxn>
                <a:cxn ang="0">
                  <a:pos x="407" y="206"/>
                </a:cxn>
                <a:cxn ang="0">
                  <a:pos x="429" y="194"/>
                </a:cxn>
                <a:cxn ang="0">
                  <a:pos x="455" y="156"/>
                </a:cxn>
                <a:cxn ang="0">
                  <a:pos x="470" y="119"/>
                </a:cxn>
                <a:cxn ang="0">
                  <a:pos x="439" y="86"/>
                </a:cxn>
                <a:cxn ang="0">
                  <a:pos x="407" y="75"/>
                </a:cxn>
                <a:cxn ang="0">
                  <a:pos x="349" y="66"/>
                </a:cxn>
                <a:cxn ang="0">
                  <a:pos x="321" y="52"/>
                </a:cxn>
                <a:cxn ang="0">
                  <a:pos x="299" y="33"/>
                </a:cxn>
                <a:cxn ang="0">
                  <a:pos x="269" y="0"/>
                </a:cxn>
                <a:cxn ang="0">
                  <a:pos x="254" y="33"/>
                </a:cxn>
                <a:cxn ang="0">
                  <a:pos x="232" y="60"/>
                </a:cxn>
                <a:cxn ang="0">
                  <a:pos x="227" y="75"/>
                </a:cxn>
                <a:cxn ang="0">
                  <a:pos x="218" y="89"/>
                </a:cxn>
                <a:cxn ang="0">
                  <a:pos x="213" y="123"/>
                </a:cxn>
                <a:cxn ang="0">
                  <a:pos x="224" y="146"/>
                </a:cxn>
                <a:cxn ang="0">
                  <a:pos x="245" y="178"/>
                </a:cxn>
                <a:cxn ang="0">
                  <a:pos x="254" y="193"/>
                </a:cxn>
                <a:cxn ang="0">
                  <a:pos x="262" y="203"/>
                </a:cxn>
                <a:cxn ang="0">
                  <a:pos x="269" y="214"/>
                </a:cxn>
                <a:cxn ang="0">
                  <a:pos x="276" y="227"/>
                </a:cxn>
                <a:cxn ang="0">
                  <a:pos x="269" y="242"/>
                </a:cxn>
                <a:cxn ang="0">
                  <a:pos x="261" y="261"/>
                </a:cxn>
                <a:cxn ang="0">
                  <a:pos x="245" y="272"/>
                </a:cxn>
                <a:cxn ang="0">
                  <a:pos x="194" y="250"/>
                </a:cxn>
                <a:cxn ang="0">
                  <a:pos x="167" y="240"/>
                </a:cxn>
                <a:cxn ang="0">
                  <a:pos x="149" y="220"/>
                </a:cxn>
                <a:cxn ang="0">
                  <a:pos x="107" y="181"/>
                </a:cxn>
                <a:cxn ang="0">
                  <a:pos x="73" y="167"/>
                </a:cxn>
                <a:cxn ang="0">
                  <a:pos x="62" y="160"/>
                </a:cxn>
              </a:cxnLst>
              <a:rect l="0" t="0" r="r" b="b"/>
              <a:pathLst>
                <a:path w="470" h="481">
                  <a:moveTo>
                    <a:pt x="49" y="156"/>
                  </a:moveTo>
                  <a:lnTo>
                    <a:pt x="42" y="163"/>
                  </a:lnTo>
                  <a:lnTo>
                    <a:pt x="36" y="168"/>
                  </a:lnTo>
                  <a:lnTo>
                    <a:pt x="32" y="175"/>
                  </a:lnTo>
                  <a:lnTo>
                    <a:pt x="27" y="182"/>
                  </a:lnTo>
                  <a:lnTo>
                    <a:pt x="22" y="195"/>
                  </a:lnTo>
                  <a:lnTo>
                    <a:pt x="19" y="208"/>
                  </a:lnTo>
                  <a:lnTo>
                    <a:pt x="16" y="217"/>
                  </a:lnTo>
                  <a:lnTo>
                    <a:pt x="11" y="231"/>
                  </a:lnTo>
                  <a:lnTo>
                    <a:pt x="4" y="243"/>
                  </a:lnTo>
                  <a:lnTo>
                    <a:pt x="0" y="250"/>
                  </a:lnTo>
                  <a:lnTo>
                    <a:pt x="2" y="259"/>
                  </a:lnTo>
                  <a:lnTo>
                    <a:pt x="4" y="267"/>
                  </a:lnTo>
                  <a:lnTo>
                    <a:pt x="7" y="275"/>
                  </a:lnTo>
                  <a:lnTo>
                    <a:pt x="11" y="283"/>
                  </a:lnTo>
                  <a:lnTo>
                    <a:pt x="20" y="289"/>
                  </a:lnTo>
                  <a:lnTo>
                    <a:pt x="26" y="294"/>
                  </a:lnTo>
                  <a:lnTo>
                    <a:pt x="26" y="298"/>
                  </a:lnTo>
                  <a:lnTo>
                    <a:pt x="26" y="300"/>
                  </a:lnTo>
                  <a:lnTo>
                    <a:pt x="27" y="301"/>
                  </a:lnTo>
                  <a:lnTo>
                    <a:pt x="30" y="302"/>
                  </a:lnTo>
                  <a:lnTo>
                    <a:pt x="30" y="313"/>
                  </a:lnTo>
                  <a:lnTo>
                    <a:pt x="38" y="320"/>
                  </a:lnTo>
                  <a:lnTo>
                    <a:pt x="38" y="326"/>
                  </a:lnTo>
                  <a:lnTo>
                    <a:pt x="38" y="331"/>
                  </a:lnTo>
                  <a:lnTo>
                    <a:pt x="41" y="339"/>
                  </a:lnTo>
                  <a:lnTo>
                    <a:pt x="52" y="350"/>
                  </a:lnTo>
                  <a:lnTo>
                    <a:pt x="63" y="361"/>
                  </a:lnTo>
                  <a:lnTo>
                    <a:pt x="63" y="366"/>
                  </a:lnTo>
                  <a:lnTo>
                    <a:pt x="63" y="370"/>
                  </a:lnTo>
                  <a:lnTo>
                    <a:pt x="62" y="375"/>
                  </a:lnTo>
                  <a:lnTo>
                    <a:pt x="60" y="377"/>
                  </a:lnTo>
                  <a:lnTo>
                    <a:pt x="60" y="388"/>
                  </a:lnTo>
                  <a:lnTo>
                    <a:pt x="52" y="392"/>
                  </a:lnTo>
                  <a:lnTo>
                    <a:pt x="52" y="400"/>
                  </a:lnTo>
                  <a:lnTo>
                    <a:pt x="52" y="410"/>
                  </a:lnTo>
                  <a:lnTo>
                    <a:pt x="52" y="419"/>
                  </a:lnTo>
                  <a:lnTo>
                    <a:pt x="52" y="428"/>
                  </a:lnTo>
                  <a:lnTo>
                    <a:pt x="58" y="428"/>
                  </a:lnTo>
                  <a:lnTo>
                    <a:pt x="63" y="428"/>
                  </a:lnTo>
                  <a:lnTo>
                    <a:pt x="68" y="423"/>
                  </a:lnTo>
                  <a:lnTo>
                    <a:pt x="71" y="417"/>
                  </a:lnTo>
                  <a:lnTo>
                    <a:pt x="79" y="417"/>
                  </a:lnTo>
                  <a:lnTo>
                    <a:pt x="79" y="416"/>
                  </a:lnTo>
                  <a:lnTo>
                    <a:pt x="82" y="415"/>
                  </a:lnTo>
                  <a:lnTo>
                    <a:pt x="86" y="415"/>
                  </a:lnTo>
                  <a:lnTo>
                    <a:pt x="90" y="414"/>
                  </a:lnTo>
                  <a:lnTo>
                    <a:pt x="99" y="414"/>
                  </a:lnTo>
                  <a:lnTo>
                    <a:pt x="105" y="414"/>
                  </a:lnTo>
                  <a:lnTo>
                    <a:pt x="107" y="422"/>
                  </a:lnTo>
                  <a:lnTo>
                    <a:pt x="110" y="431"/>
                  </a:lnTo>
                  <a:lnTo>
                    <a:pt x="113" y="442"/>
                  </a:lnTo>
                  <a:lnTo>
                    <a:pt x="116" y="451"/>
                  </a:lnTo>
                  <a:lnTo>
                    <a:pt x="125" y="463"/>
                  </a:lnTo>
                  <a:lnTo>
                    <a:pt x="135" y="477"/>
                  </a:lnTo>
                  <a:lnTo>
                    <a:pt x="141" y="477"/>
                  </a:lnTo>
                  <a:lnTo>
                    <a:pt x="142" y="480"/>
                  </a:lnTo>
                  <a:lnTo>
                    <a:pt x="146" y="481"/>
                  </a:lnTo>
                  <a:lnTo>
                    <a:pt x="149" y="481"/>
                  </a:lnTo>
                  <a:lnTo>
                    <a:pt x="153" y="481"/>
                  </a:lnTo>
                  <a:lnTo>
                    <a:pt x="154" y="479"/>
                  </a:lnTo>
                  <a:lnTo>
                    <a:pt x="156" y="476"/>
                  </a:lnTo>
                  <a:lnTo>
                    <a:pt x="158" y="474"/>
                  </a:lnTo>
                  <a:lnTo>
                    <a:pt x="161" y="471"/>
                  </a:lnTo>
                  <a:lnTo>
                    <a:pt x="170" y="464"/>
                  </a:lnTo>
                  <a:lnTo>
                    <a:pt x="180" y="457"/>
                  </a:lnTo>
                  <a:lnTo>
                    <a:pt x="192" y="451"/>
                  </a:lnTo>
                  <a:lnTo>
                    <a:pt x="201" y="443"/>
                  </a:lnTo>
                  <a:lnTo>
                    <a:pt x="204" y="439"/>
                  </a:lnTo>
                  <a:lnTo>
                    <a:pt x="206" y="436"/>
                  </a:lnTo>
                  <a:lnTo>
                    <a:pt x="208" y="433"/>
                  </a:lnTo>
                  <a:lnTo>
                    <a:pt x="209" y="428"/>
                  </a:lnTo>
                  <a:lnTo>
                    <a:pt x="216" y="425"/>
                  </a:lnTo>
                  <a:lnTo>
                    <a:pt x="216" y="417"/>
                  </a:lnTo>
                  <a:lnTo>
                    <a:pt x="230" y="406"/>
                  </a:lnTo>
                  <a:lnTo>
                    <a:pt x="238" y="395"/>
                  </a:lnTo>
                  <a:lnTo>
                    <a:pt x="244" y="394"/>
                  </a:lnTo>
                  <a:lnTo>
                    <a:pt x="250" y="392"/>
                  </a:lnTo>
                  <a:lnTo>
                    <a:pt x="251" y="388"/>
                  </a:lnTo>
                  <a:lnTo>
                    <a:pt x="254" y="385"/>
                  </a:lnTo>
                  <a:lnTo>
                    <a:pt x="257" y="381"/>
                  </a:lnTo>
                  <a:lnTo>
                    <a:pt x="261" y="380"/>
                  </a:lnTo>
                  <a:lnTo>
                    <a:pt x="261" y="373"/>
                  </a:lnTo>
                  <a:lnTo>
                    <a:pt x="269" y="366"/>
                  </a:lnTo>
                  <a:lnTo>
                    <a:pt x="269" y="358"/>
                  </a:lnTo>
                  <a:lnTo>
                    <a:pt x="272" y="356"/>
                  </a:lnTo>
                  <a:lnTo>
                    <a:pt x="275" y="351"/>
                  </a:lnTo>
                  <a:lnTo>
                    <a:pt x="279" y="347"/>
                  </a:lnTo>
                  <a:lnTo>
                    <a:pt x="280" y="344"/>
                  </a:lnTo>
                  <a:lnTo>
                    <a:pt x="283" y="339"/>
                  </a:lnTo>
                  <a:lnTo>
                    <a:pt x="286" y="339"/>
                  </a:lnTo>
                  <a:lnTo>
                    <a:pt x="289" y="337"/>
                  </a:lnTo>
                  <a:lnTo>
                    <a:pt x="290" y="335"/>
                  </a:lnTo>
                  <a:lnTo>
                    <a:pt x="291" y="331"/>
                  </a:lnTo>
                  <a:lnTo>
                    <a:pt x="294" y="330"/>
                  </a:lnTo>
                  <a:lnTo>
                    <a:pt x="299" y="328"/>
                  </a:lnTo>
                  <a:lnTo>
                    <a:pt x="299" y="313"/>
                  </a:lnTo>
                  <a:lnTo>
                    <a:pt x="299" y="298"/>
                  </a:lnTo>
                  <a:lnTo>
                    <a:pt x="294" y="294"/>
                  </a:lnTo>
                  <a:lnTo>
                    <a:pt x="299" y="291"/>
                  </a:lnTo>
                  <a:lnTo>
                    <a:pt x="302" y="290"/>
                  </a:lnTo>
                  <a:lnTo>
                    <a:pt x="305" y="288"/>
                  </a:lnTo>
                  <a:lnTo>
                    <a:pt x="309" y="284"/>
                  </a:lnTo>
                  <a:lnTo>
                    <a:pt x="310" y="280"/>
                  </a:lnTo>
                  <a:lnTo>
                    <a:pt x="313" y="278"/>
                  </a:lnTo>
                  <a:lnTo>
                    <a:pt x="317" y="275"/>
                  </a:lnTo>
                  <a:lnTo>
                    <a:pt x="317" y="272"/>
                  </a:lnTo>
                  <a:lnTo>
                    <a:pt x="333" y="270"/>
                  </a:lnTo>
                  <a:lnTo>
                    <a:pt x="347" y="269"/>
                  </a:lnTo>
                  <a:lnTo>
                    <a:pt x="348" y="265"/>
                  </a:lnTo>
                  <a:lnTo>
                    <a:pt x="351" y="263"/>
                  </a:lnTo>
                  <a:lnTo>
                    <a:pt x="355" y="262"/>
                  </a:lnTo>
                  <a:lnTo>
                    <a:pt x="358" y="261"/>
                  </a:lnTo>
                  <a:lnTo>
                    <a:pt x="360" y="254"/>
                  </a:lnTo>
                  <a:lnTo>
                    <a:pt x="365" y="248"/>
                  </a:lnTo>
                  <a:lnTo>
                    <a:pt x="370" y="240"/>
                  </a:lnTo>
                  <a:lnTo>
                    <a:pt x="378" y="233"/>
                  </a:lnTo>
                  <a:lnTo>
                    <a:pt x="393" y="220"/>
                  </a:lnTo>
                  <a:lnTo>
                    <a:pt x="403" y="213"/>
                  </a:lnTo>
                  <a:lnTo>
                    <a:pt x="407" y="206"/>
                  </a:lnTo>
                  <a:lnTo>
                    <a:pt x="413" y="201"/>
                  </a:lnTo>
                  <a:lnTo>
                    <a:pt x="417" y="197"/>
                  </a:lnTo>
                  <a:lnTo>
                    <a:pt x="420" y="196"/>
                  </a:lnTo>
                  <a:lnTo>
                    <a:pt x="425" y="194"/>
                  </a:lnTo>
                  <a:lnTo>
                    <a:pt x="429" y="194"/>
                  </a:lnTo>
                  <a:lnTo>
                    <a:pt x="433" y="191"/>
                  </a:lnTo>
                  <a:lnTo>
                    <a:pt x="441" y="177"/>
                  </a:lnTo>
                  <a:lnTo>
                    <a:pt x="447" y="164"/>
                  </a:lnTo>
                  <a:lnTo>
                    <a:pt x="452" y="160"/>
                  </a:lnTo>
                  <a:lnTo>
                    <a:pt x="455" y="156"/>
                  </a:lnTo>
                  <a:lnTo>
                    <a:pt x="462" y="153"/>
                  </a:lnTo>
                  <a:lnTo>
                    <a:pt x="466" y="149"/>
                  </a:lnTo>
                  <a:lnTo>
                    <a:pt x="467" y="140"/>
                  </a:lnTo>
                  <a:lnTo>
                    <a:pt x="468" y="130"/>
                  </a:lnTo>
                  <a:lnTo>
                    <a:pt x="470" y="119"/>
                  </a:lnTo>
                  <a:lnTo>
                    <a:pt x="470" y="108"/>
                  </a:lnTo>
                  <a:lnTo>
                    <a:pt x="464" y="104"/>
                  </a:lnTo>
                  <a:lnTo>
                    <a:pt x="453" y="95"/>
                  </a:lnTo>
                  <a:lnTo>
                    <a:pt x="446" y="90"/>
                  </a:lnTo>
                  <a:lnTo>
                    <a:pt x="439" y="86"/>
                  </a:lnTo>
                  <a:lnTo>
                    <a:pt x="433" y="83"/>
                  </a:lnTo>
                  <a:lnTo>
                    <a:pt x="425" y="82"/>
                  </a:lnTo>
                  <a:lnTo>
                    <a:pt x="420" y="78"/>
                  </a:lnTo>
                  <a:lnTo>
                    <a:pt x="414" y="76"/>
                  </a:lnTo>
                  <a:lnTo>
                    <a:pt x="407" y="75"/>
                  </a:lnTo>
                  <a:lnTo>
                    <a:pt x="399" y="73"/>
                  </a:lnTo>
                  <a:lnTo>
                    <a:pt x="382" y="72"/>
                  </a:lnTo>
                  <a:lnTo>
                    <a:pt x="369" y="71"/>
                  </a:lnTo>
                  <a:lnTo>
                    <a:pt x="360" y="68"/>
                  </a:lnTo>
                  <a:lnTo>
                    <a:pt x="349" y="66"/>
                  </a:lnTo>
                  <a:lnTo>
                    <a:pt x="338" y="63"/>
                  </a:lnTo>
                  <a:lnTo>
                    <a:pt x="328" y="63"/>
                  </a:lnTo>
                  <a:lnTo>
                    <a:pt x="324" y="60"/>
                  </a:lnTo>
                  <a:lnTo>
                    <a:pt x="322" y="56"/>
                  </a:lnTo>
                  <a:lnTo>
                    <a:pt x="321" y="52"/>
                  </a:lnTo>
                  <a:lnTo>
                    <a:pt x="315" y="50"/>
                  </a:lnTo>
                  <a:lnTo>
                    <a:pt x="310" y="49"/>
                  </a:lnTo>
                  <a:lnTo>
                    <a:pt x="310" y="41"/>
                  </a:lnTo>
                  <a:lnTo>
                    <a:pt x="305" y="38"/>
                  </a:lnTo>
                  <a:lnTo>
                    <a:pt x="299" y="33"/>
                  </a:lnTo>
                  <a:lnTo>
                    <a:pt x="299" y="25"/>
                  </a:lnTo>
                  <a:lnTo>
                    <a:pt x="291" y="19"/>
                  </a:lnTo>
                  <a:lnTo>
                    <a:pt x="283" y="11"/>
                  </a:lnTo>
                  <a:lnTo>
                    <a:pt x="283" y="3"/>
                  </a:lnTo>
                  <a:lnTo>
                    <a:pt x="269" y="0"/>
                  </a:lnTo>
                  <a:lnTo>
                    <a:pt x="265" y="8"/>
                  </a:lnTo>
                  <a:lnTo>
                    <a:pt x="263" y="14"/>
                  </a:lnTo>
                  <a:lnTo>
                    <a:pt x="259" y="20"/>
                  </a:lnTo>
                  <a:lnTo>
                    <a:pt x="254" y="25"/>
                  </a:lnTo>
                  <a:lnTo>
                    <a:pt x="254" y="33"/>
                  </a:lnTo>
                  <a:lnTo>
                    <a:pt x="246" y="38"/>
                  </a:lnTo>
                  <a:lnTo>
                    <a:pt x="244" y="42"/>
                  </a:lnTo>
                  <a:lnTo>
                    <a:pt x="241" y="50"/>
                  </a:lnTo>
                  <a:lnTo>
                    <a:pt x="235" y="57"/>
                  </a:lnTo>
                  <a:lnTo>
                    <a:pt x="232" y="60"/>
                  </a:lnTo>
                  <a:lnTo>
                    <a:pt x="232" y="67"/>
                  </a:lnTo>
                  <a:lnTo>
                    <a:pt x="230" y="68"/>
                  </a:lnTo>
                  <a:lnTo>
                    <a:pt x="228" y="69"/>
                  </a:lnTo>
                  <a:lnTo>
                    <a:pt x="227" y="71"/>
                  </a:lnTo>
                  <a:lnTo>
                    <a:pt x="227" y="75"/>
                  </a:lnTo>
                  <a:lnTo>
                    <a:pt x="225" y="77"/>
                  </a:lnTo>
                  <a:lnTo>
                    <a:pt x="223" y="82"/>
                  </a:lnTo>
                  <a:lnTo>
                    <a:pt x="222" y="85"/>
                  </a:lnTo>
                  <a:lnTo>
                    <a:pt x="221" y="87"/>
                  </a:lnTo>
                  <a:lnTo>
                    <a:pt x="218" y="89"/>
                  </a:lnTo>
                  <a:lnTo>
                    <a:pt x="216" y="89"/>
                  </a:lnTo>
                  <a:lnTo>
                    <a:pt x="216" y="98"/>
                  </a:lnTo>
                  <a:lnTo>
                    <a:pt x="215" y="106"/>
                  </a:lnTo>
                  <a:lnTo>
                    <a:pt x="213" y="115"/>
                  </a:lnTo>
                  <a:lnTo>
                    <a:pt x="213" y="123"/>
                  </a:lnTo>
                  <a:lnTo>
                    <a:pt x="221" y="130"/>
                  </a:lnTo>
                  <a:lnTo>
                    <a:pt x="221" y="142"/>
                  </a:lnTo>
                  <a:lnTo>
                    <a:pt x="223" y="143"/>
                  </a:lnTo>
                  <a:lnTo>
                    <a:pt x="223" y="144"/>
                  </a:lnTo>
                  <a:lnTo>
                    <a:pt x="224" y="146"/>
                  </a:lnTo>
                  <a:lnTo>
                    <a:pt x="224" y="149"/>
                  </a:lnTo>
                  <a:lnTo>
                    <a:pt x="233" y="159"/>
                  </a:lnTo>
                  <a:lnTo>
                    <a:pt x="243" y="167"/>
                  </a:lnTo>
                  <a:lnTo>
                    <a:pt x="243" y="172"/>
                  </a:lnTo>
                  <a:lnTo>
                    <a:pt x="245" y="178"/>
                  </a:lnTo>
                  <a:lnTo>
                    <a:pt x="247" y="182"/>
                  </a:lnTo>
                  <a:lnTo>
                    <a:pt x="249" y="184"/>
                  </a:lnTo>
                  <a:lnTo>
                    <a:pt x="251" y="186"/>
                  </a:lnTo>
                  <a:lnTo>
                    <a:pt x="254" y="186"/>
                  </a:lnTo>
                  <a:lnTo>
                    <a:pt x="254" y="193"/>
                  </a:lnTo>
                  <a:lnTo>
                    <a:pt x="255" y="194"/>
                  </a:lnTo>
                  <a:lnTo>
                    <a:pt x="256" y="195"/>
                  </a:lnTo>
                  <a:lnTo>
                    <a:pt x="257" y="202"/>
                  </a:lnTo>
                  <a:lnTo>
                    <a:pt x="260" y="202"/>
                  </a:lnTo>
                  <a:lnTo>
                    <a:pt x="262" y="203"/>
                  </a:lnTo>
                  <a:lnTo>
                    <a:pt x="263" y="204"/>
                  </a:lnTo>
                  <a:lnTo>
                    <a:pt x="264" y="205"/>
                  </a:lnTo>
                  <a:lnTo>
                    <a:pt x="265" y="210"/>
                  </a:lnTo>
                  <a:lnTo>
                    <a:pt x="265" y="213"/>
                  </a:lnTo>
                  <a:lnTo>
                    <a:pt x="269" y="214"/>
                  </a:lnTo>
                  <a:lnTo>
                    <a:pt x="272" y="216"/>
                  </a:lnTo>
                  <a:lnTo>
                    <a:pt x="272" y="224"/>
                  </a:lnTo>
                  <a:lnTo>
                    <a:pt x="274" y="224"/>
                  </a:lnTo>
                  <a:lnTo>
                    <a:pt x="276" y="225"/>
                  </a:lnTo>
                  <a:lnTo>
                    <a:pt x="276" y="227"/>
                  </a:lnTo>
                  <a:lnTo>
                    <a:pt x="274" y="230"/>
                  </a:lnTo>
                  <a:lnTo>
                    <a:pt x="272" y="231"/>
                  </a:lnTo>
                  <a:lnTo>
                    <a:pt x="271" y="235"/>
                  </a:lnTo>
                  <a:lnTo>
                    <a:pt x="269" y="239"/>
                  </a:lnTo>
                  <a:lnTo>
                    <a:pt x="269" y="242"/>
                  </a:lnTo>
                  <a:lnTo>
                    <a:pt x="269" y="244"/>
                  </a:lnTo>
                  <a:lnTo>
                    <a:pt x="269" y="246"/>
                  </a:lnTo>
                  <a:lnTo>
                    <a:pt x="267" y="250"/>
                  </a:lnTo>
                  <a:lnTo>
                    <a:pt x="264" y="255"/>
                  </a:lnTo>
                  <a:lnTo>
                    <a:pt x="261" y="261"/>
                  </a:lnTo>
                  <a:lnTo>
                    <a:pt x="257" y="264"/>
                  </a:lnTo>
                  <a:lnTo>
                    <a:pt x="257" y="269"/>
                  </a:lnTo>
                  <a:lnTo>
                    <a:pt x="257" y="272"/>
                  </a:lnTo>
                  <a:lnTo>
                    <a:pt x="254" y="275"/>
                  </a:lnTo>
                  <a:lnTo>
                    <a:pt x="245" y="272"/>
                  </a:lnTo>
                  <a:lnTo>
                    <a:pt x="234" y="269"/>
                  </a:lnTo>
                  <a:lnTo>
                    <a:pt x="225" y="265"/>
                  </a:lnTo>
                  <a:lnTo>
                    <a:pt x="221" y="264"/>
                  </a:lnTo>
                  <a:lnTo>
                    <a:pt x="207" y="258"/>
                  </a:lnTo>
                  <a:lnTo>
                    <a:pt x="194" y="250"/>
                  </a:lnTo>
                  <a:lnTo>
                    <a:pt x="188" y="248"/>
                  </a:lnTo>
                  <a:lnTo>
                    <a:pt x="180" y="244"/>
                  </a:lnTo>
                  <a:lnTo>
                    <a:pt x="174" y="243"/>
                  </a:lnTo>
                  <a:lnTo>
                    <a:pt x="168" y="242"/>
                  </a:lnTo>
                  <a:lnTo>
                    <a:pt x="167" y="240"/>
                  </a:lnTo>
                  <a:lnTo>
                    <a:pt x="166" y="237"/>
                  </a:lnTo>
                  <a:lnTo>
                    <a:pt x="164" y="235"/>
                  </a:lnTo>
                  <a:lnTo>
                    <a:pt x="160" y="235"/>
                  </a:lnTo>
                  <a:lnTo>
                    <a:pt x="155" y="229"/>
                  </a:lnTo>
                  <a:lnTo>
                    <a:pt x="149" y="220"/>
                  </a:lnTo>
                  <a:lnTo>
                    <a:pt x="142" y="214"/>
                  </a:lnTo>
                  <a:lnTo>
                    <a:pt x="132" y="202"/>
                  </a:lnTo>
                  <a:lnTo>
                    <a:pt x="123" y="188"/>
                  </a:lnTo>
                  <a:lnTo>
                    <a:pt x="119" y="183"/>
                  </a:lnTo>
                  <a:lnTo>
                    <a:pt x="107" y="181"/>
                  </a:lnTo>
                  <a:lnTo>
                    <a:pt x="93" y="178"/>
                  </a:lnTo>
                  <a:lnTo>
                    <a:pt x="90" y="172"/>
                  </a:lnTo>
                  <a:lnTo>
                    <a:pt x="86" y="171"/>
                  </a:lnTo>
                  <a:lnTo>
                    <a:pt x="79" y="169"/>
                  </a:lnTo>
                  <a:lnTo>
                    <a:pt x="73" y="167"/>
                  </a:lnTo>
                  <a:lnTo>
                    <a:pt x="71" y="164"/>
                  </a:lnTo>
                  <a:lnTo>
                    <a:pt x="63" y="164"/>
                  </a:lnTo>
                  <a:lnTo>
                    <a:pt x="63" y="162"/>
                  </a:lnTo>
                  <a:lnTo>
                    <a:pt x="63" y="160"/>
                  </a:lnTo>
                  <a:lnTo>
                    <a:pt x="62" y="160"/>
                  </a:lnTo>
                  <a:lnTo>
                    <a:pt x="60" y="160"/>
                  </a:lnTo>
                  <a:lnTo>
                    <a:pt x="55" y="159"/>
                  </a:lnTo>
                  <a:lnTo>
                    <a:pt x="49" y="15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0" name="Freeform 77"/>
            <p:cNvSpPr>
              <a:spLocks noChangeAspect="1"/>
            </p:cNvSpPr>
            <p:nvPr/>
          </p:nvSpPr>
          <p:spPr bwMode="gray">
            <a:xfrm rot="355651">
              <a:off x="7478713" y="4478338"/>
              <a:ext cx="82521" cy="75587"/>
            </a:xfrm>
            <a:custGeom>
              <a:avLst/>
              <a:gdLst/>
              <a:ahLst/>
              <a:cxnLst>
                <a:cxn ang="0">
                  <a:pos x="27" y="182"/>
                </a:cxn>
                <a:cxn ang="0">
                  <a:pos x="4" y="243"/>
                </a:cxn>
                <a:cxn ang="0">
                  <a:pos x="11" y="283"/>
                </a:cxn>
                <a:cxn ang="0">
                  <a:pos x="27" y="301"/>
                </a:cxn>
                <a:cxn ang="0">
                  <a:pos x="38" y="331"/>
                </a:cxn>
                <a:cxn ang="0">
                  <a:pos x="63" y="370"/>
                </a:cxn>
                <a:cxn ang="0">
                  <a:pos x="52" y="400"/>
                </a:cxn>
                <a:cxn ang="0">
                  <a:pos x="63" y="428"/>
                </a:cxn>
                <a:cxn ang="0">
                  <a:pos x="82" y="415"/>
                </a:cxn>
                <a:cxn ang="0">
                  <a:pos x="107" y="422"/>
                </a:cxn>
                <a:cxn ang="0">
                  <a:pos x="135" y="477"/>
                </a:cxn>
                <a:cxn ang="0">
                  <a:pos x="153" y="481"/>
                </a:cxn>
                <a:cxn ang="0">
                  <a:pos x="170" y="464"/>
                </a:cxn>
                <a:cxn ang="0">
                  <a:pos x="206" y="436"/>
                </a:cxn>
                <a:cxn ang="0">
                  <a:pos x="230" y="406"/>
                </a:cxn>
                <a:cxn ang="0">
                  <a:pos x="254" y="385"/>
                </a:cxn>
                <a:cxn ang="0">
                  <a:pos x="269" y="358"/>
                </a:cxn>
                <a:cxn ang="0">
                  <a:pos x="283" y="339"/>
                </a:cxn>
                <a:cxn ang="0">
                  <a:pos x="294" y="330"/>
                </a:cxn>
                <a:cxn ang="0">
                  <a:pos x="299" y="291"/>
                </a:cxn>
                <a:cxn ang="0">
                  <a:pos x="313" y="278"/>
                </a:cxn>
                <a:cxn ang="0">
                  <a:pos x="348" y="265"/>
                </a:cxn>
                <a:cxn ang="0">
                  <a:pos x="365" y="248"/>
                </a:cxn>
                <a:cxn ang="0">
                  <a:pos x="407" y="206"/>
                </a:cxn>
                <a:cxn ang="0">
                  <a:pos x="429" y="194"/>
                </a:cxn>
                <a:cxn ang="0">
                  <a:pos x="455" y="156"/>
                </a:cxn>
                <a:cxn ang="0">
                  <a:pos x="470" y="119"/>
                </a:cxn>
                <a:cxn ang="0">
                  <a:pos x="439" y="86"/>
                </a:cxn>
                <a:cxn ang="0">
                  <a:pos x="407" y="75"/>
                </a:cxn>
                <a:cxn ang="0">
                  <a:pos x="349" y="66"/>
                </a:cxn>
                <a:cxn ang="0">
                  <a:pos x="321" y="52"/>
                </a:cxn>
                <a:cxn ang="0">
                  <a:pos x="299" y="33"/>
                </a:cxn>
                <a:cxn ang="0">
                  <a:pos x="269" y="0"/>
                </a:cxn>
                <a:cxn ang="0">
                  <a:pos x="254" y="33"/>
                </a:cxn>
                <a:cxn ang="0">
                  <a:pos x="232" y="60"/>
                </a:cxn>
                <a:cxn ang="0">
                  <a:pos x="227" y="75"/>
                </a:cxn>
                <a:cxn ang="0">
                  <a:pos x="218" y="89"/>
                </a:cxn>
                <a:cxn ang="0">
                  <a:pos x="213" y="123"/>
                </a:cxn>
                <a:cxn ang="0">
                  <a:pos x="224" y="146"/>
                </a:cxn>
                <a:cxn ang="0">
                  <a:pos x="245" y="178"/>
                </a:cxn>
                <a:cxn ang="0">
                  <a:pos x="254" y="193"/>
                </a:cxn>
                <a:cxn ang="0">
                  <a:pos x="262" y="203"/>
                </a:cxn>
                <a:cxn ang="0">
                  <a:pos x="269" y="214"/>
                </a:cxn>
                <a:cxn ang="0">
                  <a:pos x="276" y="227"/>
                </a:cxn>
                <a:cxn ang="0">
                  <a:pos x="269" y="242"/>
                </a:cxn>
                <a:cxn ang="0">
                  <a:pos x="261" y="261"/>
                </a:cxn>
                <a:cxn ang="0">
                  <a:pos x="245" y="272"/>
                </a:cxn>
                <a:cxn ang="0">
                  <a:pos x="194" y="250"/>
                </a:cxn>
                <a:cxn ang="0">
                  <a:pos x="167" y="240"/>
                </a:cxn>
                <a:cxn ang="0">
                  <a:pos x="149" y="220"/>
                </a:cxn>
                <a:cxn ang="0">
                  <a:pos x="107" y="181"/>
                </a:cxn>
                <a:cxn ang="0">
                  <a:pos x="73" y="167"/>
                </a:cxn>
                <a:cxn ang="0">
                  <a:pos x="62" y="160"/>
                </a:cxn>
              </a:cxnLst>
              <a:rect l="0" t="0" r="r" b="b"/>
              <a:pathLst>
                <a:path w="470" h="481">
                  <a:moveTo>
                    <a:pt x="49" y="156"/>
                  </a:moveTo>
                  <a:lnTo>
                    <a:pt x="42" y="163"/>
                  </a:lnTo>
                  <a:lnTo>
                    <a:pt x="36" y="168"/>
                  </a:lnTo>
                  <a:lnTo>
                    <a:pt x="32" y="175"/>
                  </a:lnTo>
                  <a:lnTo>
                    <a:pt x="27" y="182"/>
                  </a:lnTo>
                  <a:lnTo>
                    <a:pt x="22" y="195"/>
                  </a:lnTo>
                  <a:lnTo>
                    <a:pt x="19" y="208"/>
                  </a:lnTo>
                  <a:lnTo>
                    <a:pt x="16" y="217"/>
                  </a:lnTo>
                  <a:lnTo>
                    <a:pt x="11" y="231"/>
                  </a:lnTo>
                  <a:lnTo>
                    <a:pt x="4" y="243"/>
                  </a:lnTo>
                  <a:lnTo>
                    <a:pt x="0" y="250"/>
                  </a:lnTo>
                  <a:lnTo>
                    <a:pt x="2" y="259"/>
                  </a:lnTo>
                  <a:lnTo>
                    <a:pt x="4" y="267"/>
                  </a:lnTo>
                  <a:lnTo>
                    <a:pt x="7" y="275"/>
                  </a:lnTo>
                  <a:lnTo>
                    <a:pt x="11" y="283"/>
                  </a:lnTo>
                  <a:lnTo>
                    <a:pt x="20" y="289"/>
                  </a:lnTo>
                  <a:lnTo>
                    <a:pt x="26" y="294"/>
                  </a:lnTo>
                  <a:lnTo>
                    <a:pt x="26" y="298"/>
                  </a:lnTo>
                  <a:lnTo>
                    <a:pt x="26" y="300"/>
                  </a:lnTo>
                  <a:lnTo>
                    <a:pt x="27" y="301"/>
                  </a:lnTo>
                  <a:lnTo>
                    <a:pt x="30" y="302"/>
                  </a:lnTo>
                  <a:lnTo>
                    <a:pt x="30" y="313"/>
                  </a:lnTo>
                  <a:lnTo>
                    <a:pt x="38" y="320"/>
                  </a:lnTo>
                  <a:lnTo>
                    <a:pt x="38" y="326"/>
                  </a:lnTo>
                  <a:lnTo>
                    <a:pt x="38" y="331"/>
                  </a:lnTo>
                  <a:lnTo>
                    <a:pt x="41" y="339"/>
                  </a:lnTo>
                  <a:lnTo>
                    <a:pt x="52" y="350"/>
                  </a:lnTo>
                  <a:lnTo>
                    <a:pt x="63" y="361"/>
                  </a:lnTo>
                  <a:lnTo>
                    <a:pt x="63" y="366"/>
                  </a:lnTo>
                  <a:lnTo>
                    <a:pt x="63" y="370"/>
                  </a:lnTo>
                  <a:lnTo>
                    <a:pt x="62" y="375"/>
                  </a:lnTo>
                  <a:lnTo>
                    <a:pt x="60" y="377"/>
                  </a:lnTo>
                  <a:lnTo>
                    <a:pt x="60" y="388"/>
                  </a:lnTo>
                  <a:lnTo>
                    <a:pt x="52" y="392"/>
                  </a:lnTo>
                  <a:lnTo>
                    <a:pt x="52" y="400"/>
                  </a:lnTo>
                  <a:lnTo>
                    <a:pt x="52" y="410"/>
                  </a:lnTo>
                  <a:lnTo>
                    <a:pt x="52" y="419"/>
                  </a:lnTo>
                  <a:lnTo>
                    <a:pt x="52" y="428"/>
                  </a:lnTo>
                  <a:lnTo>
                    <a:pt x="58" y="428"/>
                  </a:lnTo>
                  <a:lnTo>
                    <a:pt x="63" y="428"/>
                  </a:lnTo>
                  <a:lnTo>
                    <a:pt x="68" y="423"/>
                  </a:lnTo>
                  <a:lnTo>
                    <a:pt x="71" y="417"/>
                  </a:lnTo>
                  <a:lnTo>
                    <a:pt x="79" y="417"/>
                  </a:lnTo>
                  <a:lnTo>
                    <a:pt x="79" y="416"/>
                  </a:lnTo>
                  <a:lnTo>
                    <a:pt x="82" y="415"/>
                  </a:lnTo>
                  <a:lnTo>
                    <a:pt x="86" y="415"/>
                  </a:lnTo>
                  <a:lnTo>
                    <a:pt x="90" y="414"/>
                  </a:lnTo>
                  <a:lnTo>
                    <a:pt x="99" y="414"/>
                  </a:lnTo>
                  <a:lnTo>
                    <a:pt x="105" y="414"/>
                  </a:lnTo>
                  <a:lnTo>
                    <a:pt x="107" y="422"/>
                  </a:lnTo>
                  <a:lnTo>
                    <a:pt x="110" y="431"/>
                  </a:lnTo>
                  <a:lnTo>
                    <a:pt x="113" y="442"/>
                  </a:lnTo>
                  <a:lnTo>
                    <a:pt x="116" y="451"/>
                  </a:lnTo>
                  <a:lnTo>
                    <a:pt x="125" y="463"/>
                  </a:lnTo>
                  <a:lnTo>
                    <a:pt x="135" y="477"/>
                  </a:lnTo>
                  <a:lnTo>
                    <a:pt x="141" y="477"/>
                  </a:lnTo>
                  <a:lnTo>
                    <a:pt x="142" y="480"/>
                  </a:lnTo>
                  <a:lnTo>
                    <a:pt x="146" y="481"/>
                  </a:lnTo>
                  <a:lnTo>
                    <a:pt x="149" y="481"/>
                  </a:lnTo>
                  <a:lnTo>
                    <a:pt x="153" y="481"/>
                  </a:lnTo>
                  <a:lnTo>
                    <a:pt x="154" y="479"/>
                  </a:lnTo>
                  <a:lnTo>
                    <a:pt x="156" y="476"/>
                  </a:lnTo>
                  <a:lnTo>
                    <a:pt x="158" y="474"/>
                  </a:lnTo>
                  <a:lnTo>
                    <a:pt x="161" y="471"/>
                  </a:lnTo>
                  <a:lnTo>
                    <a:pt x="170" y="464"/>
                  </a:lnTo>
                  <a:lnTo>
                    <a:pt x="180" y="457"/>
                  </a:lnTo>
                  <a:lnTo>
                    <a:pt x="192" y="451"/>
                  </a:lnTo>
                  <a:lnTo>
                    <a:pt x="201" y="443"/>
                  </a:lnTo>
                  <a:lnTo>
                    <a:pt x="204" y="439"/>
                  </a:lnTo>
                  <a:lnTo>
                    <a:pt x="206" y="436"/>
                  </a:lnTo>
                  <a:lnTo>
                    <a:pt x="208" y="433"/>
                  </a:lnTo>
                  <a:lnTo>
                    <a:pt x="209" y="428"/>
                  </a:lnTo>
                  <a:lnTo>
                    <a:pt x="216" y="425"/>
                  </a:lnTo>
                  <a:lnTo>
                    <a:pt x="216" y="417"/>
                  </a:lnTo>
                  <a:lnTo>
                    <a:pt x="230" y="406"/>
                  </a:lnTo>
                  <a:lnTo>
                    <a:pt x="238" y="395"/>
                  </a:lnTo>
                  <a:lnTo>
                    <a:pt x="244" y="394"/>
                  </a:lnTo>
                  <a:lnTo>
                    <a:pt x="250" y="392"/>
                  </a:lnTo>
                  <a:lnTo>
                    <a:pt x="251" y="388"/>
                  </a:lnTo>
                  <a:lnTo>
                    <a:pt x="254" y="385"/>
                  </a:lnTo>
                  <a:lnTo>
                    <a:pt x="257" y="381"/>
                  </a:lnTo>
                  <a:lnTo>
                    <a:pt x="261" y="380"/>
                  </a:lnTo>
                  <a:lnTo>
                    <a:pt x="261" y="373"/>
                  </a:lnTo>
                  <a:lnTo>
                    <a:pt x="269" y="366"/>
                  </a:lnTo>
                  <a:lnTo>
                    <a:pt x="269" y="358"/>
                  </a:lnTo>
                  <a:lnTo>
                    <a:pt x="272" y="356"/>
                  </a:lnTo>
                  <a:lnTo>
                    <a:pt x="275" y="351"/>
                  </a:lnTo>
                  <a:lnTo>
                    <a:pt x="279" y="347"/>
                  </a:lnTo>
                  <a:lnTo>
                    <a:pt x="280" y="344"/>
                  </a:lnTo>
                  <a:lnTo>
                    <a:pt x="283" y="339"/>
                  </a:lnTo>
                  <a:lnTo>
                    <a:pt x="286" y="339"/>
                  </a:lnTo>
                  <a:lnTo>
                    <a:pt x="289" y="337"/>
                  </a:lnTo>
                  <a:lnTo>
                    <a:pt x="290" y="335"/>
                  </a:lnTo>
                  <a:lnTo>
                    <a:pt x="291" y="331"/>
                  </a:lnTo>
                  <a:lnTo>
                    <a:pt x="294" y="330"/>
                  </a:lnTo>
                  <a:lnTo>
                    <a:pt x="299" y="328"/>
                  </a:lnTo>
                  <a:lnTo>
                    <a:pt x="299" y="313"/>
                  </a:lnTo>
                  <a:lnTo>
                    <a:pt x="299" y="298"/>
                  </a:lnTo>
                  <a:lnTo>
                    <a:pt x="294" y="294"/>
                  </a:lnTo>
                  <a:lnTo>
                    <a:pt x="299" y="291"/>
                  </a:lnTo>
                  <a:lnTo>
                    <a:pt x="302" y="290"/>
                  </a:lnTo>
                  <a:lnTo>
                    <a:pt x="305" y="288"/>
                  </a:lnTo>
                  <a:lnTo>
                    <a:pt x="309" y="284"/>
                  </a:lnTo>
                  <a:lnTo>
                    <a:pt x="310" y="280"/>
                  </a:lnTo>
                  <a:lnTo>
                    <a:pt x="313" y="278"/>
                  </a:lnTo>
                  <a:lnTo>
                    <a:pt x="317" y="275"/>
                  </a:lnTo>
                  <a:lnTo>
                    <a:pt x="317" y="272"/>
                  </a:lnTo>
                  <a:lnTo>
                    <a:pt x="333" y="270"/>
                  </a:lnTo>
                  <a:lnTo>
                    <a:pt x="347" y="269"/>
                  </a:lnTo>
                  <a:lnTo>
                    <a:pt x="348" y="265"/>
                  </a:lnTo>
                  <a:lnTo>
                    <a:pt x="351" y="263"/>
                  </a:lnTo>
                  <a:lnTo>
                    <a:pt x="355" y="262"/>
                  </a:lnTo>
                  <a:lnTo>
                    <a:pt x="358" y="261"/>
                  </a:lnTo>
                  <a:lnTo>
                    <a:pt x="360" y="254"/>
                  </a:lnTo>
                  <a:lnTo>
                    <a:pt x="365" y="248"/>
                  </a:lnTo>
                  <a:lnTo>
                    <a:pt x="370" y="240"/>
                  </a:lnTo>
                  <a:lnTo>
                    <a:pt x="378" y="233"/>
                  </a:lnTo>
                  <a:lnTo>
                    <a:pt x="393" y="220"/>
                  </a:lnTo>
                  <a:lnTo>
                    <a:pt x="403" y="213"/>
                  </a:lnTo>
                  <a:lnTo>
                    <a:pt x="407" y="206"/>
                  </a:lnTo>
                  <a:lnTo>
                    <a:pt x="413" y="201"/>
                  </a:lnTo>
                  <a:lnTo>
                    <a:pt x="417" y="197"/>
                  </a:lnTo>
                  <a:lnTo>
                    <a:pt x="420" y="196"/>
                  </a:lnTo>
                  <a:lnTo>
                    <a:pt x="425" y="194"/>
                  </a:lnTo>
                  <a:lnTo>
                    <a:pt x="429" y="194"/>
                  </a:lnTo>
                  <a:lnTo>
                    <a:pt x="433" y="191"/>
                  </a:lnTo>
                  <a:lnTo>
                    <a:pt x="441" y="177"/>
                  </a:lnTo>
                  <a:lnTo>
                    <a:pt x="447" y="164"/>
                  </a:lnTo>
                  <a:lnTo>
                    <a:pt x="452" y="160"/>
                  </a:lnTo>
                  <a:lnTo>
                    <a:pt x="455" y="156"/>
                  </a:lnTo>
                  <a:lnTo>
                    <a:pt x="462" y="153"/>
                  </a:lnTo>
                  <a:lnTo>
                    <a:pt x="466" y="149"/>
                  </a:lnTo>
                  <a:lnTo>
                    <a:pt x="467" y="140"/>
                  </a:lnTo>
                  <a:lnTo>
                    <a:pt x="468" y="130"/>
                  </a:lnTo>
                  <a:lnTo>
                    <a:pt x="470" y="119"/>
                  </a:lnTo>
                  <a:lnTo>
                    <a:pt x="470" y="108"/>
                  </a:lnTo>
                  <a:lnTo>
                    <a:pt x="464" y="104"/>
                  </a:lnTo>
                  <a:lnTo>
                    <a:pt x="453" y="95"/>
                  </a:lnTo>
                  <a:lnTo>
                    <a:pt x="446" y="90"/>
                  </a:lnTo>
                  <a:lnTo>
                    <a:pt x="439" y="86"/>
                  </a:lnTo>
                  <a:lnTo>
                    <a:pt x="433" y="83"/>
                  </a:lnTo>
                  <a:lnTo>
                    <a:pt x="425" y="82"/>
                  </a:lnTo>
                  <a:lnTo>
                    <a:pt x="420" y="78"/>
                  </a:lnTo>
                  <a:lnTo>
                    <a:pt x="414" y="76"/>
                  </a:lnTo>
                  <a:lnTo>
                    <a:pt x="407" y="75"/>
                  </a:lnTo>
                  <a:lnTo>
                    <a:pt x="399" y="73"/>
                  </a:lnTo>
                  <a:lnTo>
                    <a:pt x="382" y="72"/>
                  </a:lnTo>
                  <a:lnTo>
                    <a:pt x="369" y="71"/>
                  </a:lnTo>
                  <a:lnTo>
                    <a:pt x="360" y="68"/>
                  </a:lnTo>
                  <a:lnTo>
                    <a:pt x="349" y="66"/>
                  </a:lnTo>
                  <a:lnTo>
                    <a:pt x="338" y="63"/>
                  </a:lnTo>
                  <a:lnTo>
                    <a:pt x="328" y="63"/>
                  </a:lnTo>
                  <a:lnTo>
                    <a:pt x="324" y="60"/>
                  </a:lnTo>
                  <a:lnTo>
                    <a:pt x="322" y="56"/>
                  </a:lnTo>
                  <a:lnTo>
                    <a:pt x="321" y="52"/>
                  </a:lnTo>
                  <a:lnTo>
                    <a:pt x="315" y="50"/>
                  </a:lnTo>
                  <a:lnTo>
                    <a:pt x="310" y="49"/>
                  </a:lnTo>
                  <a:lnTo>
                    <a:pt x="310" y="41"/>
                  </a:lnTo>
                  <a:lnTo>
                    <a:pt x="305" y="38"/>
                  </a:lnTo>
                  <a:lnTo>
                    <a:pt x="299" y="33"/>
                  </a:lnTo>
                  <a:lnTo>
                    <a:pt x="299" y="25"/>
                  </a:lnTo>
                  <a:lnTo>
                    <a:pt x="291" y="19"/>
                  </a:lnTo>
                  <a:lnTo>
                    <a:pt x="283" y="11"/>
                  </a:lnTo>
                  <a:lnTo>
                    <a:pt x="283" y="3"/>
                  </a:lnTo>
                  <a:lnTo>
                    <a:pt x="269" y="0"/>
                  </a:lnTo>
                  <a:lnTo>
                    <a:pt x="265" y="8"/>
                  </a:lnTo>
                  <a:lnTo>
                    <a:pt x="263" y="14"/>
                  </a:lnTo>
                  <a:lnTo>
                    <a:pt x="259" y="20"/>
                  </a:lnTo>
                  <a:lnTo>
                    <a:pt x="254" y="25"/>
                  </a:lnTo>
                  <a:lnTo>
                    <a:pt x="254" y="33"/>
                  </a:lnTo>
                  <a:lnTo>
                    <a:pt x="246" y="38"/>
                  </a:lnTo>
                  <a:lnTo>
                    <a:pt x="244" y="42"/>
                  </a:lnTo>
                  <a:lnTo>
                    <a:pt x="241" y="50"/>
                  </a:lnTo>
                  <a:lnTo>
                    <a:pt x="235" y="57"/>
                  </a:lnTo>
                  <a:lnTo>
                    <a:pt x="232" y="60"/>
                  </a:lnTo>
                  <a:lnTo>
                    <a:pt x="232" y="67"/>
                  </a:lnTo>
                  <a:lnTo>
                    <a:pt x="230" y="68"/>
                  </a:lnTo>
                  <a:lnTo>
                    <a:pt x="228" y="69"/>
                  </a:lnTo>
                  <a:lnTo>
                    <a:pt x="227" y="71"/>
                  </a:lnTo>
                  <a:lnTo>
                    <a:pt x="227" y="75"/>
                  </a:lnTo>
                  <a:lnTo>
                    <a:pt x="225" y="77"/>
                  </a:lnTo>
                  <a:lnTo>
                    <a:pt x="223" y="82"/>
                  </a:lnTo>
                  <a:lnTo>
                    <a:pt x="222" y="85"/>
                  </a:lnTo>
                  <a:lnTo>
                    <a:pt x="221" y="87"/>
                  </a:lnTo>
                  <a:lnTo>
                    <a:pt x="218" y="89"/>
                  </a:lnTo>
                  <a:lnTo>
                    <a:pt x="216" y="89"/>
                  </a:lnTo>
                  <a:lnTo>
                    <a:pt x="216" y="98"/>
                  </a:lnTo>
                  <a:lnTo>
                    <a:pt x="215" y="106"/>
                  </a:lnTo>
                  <a:lnTo>
                    <a:pt x="213" y="115"/>
                  </a:lnTo>
                  <a:lnTo>
                    <a:pt x="213" y="123"/>
                  </a:lnTo>
                  <a:lnTo>
                    <a:pt x="221" y="130"/>
                  </a:lnTo>
                  <a:lnTo>
                    <a:pt x="221" y="142"/>
                  </a:lnTo>
                  <a:lnTo>
                    <a:pt x="223" y="143"/>
                  </a:lnTo>
                  <a:lnTo>
                    <a:pt x="223" y="144"/>
                  </a:lnTo>
                  <a:lnTo>
                    <a:pt x="224" y="146"/>
                  </a:lnTo>
                  <a:lnTo>
                    <a:pt x="224" y="149"/>
                  </a:lnTo>
                  <a:lnTo>
                    <a:pt x="233" y="159"/>
                  </a:lnTo>
                  <a:lnTo>
                    <a:pt x="243" y="167"/>
                  </a:lnTo>
                  <a:lnTo>
                    <a:pt x="243" y="172"/>
                  </a:lnTo>
                  <a:lnTo>
                    <a:pt x="245" y="178"/>
                  </a:lnTo>
                  <a:lnTo>
                    <a:pt x="247" y="182"/>
                  </a:lnTo>
                  <a:lnTo>
                    <a:pt x="249" y="184"/>
                  </a:lnTo>
                  <a:lnTo>
                    <a:pt x="251" y="186"/>
                  </a:lnTo>
                  <a:lnTo>
                    <a:pt x="254" y="186"/>
                  </a:lnTo>
                  <a:lnTo>
                    <a:pt x="254" y="193"/>
                  </a:lnTo>
                  <a:lnTo>
                    <a:pt x="255" y="194"/>
                  </a:lnTo>
                  <a:lnTo>
                    <a:pt x="256" y="195"/>
                  </a:lnTo>
                  <a:lnTo>
                    <a:pt x="257" y="202"/>
                  </a:lnTo>
                  <a:lnTo>
                    <a:pt x="260" y="202"/>
                  </a:lnTo>
                  <a:lnTo>
                    <a:pt x="262" y="203"/>
                  </a:lnTo>
                  <a:lnTo>
                    <a:pt x="263" y="204"/>
                  </a:lnTo>
                  <a:lnTo>
                    <a:pt x="264" y="205"/>
                  </a:lnTo>
                  <a:lnTo>
                    <a:pt x="265" y="210"/>
                  </a:lnTo>
                  <a:lnTo>
                    <a:pt x="265" y="213"/>
                  </a:lnTo>
                  <a:lnTo>
                    <a:pt x="269" y="214"/>
                  </a:lnTo>
                  <a:lnTo>
                    <a:pt x="272" y="216"/>
                  </a:lnTo>
                  <a:lnTo>
                    <a:pt x="272" y="224"/>
                  </a:lnTo>
                  <a:lnTo>
                    <a:pt x="274" y="224"/>
                  </a:lnTo>
                  <a:lnTo>
                    <a:pt x="276" y="225"/>
                  </a:lnTo>
                  <a:lnTo>
                    <a:pt x="276" y="227"/>
                  </a:lnTo>
                  <a:lnTo>
                    <a:pt x="274" y="230"/>
                  </a:lnTo>
                  <a:lnTo>
                    <a:pt x="272" y="231"/>
                  </a:lnTo>
                  <a:lnTo>
                    <a:pt x="271" y="235"/>
                  </a:lnTo>
                  <a:lnTo>
                    <a:pt x="269" y="239"/>
                  </a:lnTo>
                  <a:lnTo>
                    <a:pt x="269" y="242"/>
                  </a:lnTo>
                  <a:lnTo>
                    <a:pt x="269" y="244"/>
                  </a:lnTo>
                  <a:lnTo>
                    <a:pt x="269" y="246"/>
                  </a:lnTo>
                  <a:lnTo>
                    <a:pt x="267" y="250"/>
                  </a:lnTo>
                  <a:lnTo>
                    <a:pt x="264" y="255"/>
                  </a:lnTo>
                  <a:lnTo>
                    <a:pt x="261" y="261"/>
                  </a:lnTo>
                  <a:lnTo>
                    <a:pt x="257" y="264"/>
                  </a:lnTo>
                  <a:lnTo>
                    <a:pt x="257" y="269"/>
                  </a:lnTo>
                  <a:lnTo>
                    <a:pt x="257" y="272"/>
                  </a:lnTo>
                  <a:lnTo>
                    <a:pt x="254" y="275"/>
                  </a:lnTo>
                  <a:lnTo>
                    <a:pt x="245" y="272"/>
                  </a:lnTo>
                  <a:lnTo>
                    <a:pt x="234" y="269"/>
                  </a:lnTo>
                  <a:lnTo>
                    <a:pt x="225" y="265"/>
                  </a:lnTo>
                  <a:lnTo>
                    <a:pt x="221" y="264"/>
                  </a:lnTo>
                  <a:lnTo>
                    <a:pt x="207" y="258"/>
                  </a:lnTo>
                  <a:lnTo>
                    <a:pt x="194" y="250"/>
                  </a:lnTo>
                  <a:lnTo>
                    <a:pt x="188" y="248"/>
                  </a:lnTo>
                  <a:lnTo>
                    <a:pt x="180" y="244"/>
                  </a:lnTo>
                  <a:lnTo>
                    <a:pt x="174" y="243"/>
                  </a:lnTo>
                  <a:lnTo>
                    <a:pt x="168" y="242"/>
                  </a:lnTo>
                  <a:lnTo>
                    <a:pt x="167" y="240"/>
                  </a:lnTo>
                  <a:lnTo>
                    <a:pt x="166" y="237"/>
                  </a:lnTo>
                  <a:lnTo>
                    <a:pt x="164" y="235"/>
                  </a:lnTo>
                  <a:lnTo>
                    <a:pt x="160" y="235"/>
                  </a:lnTo>
                  <a:lnTo>
                    <a:pt x="155" y="229"/>
                  </a:lnTo>
                  <a:lnTo>
                    <a:pt x="149" y="220"/>
                  </a:lnTo>
                  <a:lnTo>
                    <a:pt x="142" y="214"/>
                  </a:lnTo>
                  <a:lnTo>
                    <a:pt x="132" y="202"/>
                  </a:lnTo>
                  <a:lnTo>
                    <a:pt x="123" y="188"/>
                  </a:lnTo>
                  <a:lnTo>
                    <a:pt x="119" y="183"/>
                  </a:lnTo>
                  <a:lnTo>
                    <a:pt x="107" y="181"/>
                  </a:lnTo>
                  <a:lnTo>
                    <a:pt x="93" y="178"/>
                  </a:lnTo>
                  <a:lnTo>
                    <a:pt x="90" y="172"/>
                  </a:lnTo>
                  <a:lnTo>
                    <a:pt x="86" y="171"/>
                  </a:lnTo>
                  <a:lnTo>
                    <a:pt x="79" y="169"/>
                  </a:lnTo>
                  <a:lnTo>
                    <a:pt x="73" y="167"/>
                  </a:lnTo>
                  <a:lnTo>
                    <a:pt x="71" y="164"/>
                  </a:lnTo>
                  <a:lnTo>
                    <a:pt x="63" y="164"/>
                  </a:lnTo>
                  <a:lnTo>
                    <a:pt x="63" y="162"/>
                  </a:lnTo>
                  <a:lnTo>
                    <a:pt x="63" y="160"/>
                  </a:lnTo>
                  <a:lnTo>
                    <a:pt x="62" y="160"/>
                  </a:lnTo>
                  <a:lnTo>
                    <a:pt x="60" y="160"/>
                  </a:lnTo>
                  <a:lnTo>
                    <a:pt x="55" y="159"/>
                  </a:lnTo>
                  <a:lnTo>
                    <a:pt x="49" y="15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1" name="Freeform 78"/>
            <p:cNvSpPr>
              <a:spLocks noChangeAspect="1"/>
            </p:cNvSpPr>
            <p:nvPr/>
          </p:nvSpPr>
          <p:spPr bwMode="gray">
            <a:xfrm rot="355651">
              <a:off x="7277575" y="4538663"/>
              <a:ext cx="49725" cy="51101"/>
            </a:xfrm>
            <a:custGeom>
              <a:avLst/>
              <a:gdLst/>
              <a:ahLst/>
              <a:cxnLst>
                <a:cxn ang="0">
                  <a:pos x="19" y="25"/>
                </a:cxn>
                <a:cxn ang="0">
                  <a:pos x="9" y="44"/>
                </a:cxn>
                <a:cxn ang="0">
                  <a:pos x="3" y="64"/>
                </a:cxn>
                <a:cxn ang="0">
                  <a:pos x="1" y="85"/>
                </a:cxn>
                <a:cxn ang="0">
                  <a:pos x="0" y="113"/>
                </a:cxn>
                <a:cxn ang="0">
                  <a:pos x="2" y="141"/>
                </a:cxn>
                <a:cxn ang="0">
                  <a:pos x="8" y="156"/>
                </a:cxn>
                <a:cxn ang="0">
                  <a:pos x="15" y="175"/>
                </a:cxn>
                <a:cxn ang="0">
                  <a:pos x="20" y="214"/>
                </a:cxn>
                <a:cxn ang="0">
                  <a:pos x="27" y="246"/>
                </a:cxn>
                <a:cxn ang="0">
                  <a:pos x="40" y="286"/>
                </a:cxn>
                <a:cxn ang="0">
                  <a:pos x="48" y="303"/>
                </a:cxn>
                <a:cxn ang="0">
                  <a:pos x="53" y="308"/>
                </a:cxn>
                <a:cxn ang="0">
                  <a:pos x="59" y="323"/>
                </a:cxn>
                <a:cxn ang="0">
                  <a:pos x="66" y="327"/>
                </a:cxn>
                <a:cxn ang="0">
                  <a:pos x="72" y="335"/>
                </a:cxn>
                <a:cxn ang="0">
                  <a:pos x="102" y="335"/>
                </a:cxn>
                <a:cxn ang="0">
                  <a:pos x="122" y="325"/>
                </a:cxn>
                <a:cxn ang="0">
                  <a:pos x="143" y="314"/>
                </a:cxn>
                <a:cxn ang="0">
                  <a:pos x="152" y="302"/>
                </a:cxn>
                <a:cxn ang="0">
                  <a:pos x="166" y="291"/>
                </a:cxn>
                <a:cxn ang="0">
                  <a:pos x="176" y="280"/>
                </a:cxn>
                <a:cxn ang="0">
                  <a:pos x="189" y="280"/>
                </a:cxn>
                <a:cxn ang="0">
                  <a:pos x="202" y="276"/>
                </a:cxn>
                <a:cxn ang="0">
                  <a:pos x="209" y="267"/>
                </a:cxn>
                <a:cxn ang="0">
                  <a:pos x="219" y="264"/>
                </a:cxn>
                <a:cxn ang="0">
                  <a:pos x="236" y="249"/>
                </a:cxn>
                <a:cxn ang="0">
                  <a:pos x="252" y="235"/>
                </a:cxn>
                <a:cxn ang="0">
                  <a:pos x="257" y="222"/>
                </a:cxn>
                <a:cxn ang="0">
                  <a:pos x="265" y="218"/>
                </a:cxn>
                <a:cxn ang="0">
                  <a:pos x="266" y="209"/>
                </a:cxn>
                <a:cxn ang="0">
                  <a:pos x="268" y="202"/>
                </a:cxn>
                <a:cxn ang="0">
                  <a:pos x="269" y="190"/>
                </a:cxn>
                <a:cxn ang="0">
                  <a:pos x="260" y="175"/>
                </a:cxn>
                <a:cxn ang="0">
                  <a:pos x="258" y="164"/>
                </a:cxn>
                <a:cxn ang="0">
                  <a:pos x="252" y="159"/>
                </a:cxn>
                <a:cxn ang="0">
                  <a:pos x="248" y="146"/>
                </a:cxn>
                <a:cxn ang="0">
                  <a:pos x="217" y="125"/>
                </a:cxn>
                <a:cxn ang="0">
                  <a:pos x="185" y="101"/>
                </a:cxn>
                <a:cxn ang="0">
                  <a:pos x="160" y="81"/>
                </a:cxn>
                <a:cxn ang="0">
                  <a:pos x="142" y="68"/>
                </a:cxn>
                <a:cxn ang="0">
                  <a:pos x="131" y="63"/>
                </a:cxn>
                <a:cxn ang="0">
                  <a:pos x="126" y="50"/>
                </a:cxn>
                <a:cxn ang="0">
                  <a:pos x="118" y="38"/>
                </a:cxn>
                <a:cxn ang="0">
                  <a:pos x="114" y="21"/>
                </a:cxn>
                <a:cxn ang="0">
                  <a:pos x="109" y="8"/>
                </a:cxn>
                <a:cxn ang="0">
                  <a:pos x="102" y="0"/>
                </a:cxn>
                <a:cxn ang="0">
                  <a:pos x="85" y="0"/>
                </a:cxn>
                <a:cxn ang="0">
                  <a:pos x="82" y="2"/>
                </a:cxn>
                <a:cxn ang="0">
                  <a:pos x="76" y="4"/>
                </a:cxn>
                <a:cxn ang="0">
                  <a:pos x="64" y="4"/>
                </a:cxn>
                <a:cxn ang="0">
                  <a:pos x="61" y="8"/>
                </a:cxn>
                <a:cxn ang="0">
                  <a:pos x="55" y="8"/>
                </a:cxn>
              </a:cxnLst>
              <a:rect l="0" t="0" r="r" b="b"/>
              <a:pathLst>
                <a:path w="269" h="335">
                  <a:moveTo>
                    <a:pt x="26" y="17"/>
                  </a:moveTo>
                  <a:lnTo>
                    <a:pt x="19" y="25"/>
                  </a:lnTo>
                  <a:lnTo>
                    <a:pt x="13" y="34"/>
                  </a:lnTo>
                  <a:lnTo>
                    <a:pt x="9" y="44"/>
                  </a:lnTo>
                  <a:lnTo>
                    <a:pt x="6" y="54"/>
                  </a:lnTo>
                  <a:lnTo>
                    <a:pt x="3" y="64"/>
                  </a:lnTo>
                  <a:lnTo>
                    <a:pt x="1" y="74"/>
                  </a:lnTo>
                  <a:lnTo>
                    <a:pt x="1" y="85"/>
                  </a:lnTo>
                  <a:lnTo>
                    <a:pt x="1" y="96"/>
                  </a:lnTo>
                  <a:lnTo>
                    <a:pt x="0" y="113"/>
                  </a:lnTo>
                  <a:lnTo>
                    <a:pt x="1" y="132"/>
                  </a:lnTo>
                  <a:lnTo>
                    <a:pt x="2" y="141"/>
                  </a:lnTo>
                  <a:lnTo>
                    <a:pt x="5" y="149"/>
                  </a:lnTo>
                  <a:lnTo>
                    <a:pt x="8" y="156"/>
                  </a:lnTo>
                  <a:lnTo>
                    <a:pt x="13" y="163"/>
                  </a:lnTo>
                  <a:lnTo>
                    <a:pt x="15" y="175"/>
                  </a:lnTo>
                  <a:lnTo>
                    <a:pt x="18" y="194"/>
                  </a:lnTo>
                  <a:lnTo>
                    <a:pt x="20" y="214"/>
                  </a:lnTo>
                  <a:lnTo>
                    <a:pt x="21" y="226"/>
                  </a:lnTo>
                  <a:lnTo>
                    <a:pt x="27" y="246"/>
                  </a:lnTo>
                  <a:lnTo>
                    <a:pt x="36" y="273"/>
                  </a:lnTo>
                  <a:lnTo>
                    <a:pt x="40" y="286"/>
                  </a:lnTo>
                  <a:lnTo>
                    <a:pt x="45" y="297"/>
                  </a:lnTo>
                  <a:lnTo>
                    <a:pt x="48" y="303"/>
                  </a:lnTo>
                  <a:lnTo>
                    <a:pt x="50" y="306"/>
                  </a:lnTo>
                  <a:lnTo>
                    <a:pt x="53" y="308"/>
                  </a:lnTo>
                  <a:lnTo>
                    <a:pt x="55" y="310"/>
                  </a:lnTo>
                  <a:lnTo>
                    <a:pt x="59" y="323"/>
                  </a:lnTo>
                  <a:lnTo>
                    <a:pt x="63" y="324"/>
                  </a:lnTo>
                  <a:lnTo>
                    <a:pt x="66" y="327"/>
                  </a:lnTo>
                  <a:lnTo>
                    <a:pt x="69" y="332"/>
                  </a:lnTo>
                  <a:lnTo>
                    <a:pt x="72" y="335"/>
                  </a:lnTo>
                  <a:lnTo>
                    <a:pt x="87" y="335"/>
                  </a:lnTo>
                  <a:lnTo>
                    <a:pt x="102" y="335"/>
                  </a:lnTo>
                  <a:lnTo>
                    <a:pt x="109" y="332"/>
                  </a:lnTo>
                  <a:lnTo>
                    <a:pt x="122" y="325"/>
                  </a:lnTo>
                  <a:lnTo>
                    <a:pt x="135" y="317"/>
                  </a:lnTo>
                  <a:lnTo>
                    <a:pt x="143" y="314"/>
                  </a:lnTo>
                  <a:lnTo>
                    <a:pt x="147" y="308"/>
                  </a:lnTo>
                  <a:lnTo>
                    <a:pt x="152" y="302"/>
                  </a:lnTo>
                  <a:lnTo>
                    <a:pt x="160" y="294"/>
                  </a:lnTo>
                  <a:lnTo>
                    <a:pt x="166" y="291"/>
                  </a:lnTo>
                  <a:lnTo>
                    <a:pt x="172" y="289"/>
                  </a:lnTo>
                  <a:lnTo>
                    <a:pt x="176" y="280"/>
                  </a:lnTo>
                  <a:lnTo>
                    <a:pt x="183" y="280"/>
                  </a:lnTo>
                  <a:lnTo>
                    <a:pt x="189" y="280"/>
                  </a:lnTo>
                  <a:lnTo>
                    <a:pt x="195" y="278"/>
                  </a:lnTo>
                  <a:lnTo>
                    <a:pt x="202" y="276"/>
                  </a:lnTo>
                  <a:lnTo>
                    <a:pt x="205" y="271"/>
                  </a:lnTo>
                  <a:lnTo>
                    <a:pt x="209" y="267"/>
                  </a:lnTo>
                  <a:lnTo>
                    <a:pt x="213" y="265"/>
                  </a:lnTo>
                  <a:lnTo>
                    <a:pt x="219" y="264"/>
                  </a:lnTo>
                  <a:lnTo>
                    <a:pt x="223" y="259"/>
                  </a:lnTo>
                  <a:lnTo>
                    <a:pt x="236" y="249"/>
                  </a:lnTo>
                  <a:lnTo>
                    <a:pt x="247" y="239"/>
                  </a:lnTo>
                  <a:lnTo>
                    <a:pt x="252" y="235"/>
                  </a:lnTo>
                  <a:lnTo>
                    <a:pt x="252" y="226"/>
                  </a:lnTo>
                  <a:lnTo>
                    <a:pt x="257" y="222"/>
                  </a:lnTo>
                  <a:lnTo>
                    <a:pt x="260" y="220"/>
                  </a:lnTo>
                  <a:lnTo>
                    <a:pt x="265" y="218"/>
                  </a:lnTo>
                  <a:lnTo>
                    <a:pt x="265" y="209"/>
                  </a:lnTo>
                  <a:lnTo>
                    <a:pt x="266" y="209"/>
                  </a:lnTo>
                  <a:lnTo>
                    <a:pt x="267" y="206"/>
                  </a:lnTo>
                  <a:lnTo>
                    <a:pt x="268" y="202"/>
                  </a:lnTo>
                  <a:lnTo>
                    <a:pt x="268" y="199"/>
                  </a:lnTo>
                  <a:lnTo>
                    <a:pt x="269" y="190"/>
                  </a:lnTo>
                  <a:lnTo>
                    <a:pt x="269" y="184"/>
                  </a:lnTo>
                  <a:lnTo>
                    <a:pt x="260" y="175"/>
                  </a:lnTo>
                  <a:lnTo>
                    <a:pt x="260" y="170"/>
                  </a:lnTo>
                  <a:lnTo>
                    <a:pt x="258" y="164"/>
                  </a:lnTo>
                  <a:lnTo>
                    <a:pt x="256" y="161"/>
                  </a:lnTo>
                  <a:lnTo>
                    <a:pt x="252" y="159"/>
                  </a:lnTo>
                  <a:lnTo>
                    <a:pt x="250" y="153"/>
                  </a:lnTo>
                  <a:lnTo>
                    <a:pt x="248" y="146"/>
                  </a:lnTo>
                  <a:lnTo>
                    <a:pt x="237" y="140"/>
                  </a:lnTo>
                  <a:lnTo>
                    <a:pt x="217" y="125"/>
                  </a:lnTo>
                  <a:lnTo>
                    <a:pt x="197" y="110"/>
                  </a:lnTo>
                  <a:lnTo>
                    <a:pt x="185" y="101"/>
                  </a:lnTo>
                  <a:lnTo>
                    <a:pt x="176" y="93"/>
                  </a:lnTo>
                  <a:lnTo>
                    <a:pt x="160" y="81"/>
                  </a:lnTo>
                  <a:lnTo>
                    <a:pt x="151" y="74"/>
                  </a:lnTo>
                  <a:lnTo>
                    <a:pt x="142" y="68"/>
                  </a:lnTo>
                  <a:lnTo>
                    <a:pt x="135" y="64"/>
                  </a:lnTo>
                  <a:lnTo>
                    <a:pt x="131" y="63"/>
                  </a:lnTo>
                  <a:lnTo>
                    <a:pt x="128" y="56"/>
                  </a:lnTo>
                  <a:lnTo>
                    <a:pt x="126" y="50"/>
                  </a:lnTo>
                  <a:lnTo>
                    <a:pt x="118" y="46"/>
                  </a:lnTo>
                  <a:lnTo>
                    <a:pt x="118" y="38"/>
                  </a:lnTo>
                  <a:lnTo>
                    <a:pt x="116" y="30"/>
                  </a:lnTo>
                  <a:lnTo>
                    <a:pt x="114" y="21"/>
                  </a:lnTo>
                  <a:lnTo>
                    <a:pt x="112" y="15"/>
                  </a:lnTo>
                  <a:lnTo>
                    <a:pt x="109" y="8"/>
                  </a:lnTo>
                  <a:lnTo>
                    <a:pt x="105" y="4"/>
                  </a:lnTo>
                  <a:lnTo>
                    <a:pt x="102" y="0"/>
                  </a:lnTo>
                  <a:lnTo>
                    <a:pt x="93" y="0"/>
                  </a:lnTo>
                  <a:lnTo>
                    <a:pt x="85" y="0"/>
                  </a:lnTo>
                  <a:lnTo>
                    <a:pt x="84" y="1"/>
                  </a:lnTo>
                  <a:lnTo>
                    <a:pt x="82" y="2"/>
                  </a:lnTo>
                  <a:lnTo>
                    <a:pt x="79" y="4"/>
                  </a:lnTo>
                  <a:lnTo>
                    <a:pt x="76" y="4"/>
                  </a:lnTo>
                  <a:lnTo>
                    <a:pt x="68" y="4"/>
                  </a:lnTo>
                  <a:lnTo>
                    <a:pt x="64" y="4"/>
                  </a:lnTo>
                  <a:lnTo>
                    <a:pt x="63" y="7"/>
                  </a:lnTo>
                  <a:lnTo>
                    <a:pt x="61" y="8"/>
                  </a:lnTo>
                  <a:lnTo>
                    <a:pt x="58" y="8"/>
                  </a:lnTo>
                  <a:lnTo>
                    <a:pt x="55" y="8"/>
                  </a:lnTo>
                  <a:lnTo>
                    <a:pt x="26" y="1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2" name="Freeform 79"/>
            <p:cNvSpPr>
              <a:spLocks noChangeAspect="1"/>
            </p:cNvSpPr>
            <p:nvPr/>
          </p:nvSpPr>
          <p:spPr bwMode="gray">
            <a:xfrm rot="355651">
              <a:off x="7161200" y="4514850"/>
              <a:ext cx="51839" cy="77717"/>
            </a:xfrm>
            <a:custGeom>
              <a:avLst/>
              <a:gdLst/>
              <a:ahLst/>
              <a:cxnLst>
                <a:cxn ang="0">
                  <a:pos x="15" y="5"/>
                </a:cxn>
                <a:cxn ang="0">
                  <a:pos x="9" y="21"/>
                </a:cxn>
                <a:cxn ang="0">
                  <a:pos x="3" y="49"/>
                </a:cxn>
                <a:cxn ang="0">
                  <a:pos x="0" y="90"/>
                </a:cxn>
                <a:cxn ang="0">
                  <a:pos x="4" y="119"/>
                </a:cxn>
                <a:cxn ang="0">
                  <a:pos x="8" y="135"/>
                </a:cxn>
                <a:cxn ang="0">
                  <a:pos x="14" y="150"/>
                </a:cxn>
                <a:cxn ang="0">
                  <a:pos x="17" y="173"/>
                </a:cxn>
                <a:cxn ang="0">
                  <a:pos x="19" y="208"/>
                </a:cxn>
                <a:cxn ang="0">
                  <a:pos x="16" y="256"/>
                </a:cxn>
                <a:cxn ang="0">
                  <a:pos x="9" y="306"/>
                </a:cxn>
                <a:cxn ang="0">
                  <a:pos x="8" y="336"/>
                </a:cxn>
                <a:cxn ang="0">
                  <a:pos x="14" y="357"/>
                </a:cxn>
                <a:cxn ang="0">
                  <a:pos x="30" y="387"/>
                </a:cxn>
                <a:cxn ang="0">
                  <a:pos x="54" y="421"/>
                </a:cxn>
                <a:cxn ang="0">
                  <a:pos x="72" y="441"/>
                </a:cxn>
                <a:cxn ang="0">
                  <a:pos x="82" y="447"/>
                </a:cxn>
                <a:cxn ang="0">
                  <a:pos x="88" y="453"/>
                </a:cxn>
                <a:cxn ang="0">
                  <a:pos x="106" y="466"/>
                </a:cxn>
                <a:cxn ang="0">
                  <a:pos x="133" y="480"/>
                </a:cxn>
                <a:cxn ang="0">
                  <a:pos x="152" y="486"/>
                </a:cxn>
                <a:cxn ang="0">
                  <a:pos x="162" y="486"/>
                </a:cxn>
                <a:cxn ang="0">
                  <a:pos x="173" y="480"/>
                </a:cxn>
                <a:cxn ang="0">
                  <a:pos x="190" y="462"/>
                </a:cxn>
                <a:cxn ang="0">
                  <a:pos x="197" y="447"/>
                </a:cxn>
                <a:cxn ang="0">
                  <a:pos x="206" y="415"/>
                </a:cxn>
                <a:cxn ang="0">
                  <a:pos x="220" y="393"/>
                </a:cxn>
                <a:cxn ang="0">
                  <a:pos x="239" y="370"/>
                </a:cxn>
                <a:cxn ang="0">
                  <a:pos x="249" y="356"/>
                </a:cxn>
                <a:cxn ang="0">
                  <a:pos x="254" y="345"/>
                </a:cxn>
                <a:cxn ang="0">
                  <a:pos x="257" y="340"/>
                </a:cxn>
                <a:cxn ang="0">
                  <a:pos x="264" y="335"/>
                </a:cxn>
                <a:cxn ang="0">
                  <a:pos x="273" y="329"/>
                </a:cxn>
                <a:cxn ang="0">
                  <a:pos x="277" y="313"/>
                </a:cxn>
                <a:cxn ang="0">
                  <a:pos x="278" y="275"/>
                </a:cxn>
                <a:cxn ang="0">
                  <a:pos x="278" y="255"/>
                </a:cxn>
                <a:cxn ang="0">
                  <a:pos x="272" y="246"/>
                </a:cxn>
                <a:cxn ang="0">
                  <a:pos x="259" y="230"/>
                </a:cxn>
                <a:cxn ang="0">
                  <a:pos x="248" y="214"/>
                </a:cxn>
                <a:cxn ang="0">
                  <a:pos x="234" y="196"/>
                </a:cxn>
                <a:cxn ang="0">
                  <a:pos x="224" y="181"/>
                </a:cxn>
                <a:cxn ang="0">
                  <a:pos x="208" y="163"/>
                </a:cxn>
                <a:cxn ang="0">
                  <a:pos x="200" y="149"/>
                </a:cxn>
                <a:cxn ang="0">
                  <a:pos x="183" y="133"/>
                </a:cxn>
                <a:cxn ang="0">
                  <a:pos x="153" y="109"/>
                </a:cxn>
                <a:cxn ang="0">
                  <a:pos x="136" y="100"/>
                </a:cxn>
                <a:cxn ang="0">
                  <a:pos x="128" y="90"/>
                </a:cxn>
                <a:cxn ang="0">
                  <a:pos x="115" y="79"/>
                </a:cxn>
                <a:cxn ang="0">
                  <a:pos x="86" y="58"/>
                </a:cxn>
                <a:cxn ang="0">
                  <a:pos x="84" y="49"/>
                </a:cxn>
                <a:cxn ang="0">
                  <a:pos x="81" y="42"/>
                </a:cxn>
                <a:cxn ang="0">
                  <a:pos x="75" y="27"/>
                </a:cxn>
                <a:cxn ang="0">
                  <a:pos x="71" y="19"/>
                </a:cxn>
                <a:cxn ang="0">
                  <a:pos x="56" y="9"/>
                </a:cxn>
                <a:cxn ang="0">
                  <a:pos x="46" y="4"/>
                </a:cxn>
                <a:cxn ang="0">
                  <a:pos x="19" y="0"/>
                </a:cxn>
              </a:cxnLst>
              <a:rect l="0" t="0" r="r" b="b"/>
              <a:pathLst>
                <a:path w="278" h="486">
                  <a:moveTo>
                    <a:pt x="19" y="0"/>
                  </a:moveTo>
                  <a:lnTo>
                    <a:pt x="15" y="5"/>
                  </a:lnTo>
                  <a:lnTo>
                    <a:pt x="11" y="13"/>
                  </a:lnTo>
                  <a:lnTo>
                    <a:pt x="9" y="21"/>
                  </a:lnTo>
                  <a:lnTo>
                    <a:pt x="7" y="30"/>
                  </a:lnTo>
                  <a:lnTo>
                    <a:pt x="3" y="49"/>
                  </a:lnTo>
                  <a:lnTo>
                    <a:pt x="0" y="69"/>
                  </a:lnTo>
                  <a:lnTo>
                    <a:pt x="0" y="90"/>
                  </a:lnTo>
                  <a:lnTo>
                    <a:pt x="1" y="110"/>
                  </a:lnTo>
                  <a:lnTo>
                    <a:pt x="4" y="119"/>
                  </a:lnTo>
                  <a:lnTo>
                    <a:pt x="5" y="128"/>
                  </a:lnTo>
                  <a:lnTo>
                    <a:pt x="8" y="135"/>
                  </a:lnTo>
                  <a:lnTo>
                    <a:pt x="10" y="143"/>
                  </a:lnTo>
                  <a:lnTo>
                    <a:pt x="14" y="150"/>
                  </a:lnTo>
                  <a:lnTo>
                    <a:pt x="16" y="162"/>
                  </a:lnTo>
                  <a:lnTo>
                    <a:pt x="17" y="173"/>
                  </a:lnTo>
                  <a:lnTo>
                    <a:pt x="18" y="185"/>
                  </a:lnTo>
                  <a:lnTo>
                    <a:pt x="19" y="208"/>
                  </a:lnTo>
                  <a:lnTo>
                    <a:pt x="19" y="230"/>
                  </a:lnTo>
                  <a:lnTo>
                    <a:pt x="16" y="256"/>
                  </a:lnTo>
                  <a:lnTo>
                    <a:pt x="11" y="289"/>
                  </a:lnTo>
                  <a:lnTo>
                    <a:pt x="9" y="306"/>
                  </a:lnTo>
                  <a:lnTo>
                    <a:pt x="8" y="321"/>
                  </a:lnTo>
                  <a:lnTo>
                    <a:pt x="8" y="336"/>
                  </a:lnTo>
                  <a:lnTo>
                    <a:pt x="10" y="347"/>
                  </a:lnTo>
                  <a:lnTo>
                    <a:pt x="14" y="357"/>
                  </a:lnTo>
                  <a:lnTo>
                    <a:pt x="21" y="370"/>
                  </a:lnTo>
                  <a:lnTo>
                    <a:pt x="30" y="387"/>
                  </a:lnTo>
                  <a:lnTo>
                    <a:pt x="42" y="404"/>
                  </a:lnTo>
                  <a:lnTo>
                    <a:pt x="54" y="421"/>
                  </a:lnTo>
                  <a:lnTo>
                    <a:pt x="66" y="435"/>
                  </a:lnTo>
                  <a:lnTo>
                    <a:pt x="72" y="441"/>
                  </a:lnTo>
                  <a:lnTo>
                    <a:pt x="77" y="444"/>
                  </a:lnTo>
                  <a:lnTo>
                    <a:pt x="82" y="447"/>
                  </a:lnTo>
                  <a:lnTo>
                    <a:pt x="86" y="448"/>
                  </a:lnTo>
                  <a:lnTo>
                    <a:pt x="88" y="453"/>
                  </a:lnTo>
                  <a:lnTo>
                    <a:pt x="96" y="458"/>
                  </a:lnTo>
                  <a:lnTo>
                    <a:pt x="106" y="466"/>
                  </a:lnTo>
                  <a:lnTo>
                    <a:pt x="120" y="473"/>
                  </a:lnTo>
                  <a:lnTo>
                    <a:pt x="133" y="480"/>
                  </a:lnTo>
                  <a:lnTo>
                    <a:pt x="147" y="484"/>
                  </a:lnTo>
                  <a:lnTo>
                    <a:pt x="152" y="486"/>
                  </a:lnTo>
                  <a:lnTo>
                    <a:pt x="158" y="486"/>
                  </a:lnTo>
                  <a:lnTo>
                    <a:pt x="162" y="486"/>
                  </a:lnTo>
                  <a:lnTo>
                    <a:pt x="165" y="485"/>
                  </a:lnTo>
                  <a:lnTo>
                    <a:pt x="173" y="480"/>
                  </a:lnTo>
                  <a:lnTo>
                    <a:pt x="182" y="471"/>
                  </a:lnTo>
                  <a:lnTo>
                    <a:pt x="190" y="462"/>
                  </a:lnTo>
                  <a:lnTo>
                    <a:pt x="195" y="456"/>
                  </a:lnTo>
                  <a:lnTo>
                    <a:pt x="197" y="447"/>
                  </a:lnTo>
                  <a:lnTo>
                    <a:pt x="201" y="432"/>
                  </a:lnTo>
                  <a:lnTo>
                    <a:pt x="206" y="415"/>
                  </a:lnTo>
                  <a:lnTo>
                    <a:pt x="208" y="406"/>
                  </a:lnTo>
                  <a:lnTo>
                    <a:pt x="220" y="393"/>
                  </a:lnTo>
                  <a:lnTo>
                    <a:pt x="232" y="377"/>
                  </a:lnTo>
                  <a:lnTo>
                    <a:pt x="239" y="370"/>
                  </a:lnTo>
                  <a:lnTo>
                    <a:pt x="245" y="364"/>
                  </a:lnTo>
                  <a:lnTo>
                    <a:pt x="249" y="356"/>
                  </a:lnTo>
                  <a:lnTo>
                    <a:pt x="254" y="347"/>
                  </a:lnTo>
                  <a:lnTo>
                    <a:pt x="254" y="345"/>
                  </a:lnTo>
                  <a:lnTo>
                    <a:pt x="255" y="342"/>
                  </a:lnTo>
                  <a:lnTo>
                    <a:pt x="257" y="340"/>
                  </a:lnTo>
                  <a:lnTo>
                    <a:pt x="261" y="335"/>
                  </a:lnTo>
                  <a:lnTo>
                    <a:pt x="264" y="335"/>
                  </a:lnTo>
                  <a:lnTo>
                    <a:pt x="268" y="332"/>
                  </a:lnTo>
                  <a:lnTo>
                    <a:pt x="273" y="329"/>
                  </a:lnTo>
                  <a:lnTo>
                    <a:pt x="275" y="327"/>
                  </a:lnTo>
                  <a:lnTo>
                    <a:pt x="277" y="313"/>
                  </a:lnTo>
                  <a:lnTo>
                    <a:pt x="278" y="294"/>
                  </a:lnTo>
                  <a:lnTo>
                    <a:pt x="278" y="275"/>
                  </a:lnTo>
                  <a:lnTo>
                    <a:pt x="278" y="260"/>
                  </a:lnTo>
                  <a:lnTo>
                    <a:pt x="278" y="255"/>
                  </a:lnTo>
                  <a:lnTo>
                    <a:pt x="275" y="251"/>
                  </a:lnTo>
                  <a:lnTo>
                    <a:pt x="272" y="246"/>
                  </a:lnTo>
                  <a:lnTo>
                    <a:pt x="268" y="241"/>
                  </a:lnTo>
                  <a:lnTo>
                    <a:pt x="259" y="230"/>
                  </a:lnTo>
                  <a:lnTo>
                    <a:pt x="254" y="222"/>
                  </a:lnTo>
                  <a:lnTo>
                    <a:pt x="248" y="214"/>
                  </a:lnTo>
                  <a:lnTo>
                    <a:pt x="241" y="205"/>
                  </a:lnTo>
                  <a:lnTo>
                    <a:pt x="234" y="196"/>
                  </a:lnTo>
                  <a:lnTo>
                    <a:pt x="228" y="188"/>
                  </a:lnTo>
                  <a:lnTo>
                    <a:pt x="224" y="181"/>
                  </a:lnTo>
                  <a:lnTo>
                    <a:pt x="216" y="172"/>
                  </a:lnTo>
                  <a:lnTo>
                    <a:pt x="208" y="163"/>
                  </a:lnTo>
                  <a:lnTo>
                    <a:pt x="203" y="155"/>
                  </a:lnTo>
                  <a:lnTo>
                    <a:pt x="200" y="149"/>
                  </a:lnTo>
                  <a:lnTo>
                    <a:pt x="192" y="142"/>
                  </a:lnTo>
                  <a:lnTo>
                    <a:pt x="183" y="133"/>
                  </a:lnTo>
                  <a:lnTo>
                    <a:pt x="172" y="125"/>
                  </a:lnTo>
                  <a:lnTo>
                    <a:pt x="153" y="109"/>
                  </a:lnTo>
                  <a:lnTo>
                    <a:pt x="144" y="100"/>
                  </a:lnTo>
                  <a:lnTo>
                    <a:pt x="136" y="100"/>
                  </a:lnTo>
                  <a:lnTo>
                    <a:pt x="133" y="96"/>
                  </a:lnTo>
                  <a:lnTo>
                    <a:pt x="128" y="90"/>
                  </a:lnTo>
                  <a:lnTo>
                    <a:pt x="121" y="83"/>
                  </a:lnTo>
                  <a:lnTo>
                    <a:pt x="115" y="79"/>
                  </a:lnTo>
                  <a:lnTo>
                    <a:pt x="101" y="69"/>
                  </a:lnTo>
                  <a:lnTo>
                    <a:pt x="86" y="58"/>
                  </a:lnTo>
                  <a:lnTo>
                    <a:pt x="86" y="50"/>
                  </a:lnTo>
                  <a:lnTo>
                    <a:pt x="84" y="49"/>
                  </a:lnTo>
                  <a:lnTo>
                    <a:pt x="82" y="46"/>
                  </a:lnTo>
                  <a:lnTo>
                    <a:pt x="81" y="42"/>
                  </a:lnTo>
                  <a:lnTo>
                    <a:pt x="78" y="37"/>
                  </a:lnTo>
                  <a:lnTo>
                    <a:pt x="75" y="27"/>
                  </a:lnTo>
                  <a:lnTo>
                    <a:pt x="74" y="21"/>
                  </a:lnTo>
                  <a:lnTo>
                    <a:pt x="71" y="19"/>
                  </a:lnTo>
                  <a:lnTo>
                    <a:pt x="63" y="14"/>
                  </a:lnTo>
                  <a:lnTo>
                    <a:pt x="56" y="9"/>
                  </a:lnTo>
                  <a:lnTo>
                    <a:pt x="53" y="4"/>
                  </a:lnTo>
                  <a:lnTo>
                    <a:pt x="46" y="4"/>
                  </a:lnTo>
                  <a:lnTo>
                    <a:pt x="39" y="4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3" name="Freeform 80"/>
            <p:cNvSpPr>
              <a:spLocks noChangeAspect="1"/>
            </p:cNvSpPr>
            <p:nvPr/>
          </p:nvSpPr>
          <p:spPr bwMode="gray">
            <a:xfrm rot="355651">
              <a:off x="7293444" y="4352925"/>
              <a:ext cx="138592" cy="67070"/>
            </a:xfrm>
            <a:custGeom>
              <a:avLst/>
              <a:gdLst/>
              <a:ahLst/>
              <a:cxnLst>
                <a:cxn ang="0">
                  <a:pos x="464" y="86"/>
                </a:cxn>
                <a:cxn ang="0">
                  <a:pos x="435" y="118"/>
                </a:cxn>
                <a:cxn ang="0">
                  <a:pos x="405" y="140"/>
                </a:cxn>
                <a:cxn ang="0">
                  <a:pos x="371" y="167"/>
                </a:cxn>
                <a:cxn ang="0">
                  <a:pos x="339" y="189"/>
                </a:cxn>
                <a:cxn ang="0">
                  <a:pos x="324" y="204"/>
                </a:cxn>
                <a:cxn ang="0">
                  <a:pos x="290" y="230"/>
                </a:cxn>
                <a:cxn ang="0">
                  <a:pos x="265" y="241"/>
                </a:cxn>
                <a:cxn ang="0">
                  <a:pos x="235" y="251"/>
                </a:cxn>
                <a:cxn ang="0">
                  <a:pos x="211" y="266"/>
                </a:cxn>
                <a:cxn ang="0">
                  <a:pos x="130" y="289"/>
                </a:cxn>
                <a:cxn ang="0">
                  <a:pos x="45" y="326"/>
                </a:cxn>
                <a:cxn ang="0">
                  <a:pos x="13" y="337"/>
                </a:cxn>
                <a:cxn ang="0">
                  <a:pos x="0" y="351"/>
                </a:cxn>
                <a:cxn ang="0">
                  <a:pos x="34" y="360"/>
                </a:cxn>
                <a:cxn ang="0">
                  <a:pos x="75" y="377"/>
                </a:cxn>
                <a:cxn ang="0">
                  <a:pos x="115" y="396"/>
                </a:cxn>
                <a:cxn ang="0">
                  <a:pos x="138" y="408"/>
                </a:cxn>
                <a:cxn ang="0">
                  <a:pos x="188" y="412"/>
                </a:cxn>
                <a:cxn ang="0">
                  <a:pos x="229" y="398"/>
                </a:cxn>
                <a:cxn ang="0">
                  <a:pos x="275" y="380"/>
                </a:cxn>
                <a:cxn ang="0">
                  <a:pos x="310" y="364"/>
                </a:cxn>
                <a:cxn ang="0">
                  <a:pos x="352" y="360"/>
                </a:cxn>
                <a:cxn ang="0">
                  <a:pos x="364" y="368"/>
                </a:cxn>
                <a:cxn ang="0">
                  <a:pos x="395" y="388"/>
                </a:cxn>
                <a:cxn ang="0">
                  <a:pos x="415" y="393"/>
                </a:cxn>
                <a:cxn ang="0">
                  <a:pos x="447" y="383"/>
                </a:cxn>
                <a:cxn ang="0">
                  <a:pos x="446" y="342"/>
                </a:cxn>
                <a:cxn ang="0">
                  <a:pos x="436" y="327"/>
                </a:cxn>
                <a:cxn ang="0">
                  <a:pos x="434" y="312"/>
                </a:cxn>
                <a:cxn ang="0">
                  <a:pos x="432" y="297"/>
                </a:cxn>
                <a:cxn ang="0">
                  <a:pos x="457" y="263"/>
                </a:cxn>
                <a:cxn ang="0">
                  <a:pos x="461" y="252"/>
                </a:cxn>
                <a:cxn ang="0">
                  <a:pos x="477" y="233"/>
                </a:cxn>
                <a:cxn ang="0">
                  <a:pos x="496" y="216"/>
                </a:cxn>
                <a:cxn ang="0">
                  <a:pos x="517" y="204"/>
                </a:cxn>
                <a:cxn ang="0">
                  <a:pos x="544" y="185"/>
                </a:cxn>
                <a:cxn ang="0">
                  <a:pos x="563" y="173"/>
                </a:cxn>
                <a:cxn ang="0">
                  <a:pos x="587" y="160"/>
                </a:cxn>
                <a:cxn ang="0">
                  <a:pos x="639" y="148"/>
                </a:cxn>
                <a:cxn ang="0">
                  <a:pos x="716" y="126"/>
                </a:cxn>
                <a:cxn ang="0">
                  <a:pos x="763" y="100"/>
                </a:cxn>
                <a:cxn ang="0">
                  <a:pos x="733" y="82"/>
                </a:cxn>
                <a:cxn ang="0">
                  <a:pos x="681" y="72"/>
                </a:cxn>
                <a:cxn ang="0">
                  <a:pos x="642" y="63"/>
                </a:cxn>
                <a:cxn ang="0">
                  <a:pos x="611" y="48"/>
                </a:cxn>
                <a:cxn ang="0">
                  <a:pos x="594" y="34"/>
                </a:cxn>
                <a:cxn ang="0">
                  <a:pos x="579" y="16"/>
                </a:cxn>
                <a:cxn ang="0">
                  <a:pos x="570" y="5"/>
                </a:cxn>
                <a:cxn ang="0">
                  <a:pos x="532" y="1"/>
                </a:cxn>
                <a:cxn ang="0">
                  <a:pos x="524" y="21"/>
                </a:cxn>
              </a:cxnLst>
              <a:rect l="0" t="0" r="r" b="b"/>
              <a:pathLst>
                <a:path w="763" h="414">
                  <a:moveTo>
                    <a:pt x="515" y="33"/>
                  </a:moveTo>
                  <a:lnTo>
                    <a:pt x="496" y="50"/>
                  </a:lnTo>
                  <a:lnTo>
                    <a:pt x="475" y="73"/>
                  </a:lnTo>
                  <a:lnTo>
                    <a:pt x="464" y="86"/>
                  </a:lnTo>
                  <a:lnTo>
                    <a:pt x="454" y="97"/>
                  </a:lnTo>
                  <a:lnTo>
                    <a:pt x="446" y="108"/>
                  </a:lnTo>
                  <a:lnTo>
                    <a:pt x="440" y="117"/>
                  </a:lnTo>
                  <a:lnTo>
                    <a:pt x="435" y="118"/>
                  </a:lnTo>
                  <a:lnTo>
                    <a:pt x="429" y="121"/>
                  </a:lnTo>
                  <a:lnTo>
                    <a:pt x="424" y="125"/>
                  </a:lnTo>
                  <a:lnTo>
                    <a:pt x="417" y="130"/>
                  </a:lnTo>
                  <a:lnTo>
                    <a:pt x="405" y="140"/>
                  </a:lnTo>
                  <a:lnTo>
                    <a:pt x="393" y="146"/>
                  </a:lnTo>
                  <a:lnTo>
                    <a:pt x="388" y="154"/>
                  </a:lnTo>
                  <a:lnTo>
                    <a:pt x="380" y="160"/>
                  </a:lnTo>
                  <a:lnTo>
                    <a:pt x="371" y="167"/>
                  </a:lnTo>
                  <a:lnTo>
                    <a:pt x="361" y="174"/>
                  </a:lnTo>
                  <a:lnTo>
                    <a:pt x="351" y="179"/>
                  </a:lnTo>
                  <a:lnTo>
                    <a:pt x="342" y="186"/>
                  </a:lnTo>
                  <a:lnTo>
                    <a:pt x="339" y="189"/>
                  </a:lnTo>
                  <a:lnTo>
                    <a:pt x="335" y="193"/>
                  </a:lnTo>
                  <a:lnTo>
                    <a:pt x="333" y="197"/>
                  </a:lnTo>
                  <a:lnTo>
                    <a:pt x="331" y="201"/>
                  </a:lnTo>
                  <a:lnTo>
                    <a:pt x="324" y="204"/>
                  </a:lnTo>
                  <a:lnTo>
                    <a:pt x="313" y="212"/>
                  </a:lnTo>
                  <a:lnTo>
                    <a:pt x="302" y="221"/>
                  </a:lnTo>
                  <a:lnTo>
                    <a:pt x="297" y="226"/>
                  </a:lnTo>
                  <a:lnTo>
                    <a:pt x="290" y="230"/>
                  </a:lnTo>
                  <a:lnTo>
                    <a:pt x="282" y="232"/>
                  </a:lnTo>
                  <a:lnTo>
                    <a:pt x="274" y="236"/>
                  </a:lnTo>
                  <a:lnTo>
                    <a:pt x="269" y="239"/>
                  </a:lnTo>
                  <a:lnTo>
                    <a:pt x="265" y="241"/>
                  </a:lnTo>
                  <a:lnTo>
                    <a:pt x="261" y="242"/>
                  </a:lnTo>
                  <a:lnTo>
                    <a:pt x="256" y="243"/>
                  </a:lnTo>
                  <a:lnTo>
                    <a:pt x="247" y="251"/>
                  </a:lnTo>
                  <a:lnTo>
                    <a:pt x="235" y="251"/>
                  </a:lnTo>
                  <a:lnTo>
                    <a:pt x="229" y="255"/>
                  </a:lnTo>
                  <a:lnTo>
                    <a:pt x="224" y="260"/>
                  </a:lnTo>
                  <a:lnTo>
                    <a:pt x="218" y="263"/>
                  </a:lnTo>
                  <a:lnTo>
                    <a:pt x="211" y="266"/>
                  </a:lnTo>
                  <a:lnTo>
                    <a:pt x="198" y="272"/>
                  </a:lnTo>
                  <a:lnTo>
                    <a:pt x="184" y="277"/>
                  </a:lnTo>
                  <a:lnTo>
                    <a:pt x="155" y="283"/>
                  </a:lnTo>
                  <a:lnTo>
                    <a:pt x="130" y="289"/>
                  </a:lnTo>
                  <a:lnTo>
                    <a:pt x="105" y="299"/>
                  </a:lnTo>
                  <a:lnTo>
                    <a:pt x="75" y="313"/>
                  </a:lnTo>
                  <a:lnTo>
                    <a:pt x="60" y="320"/>
                  </a:lnTo>
                  <a:lnTo>
                    <a:pt x="45" y="326"/>
                  </a:lnTo>
                  <a:lnTo>
                    <a:pt x="32" y="329"/>
                  </a:lnTo>
                  <a:lnTo>
                    <a:pt x="21" y="330"/>
                  </a:lnTo>
                  <a:lnTo>
                    <a:pt x="17" y="333"/>
                  </a:lnTo>
                  <a:lnTo>
                    <a:pt x="13" y="337"/>
                  </a:lnTo>
                  <a:lnTo>
                    <a:pt x="9" y="340"/>
                  </a:lnTo>
                  <a:lnTo>
                    <a:pt x="8" y="343"/>
                  </a:lnTo>
                  <a:lnTo>
                    <a:pt x="0" y="343"/>
                  </a:lnTo>
                  <a:lnTo>
                    <a:pt x="0" y="351"/>
                  </a:lnTo>
                  <a:lnTo>
                    <a:pt x="7" y="355"/>
                  </a:lnTo>
                  <a:lnTo>
                    <a:pt x="15" y="357"/>
                  </a:lnTo>
                  <a:lnTo>
                    <a:pt x="24" y="359"/>
                  </a:lnTo>
                  <a:lnTo>
                    <a:pt x="34" y="360"/>
                  </a:lnTo>
                  <a:lnTo>
                    <a:pt x="42" y="366"/>
                  </a:lnTo>
                  <a:lnTo>
                    <a:pt x="53" y="371"/>
                  </a:lnTo>
                  <a:lnTo>
                    <a:pt x="65" y="375"/>
                  </a:lnTo>
                  <a:lnTo>
                    <a:pt x="75" y="377"/>
                  </a:lnTo>
                  <a:lnTo>
                    <a:pt x="80" y="385"/>
                  </a:lnTo>
                  <a:lnTo>
                    <a:pt x="90" y="387"/>
                  </a:lnTo>
                  <a:lnTo>
                    <a:pt x="103" y="391"/>
                  </a:lnTo>
                  <a:lnTo>
                    <a:pt x="115" y="396"/>
                  </a:lnTo>
                  <a:lnTo>
                    <a:pt x="125" y="398"/>
                  </a:lnTo>
                  <a:lnTo>
                    <a:pt x="129" y="402"/>
                  </a:lnTo>
                  <a:lnTo>
                    <a:pt x="133" y="405"/>
                  </a:lnTo>
                  <a:lnTo>
                    <a:pt x="138" y="408"/>
                  </a:lnTo>
                  <a:lnTo>
                    <a:pt x="142" y="410"/>
                  </a:lnTo>
                  <a:lnTo>
                    <a:pt x="153" y="413"/>
                  </a:lnTo>
                  <a:lnTo>
                    <a:pt x="165" y="414"/>
                  </a:lnTo>
                  <a:lnTo>
                    <a:pt x="188" y="412"/>
                  </a:lnTo>
                  <a:lnTo>
                    <a:pt x="209" y="410"/>
                  </a:lnTo>
                  <a:lnTo>
                    <a:pt x="214" y="402"/>
                  </a:lnTo>
                  <a:lnTo>
                    <a:pt x="220" y="400"/>
                  </a:lnTo>
                  <a:lnTo>
                    <a:pt x="229" y="398"/>
                  </a:lnTo>
                  <a:lnTo>
                    <a:pt x="240" y="395"/>
                  </a:lnTo>
                  <a:lnTo>
                    <a:pt x="253" y="390"/>
                  </a:lnTo>
                  <a:lnTo>
                    <a:pt x="265" y="386"/>
                  </a:lnTo>
                  <a:lnTo>
                    <a:pt x="275" y="380"/>
                  </a:lnTo>
                  <a:lnTo>
                    <a:pt x="284" y="376"/>
                  </a:lnTo>
                  <a:lnTo>
                    <a:pt x="290" y="373"/>
                  </a:lnTo>
                  <a:lnTo>
                    <a:pt x="302" y="373"/>
                  </a:lnTo>
                  <a:lnTo>
                    <a:pt x="310" y="364"/>
                  </a:lnTo>
                  <a:lnTo>
                    <a:pt x="319" y="364"/>
                  </a:lnTo>
                  <a:lnTo>
                    <a:pt x="330" y="362"/>
                  </a:lnTo>
                  <a:lnTo>
                    <a:pt x="341" y="360"/>
                  </a:lnTo>
                  <a:lnTo>
                    <a:pt x="352" y="360"/>
                  </a:lnTo>
                  <a:lnTo>
                    <a:pt x="353" y="362"/>
                  </a:lnTo>
                  <a:lnTo>
                    <a:pt x="357" y="366"/>
                  </a:lnTo>
                  <a:lnTo>
                    <a:pt x="361" y="368"/>
                  </a:lnTo>
                  <a:lnTo>
                    <a:pt x="364" y="368"/>
                  </a:lnTo>
                  <a:lnTo>
                    <a:pt x="369" y="377"/>
                  </a:lnTo>
                  <a:lnTo>
                    <a:pt x="377" y="380"/>
                  </a:lnTo>
                  <a:lnTo>
                    <a:pt x="386" y="385"/>
                  </a:lnTo>
                  <a:lnTo>
                    <a:pt x="395" y="388"/>
                  </a:lnTo>
                  <a:lnTo>
                    <a:pt x="402" y="389"/>
                  </a:lnTo>
                  <a:lnTo>
                    <a:pt x="403" y="390"/>
                  </a:lnTo>
                  <a:lnTo>
                    <a:pt x="408" y="391"/>
                  </a:lnTo>
                  <a:lnTo>
                    <a:pt x="415" y="393"/>
                  </a:lnTo>
                  <a:lnTo>
                    <a:pt x="421" y="393"/>
                  </a:lnTo>
                  <a:lnTo>
                    <a:pt x="436" y="394"/>
                  </a:lnTo>
                  <a:lnTo>
                    <a:pt x="444" y="394"/>
                  </a:lnTo>
                  <a:lnTo>
                    <a:pt x="447" y="383"/>
                  </a:lnTo>
                  <a:lnTo>
                    <a:pt x="448" y="368"/>
                  </a:lnTo>
                  <a:lnTo>
                    <a:pt x="448" y="355"/>
                  </a:lnTo>
                  <a:lnTo>
                    <a:pt x="448" y="343"/>
                  </a:lnTo>
                  <a:lnTo>
                    <a:pt x="446" y="342"/>
                  </a:lnTo>
                  <a:lnTo>
                    <a:pt x="445" y="340"/>
                  </a:lnTo>
                  <a:lnTo>
                    <a:pt x="444" y="338"/>
                  </a:lnTo>
                  <a:lnTo>
                    <a:pt x="444" y="335"/>
                  </a:lnTo>
                  <a:lnTo>
                    <a:pt x="436" y="327"/>
                  </a:lnTo>
                  <a:lnTo>
                    <a:pt x="436" y="320"/>
                  </a:lnTo>
                  <a:lnTo>
                    <a:pt x="436" y="313"/>
                  </a:lnTo>
                  <a:lnTo>
                    <a:pt x="435" y="313"/>
                  </a:lnTo>
                  <a:lnTo>
                    <a:pt x="434" y="312"/>
                  </a:lnTo>
                  <a:lnTo>
                    <a:pt x="432" y="311"/>
                  </a:lnTo>
                  <a:lnTo>
                    <a:pt x="432" y="309"/>
                  </a:lnTo>
                  <a:lnTo>
                    <a:pt x="432" y="303"/>
                  </a:lnTo>
                  <a:lnTo>
                    <a:pt x="432" y="297"/>
                  </a:lnTo>
                  <a:lnTo>
                    <a:pt x="435" y="285"/>
                  </a:lnTo>
                  <a:lnTo>
                    <a:pt x="436" y="280"/>
                  </a:lnTo>
                  <a:lnTo>
                    <a:pt x="445" y="272"/>
                  </a:lnTo>
                  <a:lnTo>
                    <a:pt x="457" y="263"/>
                  </a:lnTo>
                  <a:lnTo>
                    <a:pt x="457" y="261"/>
                  </a:lnTo>
                  <a:lnTo>
                    <a:pt x="458" y="258"/>
                  </a:lnTo>
                  <a:lnTo>
                    <a:pt x="459" y="254"/>
                  </a:lnTo>
                  <a:lnTo>
                    <a:pt x="461" y="252"/>
                  </a:lnTo>
                  <a:lnTo>
                    <a:pt x="467" y="246"/>
                  </a:lnTo>
                  <a:lnTo>
                    <a:pt x="474" y="243"/>
                  </a:lnTo>
                  <a:lnTo>
                    <a:pt x="475" y="237"/>
                  </a:lnTo>
                  <a:lnTo>
                    <a:pt x="477" y="233"/>
                  </a:lnTo>
                  <a:lnTo>
                    <a:pt x="480" y="227"/>
                  </a:lnTo>
                  <a:lnTo>
                    <a:pt x="486" y="223"/>
                  </a:lnTo>
                  <a:lnTo>
                    <a:pt x="491" y="220"/>
                  </a:lnTo>
                  <a:lnTo>
                    <a:pt x="496" y="216"/>
                  </a:lnTo>
                  <a:lnTo>
                    <a:pt x="502" y="214"/>
                  </a:lnTo>
                  <a:lnTo>
                    <a:pt x="507" y="213"/>
                  </a:lnTo>
                  <a:lnTo>
                    <a:pt x="511" y="205"/>
                  </a:lnTo>
                  <a:lnTo>
                    <a:pt x="517" y="204"/>
                  </a:lnTo>
                  <a:lnTo>
                    <a:pt x="524" y="201"/>
                  </a:lnTo>
                  <a:lnTo>
                    <a:pt x="531" y="196"/>
                  </a:lnTo>
                  <a:lnTo>
                    <a:pt x="537" y="191"/>
                  </a:lnTo>
                  <a:lnTo>
                    <a:pt x="544" y="185"/>
                  </a:lnTo>
                  <a:lnTo>
                    <a:pt x="551" y="181"/>
                  </a:lnTo>
                  <a:lnTo>
                    <a:pt x="556" y="177"/>
                  </a:lnTo>
                  <a:lnTo>
                    <a:pt x="562" y="176"/>
                  </a:lnTo>
                  <a:lnTo>
                    <a:pt x="563" y="173"/>
                  </a:lnTo>
                  <a:lnTo>
                    <a:pt x="565" y="169"/>
                  </a:lnTo>
                  <a:lnTo>
                    <a:pt x="570" y="167"/>
                  </a:lnTo>
                  <a:lnTo>
                    <a:pt x="575" y="164"/>
                  </a:lnTo>
                  <a:lnTo>
                    <a:pt x="587" y="160"/>
                  </a:lnTo>
                  <a:lnTo>
                    <a:pt x="595" y="159"/>
                  </a:lnTo>
                  <a:lnTo>
                    <a:pt x="603" y="150"/>
                  </a:lnTo>
                  <a:lnTo>
                    <a:pt x="621" y="149"/>
                  </a:lnTo>
                  <a:lnTo>
                    <a:pt x="639" y="148"/>
                  </a:lnTo>
                  <a:lnTo>
                    <a:pt x="655" y="145"/>
                  </a:lnTo>
                  <a:lnTo>
                    <a:pt x="670" y="143"/>
                  </a:lnTo>
                  <a:lnTo>
                    <a:pt x="689" y="136"/>
                  </a:lnTo>
                  <a:lnTo>
                    <a:pt x="716" y="126"/>
                  </a:lnTo>
                  <a:lnTo>
                    <a:pt x="742" y="117"/>
                  </a:lnTo>
                  <a:lnTo>
                    <a:pt x="758" y="112"/>
                  </a:lnTo>
                  <a:lnTo>
                    <a:pt x="763" y="109"/>
                  </a:lnTo>
                  <a:lnTo>
                    <a:pt x="763" y="100"/>
                  </a:lnTo>
                  <a:lnTo>
                    <a:pt x="763" y="91"/>
                  </a:lnTo>
                  <a:lnTo>
                    <a:pt x="754" y="91"/>
                  </a:lnTo>
                  <a:lnTo>
                    <a:pt x="746" y="83"/>
                  </a:lnTo>
                  <a:lnTo>
                    <a:pt x="733" y="82"/>
                  </a:lnTo>
                  <a:lnTo>
                    <a:pt x="720" y="81"/>
                  </a:lnTo>
                  <a:lnTo>
                    <a:pt x="707" y="78"/>
                  </a:lnTo>
                  <a:lnTo>
                    <a:pt x="694" y="75"/>
                  </a:lnTo>
                  <a:lnTo>
                    <a:pt x="681" y="72"/>
                  </a:lnTo>
                  <a:lnTo>
                    <a:pt x="669" y="69"/>
                  </a:lnTo>
                  <a:lnTo>
                    <a:pt x="657" y="68"/>
                  </a:lnTo>
                  <a:lnTo>
                    <a:pt x="646" y="67"/>
                  </a:lnTo>
                  <a:lnTo>
                    <a:pt x="642" y="63"/>
                  </a:lnTo>
                  <a:lnTo>
                    <a:pt x="635" y="59"/>
                  </a:lnTo>
                  <a:lnTo>
                    <a:pt x="626" y="56"/>
                  </a:lnTo>
                  <a:lnTo>
                    <a:pt x="620" y="54"/>
                  </a:lnTo>
                  <a:lnTo>
                    <a:pt x="611" y="48"/>
                  </a:lnTo>
                  <a:lnTo>
                    <a:pt x="599" y="41"/>
                  </a:lnTo>
                  <a:lnTo>
                    <a:pt x="599" y="40"/>
                  </a:lnTo>
                  <a:lnTo>
                    <a:pt x="597" y="38"/>
                  </a:lnTo>
                  <a:lnTo>
                    <a:pt x="594" y="34"/>
                  </a:lnTo>
                  <a:lnTo>
                    <a:pt x="591" y="33"/>
                  </a:lnTo>
                  <a:lnTo>
                    <a:pt x="591" y="24"/>
                  </a:lnTo>
                  <a:lnTo>
                    <a:pt x="587" y="21"/>
                  </a:lnTo>
                  <a:lnTo>
                    <a:pt x="579" y="16"/>
                  </a:lnTo>
                  <a:lnTo>
                    <a:pt x="578" y="13"/>
                  </a:lnTo>
                  <a:lnTo>
                    <a:pt x="575" y="10"/>
                  </a:lnTo>
                  <a:lnTo>
                    <a:pt x="573" y="8"/>
                  </a:lnTo>
                  <a:lnTo>
                    <a:pt x="570" y="5"/>
                  </a:lnTo>
                  <a:lnTo>
                    <a:pt x="564" y="1"/>
                  </a:lnTo>
                  <a:lnTo>
                    <a:pt x="562" y="0"/>
                  </a:lnTo>
                  <a:lnTo>
                    <a:pt x="532" y="0"/>
                  </a:lnTo>
                  <a:lnTo>
                    <a:pt x="532" y="1"/>
                  </a:lnTo>
                  <a:lnTo>
                    <a:pt x="530" y="4"/>
                  </a:lnTo>
                  <a:lnTo>
                    <a:pt x="527" y="6"/>
                  </a:lnTo>
                  <a:lnTo>
                    <a:pt x="524" y="8"/>
                  </a:lnTo>
                  <a:lnTo>
                    <a:pt x="524" y="21"/>
                  </a:lnTo>
                  <a:lnTo>
                    <a:pt x="520" y="25"/>
                  </a:lnTo>
                  <a:lnTo>
                    <a:pt x="515" y="3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4" name="Freeform 81"/>
            <p:cNvSpPr>
              <a:spLocks noChangeAspect="1"/>
            </p:cNvSpPr>
            <p:nvPr/>
          </p:nvSpPr>
          <p:spPr bwMode="gray">
            <a:xfrm rot="355651">
              <a:off x="7293444" y="4352925"/>
              <a:ext cx="138592" cy="67070"/>
            </a:xfrm>
            <a:custGeom>
              <a:avLst/>
              <a:gdLst/>
              <a:ahLst/>
              <a:cxnLst>
                <a:cxn ang="0">
                  <a:pos x="464" y="86"/>
                </a:cxn>
                <a:cxn ang="0">
                  <a:pos x="435" y="118"/>
                </a:cxn>
                <a:cxn ang="0">
                  <a:pos x="405" y="140"/>
                </a:cxn>
                <a:cxn ang="0">
                  <a:pos x="371" y="167"/>
                </a:cxn>
                <a:cxn ang="0">
                  <a:pos x="339" y="189"/>
                </a:cxn>
                <a:cxn ang="0">
                  <a:pos x="324" y="204"/>
                </a:cxn>
                <a:cxn ang="0">
                  <a:pos x="290" y="230"/>
                </a:cxn>
                <a:cxn ang="0">
                  <a:pos x="265" y="241"/>
                </a:cxn>
                <a:cxn ang="0">
                  <a:pos x="235" y="251"/>
                </a:cxn>
                <a:cxn ang="0">
                  <a:pos x="211" y="266"/>
                </a:cxn>
                <a:cxn ang="0">
                  <a:pos x="130" y="289"/>
                </a:cxn>
                <a:cxn ang="0">
                  <a:pos x="45" y="326"/>
                </a:cxn>
                <a:cxn ang="0">
                  <a:pos x="13" y="337"/>
                </a:cxn>
                <a:cxn ang="0">
                  <a:pos x="0" y="351"/>
                </a:cxn>
                <a:cxn ang="0">
                  <a:pos x="34" y="360"/>
                </a:cxn>
                <a:cxn ang="0">
                  <a:pos x="75" y="377"/>
                </a:cxn>
                <a:cxn ang="0">
                  <a:pos x="115" y="396"/>
                </a:cxn>
                <a:cxn ang="0">
                  <a:pos x="138" y="408"/>
                </a:cxn>
                <a:cxn ang="0">
                  <a:pos x="188" y="412"/>
                </a:cxn>
                <a:cxn ang="0">
                  <a:pos x="229" y="398"/>
                </a:cxn>
                <a:cxn ang="0">
                  <a:pos x="275" y="380"/>
                </a:cxn>
                <a:cxn ang="0">
                  <a:pos x="310" y="364"/>
                </a:cxn>
                <a:cxn ang="0">
                  <a:pos x="352" y="360"/>
                </a:cxn>
                <a:cxn ang="0">
                  <a:pos x="364" y="368"/>
                </a:cxn>
                <a:cxn ang="0">
                  <a:pos x="395" y="388"/>
                </a:cxn>
                <a:cxn ang="0">
                  <a:pos x="415" y="393"/>
                </a:cxn>
                <a:cxn ang="0">
                  <a:pos x="447" y="383"/>
                </a:cxn>
                <a:cxn ang="0">
                  <a:pos x="446" y="342"/>
                </a:cxn>
                <a:cxn ang="0">
                  <a:pos x="436" y="327"/>
                </a:cxn>
                <a:cxn ang="0">
                  <a:pos x="434" y="312"/>
                </a:cxn>
                <a:cxn ang="0">
                  <a:pos x="432" y="297"/>
                </a:cxn>
                <a:cxn ang="0">
                  <a:pos x="457" y="263"/>
                </a:cxn>
                <a:cxn ang="0">
                  <a:pos x="461" y="252"/>
                </a:cxn>
                <a:cxn ang="0">
                  <a:pos x="477" y="233"/>
                </a:cxn>
                <a:cxn ang="0">
                  <a:pos x="496" y="216"/>
                </a:cxn>
                <a:cxn ang="0">
                  <a:pos x="517" y="204"/>
                </a:cxn>
                <a:cxn ang="0">
                  <a:pos x="544" y="185"/>
                </a:cxn>
                <a:cxn ang="0">
                  <a:pos x="563" y="173"/>
                </a:cxn>
                <a:cxn ang="0">
                  <a:pos x="587" y="160"/>
                </a:cxn>
                <a:cxn ang="0">
                  <a:pos x="639" y="148"/>
                </a:cxn>
                <a:cxn ang="0">
                  <a:pos x="716" y="126"/>
                </a:cxn>
                <a:cxn ang="0">
                  <a:pos x="763" y="100"/>
                </a:cxn>
                <a:cxn ang="0">
                  <a:pos x="733" y="82"/>
                </a:cxn>
                <a:cxn ang="0">
                  <a:pos x="681" y="72"/>
                </a:cxn>
                <a:cxn ang="0">
                  <a:pos x="642" y="63"/>
                </a:cxn>
                <a:cxn ang="0">
                  <a:pos x="611" y="48"/>
                </a:cxn>
                <a:cxn ang="0">
                  <a:pos x="594" y="34"/>
                </a:cxn>
                <a:cxn ang="0">
                  <a:pos x="579" y="16"/>
                </a:cxn>
                <a:cxn ang="0">
                  <a:pos x="570" y="5"/>
                </a:cxn>
                <a:cxn ang="0">
                  <a:pos x="532" y="1"/>
                </a:cxn>
                <a:cxn ang="0">
                  <a:pos x="524" y="21"/>
                </a:cxn>
              </a:cxnLst>
              <a:rect l="0" t="0" r="r" b="b"/>
              <a:pathLst>
                <a:path w="763" h="414">
                  <a:moveTo>
                    <a:pt x="515" y="33"/>
                  </a:moveTo>
                  <a:lnTo>
                    <a:pt x="496" y="50"/>
                  </a:lnTo>
                  <a:lnTo>
                    <a:pt x="475" y="73"/>
                  </a:lnTo>
                  <a:lnTo>
                    <a:pt x="464" y="86"/>
                  </a:lnTo>
                  <a:lnTo>
                    <a:pt x="454" y="97"/>
                  </a:lnTo>
                  <a:lnTo>
                    <a:pt x="446" y="108"/>
                  </a:lnTo>
                  <a:lnTo>
                    <a:pt x="440" y="117"/>
                  </a:lnTo>
                  <a:lnTo>
                    <a:pt x="435" y="118"/>
                  </a:lnTo>
                  <a:lnTo>
                    <a:pt x="429" y="121"/>
                  </a:lnTo>
                  <a:lnTo>
                    <a:pt x="424" y="125"/>
                  </a:lnTo>
                  <a:lnTo>
                    <a:pt x="417" y="130"/>
                  </a:lnTo>
                  <a:lnTo>
                    <a:pt x="405" y="140"/>
                  </a:lnTo>
                  <a:lnTo>
                    <a:pt x="393" y="146"/>
                  </a:lnTo>
                  <a:lnTo>
                    <a:pt x="388" y="154"/>
                  </a:lnTo>
                  <a:lnTo>
                    <a:pt x="380" y="160"/>
                  </a:lnTo>
                  <a:lnTo>
                    <a:pt x="371" y="167"/>
                  </a:lnTo>
                  <a:lnTo>
                    <a:pt x="361" y="174"/>
                  </a:lnTo>
                  <a:lnTo>
                    <a:pt x="351" y="179"/>
                  </a:lnTo>
                  <a:lnTo>
                    <a:pt x="342" y="186"/>
                  </a:lnTo>
                  <a:lnTo>
                    <a:pt x="339" y="189"/>
                  </a:lnTo>
                  <a:lnTo>
                    <a:pt x="335" y="193"/>
                  </a:lnTo>
                  <a:lnTo>
                    <a:pt x="333" y="197"/>
                  </a:lnTo>
                  <a:lnTo>
                    <a:pt x="331" y="201"/>
                  </a:lnTo>
                  <a:lnTo>
                    <a:pt x="324" y="204"/>
                  </a:lnTo>
                  <a:lnTo>
                    <a:pt x="313" y="212"/>
                  </a:lnTo>
                  <a:lnTo>
                    <a:pt x="302" y="221"/>
                  </a:lnTo>
                  <a:lnTo>
                    <a:pt x="297" y="226"/>
                  </a:lnTo>
                  <a:lnTo>
                    <a:pt x="290" y="230"/>
                  </a:lnTo>
                  <a:lnTo>
                    <a:pt x="282" y="232"/>
                  </a:lnTo>
                  <a:lnTo>
                    <a:pt x="274" y="236"/>
                  </a:lnTo>
                  <a:lnTo>
                    <a:pt x="269" y="239"/>
                  </a:lnTo>
                  <a:lnTo>
                    <a:pt x="265" y="241"/>
                  </a:lnTo>
                  <a:lnTo>
                    <a:pt x="261" y="242"/>
                  </a:lnTo>
                  <a:lnTo>
                    <a:pt x="256" y="243"/>
                  </a:lnTo>
                  <a:lnTo>
                    <a:pt x="247" y="251"/>
                  </a:lnTo>
                  <a:lnTo>
                    <a:pt x="235" y="251"/>
                  </a:lnTo>
                  <a:lnTo>
                    <a:pt x="229" y="255"/>
                  </a:lnTo>
                  <a:lnTo>
                    <a:pt x="224" y="260"/>
                  </a:lnTo>
                  <a:lnTo>
                    <a:pt x="218" y="263"/>
                  </a:lnTo>
                  <a:lnTo>
                    <a:pt x="211" y="266"/>
                  </a:lnTo>
                  <a:lnTo>
                    <a:pt x="198" y="272"/>
                  </a:lnTo>
                  <a:lnTo>
                    <a:pt x="184" y="277"/>
                  </a:lnTo>
                  <a:lnTo>
                    <a:pt x="155" y="283"/>
                  </a:lnTo>
                  <a:lnTo>
                    <a:pt x="130" y="289"/>
                  </a:lnTo>
                  <a:lnTo>
                    <a:pt x="105" y="299"/>
                  </a:lnTo>
                  <a:lnTo>
                    <a:pt x="75" y="313"/>
                  </a:lnTo>
                  <a:lnTo>
                    <a:pt x="60" y="320"/>
                  </a:lnTo>
                  <a:lnTo>
                    <a:pt x="45" y="326"/>
                  </a:lnTo>
                  <a:lnTo>
                    <a:pt x="32" y="329"/>
                  </a:lnTo>
                  <a:lnTo>
                    <a:pt x="21" y="330"/>
                  </a:lnTo>
                  <a:lnTo>
                    <a:pt x="17" y="333"/>
                  </a:lnTo>
                  <a:lnTo>
                    <a:pt x="13" y="337"/>
                  </a:lnTo>
                  <a:lnTo>
                    <a:pt x="9" y="340"/>
                  </a:lnTo>
                  <a:lnTo>
                    <a:pt x="8" y="343"/>
                  </a:lnTo>
                  <a:lnTo>
                    <a:pt x="0" y="343"/>
                  </a:lnTo>
                  <a:lnTo>
                    <a:pt x="0" y="351"/>
                  </a:lnTo>
                  <a:lnTo>
                    <a:pt x="7" y="355"/>
                  </a:lnTo>
                  <a:lnTo>
                    <a:pt x="15" y="357"/>
                  </a:lnTo>
                  <a:lnTo>
                    <a:pt x="24" y="359"/>
                  </a:lnTo>
                  <a:lnTo>
                    <a:pt x="34" y="360"/>
                  </a:lnTo>
                  <a:lnTo>
                    <a:pt x="42" y="366"/>
                  </a:lnTo>
                  <a:lnTo>
                    <a:pt x="53" y="371"/>
                  </a:lnTo>
                  <a:lnTo>
                    <a:pt x="65" y="375"/>
                  </a:lnTo>
                  <a:lnTo>
                    <a:pt x="75" y="377"/>
                  </a:lnTo>
                  <a:lnTo>
                    <a:pt x="80" y="385"/>
                  </a:lnTo>
                  <a:lnTo>
                    <a:pt x="90" y="387"/>
                  </a:lnTo>
                  <a:lnTo>
                    <a:pt x="103" y="391"/>
                  </a:lnTo>
                  <a:lnTo>
                    <a:pt x="115" y="396"/>
                  </a:lnTo>
                  <a:lnTo>
                    <a:pt x="125" y="398"/>
                  </a:lnTo>
                  <a:lnTo>
                    <a:pt x="129" y="402"/>
                  </a:lnTo>
                  <a:lnTo>
                    <a:pt x="133" y="405"/>
                  </a:lnTo>
                  <a:lnTo>
                    <a:pt x="138" y="408"/>
                  </a:lnTo>
                  <a:lnTo>
                    <a:pt x="142" y="410"/>
                  </a:lnTo>
                  <a:lnTo>
                    <a:pt x="153" y="413"/>
                  </a:lnTo>
                  <a:lnTo>
                    <a:pt x="165" y="414"/>
                  </a:lnTo>
                  <a:lnTo>
                    <a:pt x="188" y="412"/>
                  </a:lnTo>
                  <a:lnTo>
                    <a:pt x="209" y="410"/>
                  </a:lnTo>
                  <a:lnTo>
                    <a:pt x="214" y="402"/>
                  </a:lnTo>
                  <a:lnTo>
                    <a:pt x="220" y="400"/>
                  </a:lnTo>
                  <a:lnTo>
                    <a:pt x="229" y="398"/>
                  </a:lnTo>
                  <a:lnTo>
                    <a:pt x="240" y="395"/>
                  </a:lnTo>
                  <a:lnTo>
                    <a:pt x="253" y="390"/>
                  </a:lnTo>
                  <a:lnTo>
                    <a:pt x="265" y="386"/>
                  </a:lnTo>
                  <a:lnTo>
                    <a:pt x="275" y="380"/>
                  </a:lnTo>
                  <a:lnTo>
                    <a:pt x="284" y="376"/>
                  </a:lnTo>
                  <a:lnTo>
                    <a:pt x="290" y="373"/>
                  </a:lnTo>
                  <a:lnTo>
                    <a:pt x="302" y="373"/>
                  </a:lnTo>
                  <a:lnTo>
                    <a:pt x="310" y="364"/>
                  </a:lnTo>
                  <a:lnTo>
                    <a:pt x="319" y="364"/>
                  </a:lnTo>
                  <a:lnTo>
                    <a:pt x="330" y="362"/>
                  </a:lnTo>
                  <a:lnTo>
                    <a:pt x="341" y="360"/>
                  </a:lnTo>
                  <a:lnTo>
                    <a:pt x="352" y="360"/>
                  </a:lnTo>
                  <a:lnTo>
                    <a:pt x="353" y="362"/>
                  </a:lnTo>
                  <a:lnTo>
                    <a:pt x="357" y="366"/>
                  </a:lnTo>
                  <a:lnTo>
                    <a:pt x="361" y="368"/>
                  </a:lnTo>
                  <a:lnTo>
                    <a:pt x="364" y="368"/>
                  </a:lnTo>
                  <a:lnTo>
                    <a:pt x="369" y="377"/>
                  </a:lnTo>
                  <a:lnTo>
                    <a:pt x="377" y="380"/>
                  </a:lnTo>
                  <a:lnTo>
                    <a:pt x="386" y="385"/>
                  </a:lnTo>
                  <a:lnTo>
                    <a:pt x="395" y="388"/>
                  </a:lnTo>
                  <a:lnTo>
                    <a:pt x="402" y="389"/>
                  </a:lnTo>
                  <a:lnTo>
                    <a:pt x="403" y="390"/>
                  </a:lnTo>
                  <a:lnTo>
                    <a:pt x="408" y="391"/>
                  </a:lnTo>
                  <a:lnTo>
                    <a:pt x="415" y="393"/>
                  </a:lnTo>
                  <a:lnTo>
                    <a:pt x="421" y="393"/>
                  </a:lnTo>
                  <a:lnTo>
                    <a:pt x="436" y="394"/>
                  </a:lnTo>
                  <a:lnTo>
                    <a:pt x="444" y="394"/>
                  </a:lnTo>
                  <a:lnTo>
                    <a:pt x="447" y="383"/>
                  </a:lnTo>
                  <a:lnTo>
                    <a:pt x="448" y="368"/>
                  </a:lnTo>
                  <a:lnTo>
                    <a:pt x="448" y="355"/>
                  </a:lnTo>
                  <a:lnTo>
                    <a:pt x="448" y="343"/>
                  </a:lnTo>
                  <a:lnTo>
                    <a:pt x="446" y="342"/>
                  </a:lnTo>
                  <a:lnTo>
                    <a:pt x="445" y="340"/>
                  </a:lnTo>
                  <a:lnTo>
                    <a:pt x="444" y="338"/>
                  </a:lnTo>
                  <a:lnTo>
                    <a:pt x="444" y="335"/>
                  </a:lnTo>
                  <a:lnTo>
                    <a:pt x="436" y="327"/>
                  </a:lnTo>
                  <a:lnTo>
                    <a:pt x="436" y="320"/>
                  </a:lnTo>
                  <a:lnTo>
                    <a:pt x="436" y="313"/>
                  </a:lnTo>
                  <a:lnTo>
                    <a:pt x="435" y="313"/>
                  </a:lnTo>
                  <a:lnTo>
                    <a:pt x="434" y="312"/>
                  </a:lnTo>
                  <a:lnTo>
                    <a:pt x="432" y="311"/>
                  </a:lnTo>
                  <a:lnTo>
                    <a:pt x="432" y="309"/>
                  </a:lnTo>
                  <a:lnTo>
                    <a:pt x="432" y="303"/>
                  </a:lnTo>
                  <a:lnTo>
                    <a:pt x="432" y="297"/>
                  </a:lnTo>
                  <a:lnTo>
                    <a:pt x="435" y="285"/>
                  </a:lnTo>
                  <a:lnTo>
                    <a:pt x="436" y="280"/>
                  </a:lnTo>
                  <a:lnTo>
                    <a:pt x="445" y="272"/>
                  </a:lnTo>
                  <a:lnTo>
                    <a:pt x="457" y="263"/>
                  </a:lnTo>
                  <a:lnTo>
                    <a:pt x="457" y="261"/>
                  </a:lnTo>
                  <a:lnTo>
                    <a:pt x="458" y="258"/>
                  </a:lnTo>
                  <a:lnTo>
                    <a:pt x="459" y="254"/>
                  </a:lnTo>
                  <a:lnTo>
                    <a:pt x="461" y="252"/>
                  </a:lnTo>
                  <a:lnTo>
                    <a:pt x="467" y="246"/>
                  </a:lnTo>
                  <a:lnTo>
                    <a:pt x="474" y="243"/>
                  </a:lnTo>
                  <a:lnTo>
                    <a:pt x="475" y="237"/>
                  </a:lnTo>
                  <a:lnTo>
                    <a:pt x="477" y="233"/>
                  </a:lnTo>
                  <a:lnTo>
                    <a:pt x="480" y="227"/>
                  </a:lnTo>
                  <a:lnTo>
                    <a:pt x="486" y="223"/>
                  </a:lnTo>
                  <a:lnTo>
                    <a:pt x="491" y="220"/>
                  </a:lnTo>
                  <a:lnTo>
                    <a:pt x="496" y="216"/>
                  </a:lnTo>
                  <a:lnTo>
                    <a:pt x="502" y="214"/>
                  </a:lnTo>
                  <a:lnTo>
                    <a:pt x="507" y="213"/>
                  </a:lnTo>
                  <a:lnTo>
                    <a:pt x="511" y="205"/>
                  </a:lnTo>
                  <a:lnTo>
                    <a:pt x="517" y="204"/>
                  </a:lnTo>
                  <a:lnTo>
                    <a:pt x="524" y="201"/>
                  </a:lnTo>
                  <a:lnTo>
                    <a:pt x="531" y="196"/>
                  </a:lnTo>
                  <a:lnTo>
                    <a:pt x="537" y="191"/>
                  </a:lnTo>
                  <a:lnTo>
                    <a:pt x="544" y="185"/>
                  </a:lnTo>
                  <a:lnTo>
                    <a:pt x="551" y="181"/>
                  </a:lnTo>
                  <a:lnTo>
                    <a:pt x="556" y="177"/>
                  </a:lnTo>
                  <a:lnTo>
                    <a:pt x="562" y="176"/>
                  </a:lnTo>
                  <a:lnTo>
                    <a:pt x="563" y="173"/>
                  </a:lnTo>
                  <a:lnTo>
                    <a:pt x="565" y="169"/>
                  </a:lnTo>
                  <a:lnTo>
                    <a:pt x="570" y="167"/>
                  </a:lnTo>
                  <a:lnTo>
                    <a:pt x="575" y="164"/>
                  </a:lnTo>
                  <a:lnTo>
                    <a:pt x="587" y="160"/>
                  </a:lnTo>
                  <a:lnTo>
                    <a:pt x="595" y="159"/>
                  </a:lnTo>
                  <a:lnTo>
                    <a:pt x="603" y="150"/>
                  </a:lnTo>
                  <a:lnTo>
                    <a:pt x="621" y="149"/>
                  </a:lnTo>
                  <a:lnTo>
                    <a:pt x="639" y="148"/>
                  </a:lnTo>
                  <a:lnTo>
                    <a:pt x="655" y="145"/>
                  </a:lnTo>
                  <a:lnTo>
                    <a:pt x="670" y="143"/>
                  </a:lnTo>
                  <a:lnTo>
                    <a:pt x="689" y="136"/>
                  </a:lnTo>
                  <a:lnTo>
                    <a:pt x="716" y="126"/>
                  </a:lnTo>
                  <a:lnTo>
                    <a:pt x="742" y="117"/>
                  </a:lnTo>
                  <a:lnTo>
                    <a:pt x="758" y="112"/>
                  </a:lnTo>
                  <a:lnTo>
                    <a:pt x="763" y="109"/>
                  </a:lnTo>
                  <a:lnTo>
                    <a:pt x="763" y="100"/>
                  </a:lnTo>
                  <a:lnTo>
                    <a:pt x="763" y="91"/>
                  </a:lnTo>
                  <a:lnTo>
                    <a:pt x="754" y="91"/>
                  </a:lnTo>
                  <a:lnTo>
                    <a:pt x="746" y="83"/>
                  </a:lnTo>
                  <a:lnTo>
                    <a:pt x="733" y="82"/>
                  </a:lnTo>
                  <a:lnTo>
                    <a:pt x="720" y="81"/>
                  </a:lnTo>
                  <a:lnTo>
                    <a:pt x="707" y="78"/>
                  </a:lnTo>
                  <a:lnTo>
                    <a:pt x="694" y="75"/>
                  </a:lnTo>
                  <a:lnTo>
                    <a:pt x="681" y="72"/>
                  </a:lnTo>
                  <a:lnTo>
                    <a:pt x="669" y="69"/>
                  </a:lnTo>
                  <a:lnTo>
                    <a:pt x="657" y="68"/>
                  </a:lnTo>
                  <a:lnTo>
                    <a:pt x="646" y="67"/>
                  </a:lnTo>
                  <a:lnTo>
                    <a:pt x="642" y="63"/>
                  </a:lnTo>
                  <a:lnTo>
                    <a:pt x="635" y="59"/>
                  </a:lnTo>
                  <a:lnTo>
                    <a:pt x="626" y="56"/>
                  </a:lnTo>
                  <a:lnTo>
                    <a:pt x="620" y="54"/>
                  </a:lnTo>
                  <a:lnTo>
                    <a:pt x="611" y="48"/>
                  </a:lnTo>
                  <a:lnTo>
                    <a:pt x="599" y="41"/>
                  </a:lnTo>
                  <a:lnTo>
                    <a:pt x="599" y="40"/>
                  </a:lnTo>
                  <a:lnTo>
                    <a:pt x="597" y="38"/>
                  </a:lnTo>
                  <a:lnTo>
                    <a:pt x="594" y="34"/>
                  </a:lnTo>
                  <a:lnTo>
                    <a:pt x="591" y="33"/>
                  </a:lnTo>
                  <a:lnTo>
                    <a:pt x="591" y="24"/>
                  </a:lnTo>
                  <a:lnTo>
                    <a:pt x="587" y="21"/>
                  </a:lnTo>
                  <a:lnTo>
                    <a:pt x="579" y="16"/>
                  </a:lnTo>
                  <a:lnTo>
                    <a:pt x="578" y="13"/>
                  </a:lnTo>
                  <a:lnTo>
                    <a:pt x="575" y="10"/>
                  </a:lnTo>
                  <a:lnTo>
                    <a:pt x="573" y="8"/>
                  </a:lnTo>
                  <a:lnTo>
                    <a:pt x="570" y="5"/>
                  </a:lnTo>
                  <a:lnTo>
                    <a:pt x="564" y="1"/>
                  </a:lnTo>
                  <a:lnTo>
                    <a:pt x="562" y="0"/>
                  </a:lnTo>
                  <a:lnTo>
                    <a:pt x="532" y="0"/>
                  </a:lnTo>
                  <a:lnTo>
                    <a:pt x="532" y="1"/>
                  </a:lnTo>
                  <a:lnTo>
                    <a:pt x="530" y="4"/>
                  </a:lnTo>
                  <a:lnTo>
                    <a:pt x="527" y="6"/>
                  </a:lnTo>
                  <a:lnTo>
                    <a:pt x="524" y="8"/>
                  </a:lnTo>
                  <a:lnTo>
                    <a:pt x="524" y="21"/>
                  </a:lnTo>
                  <a:lnTo>
                    <a:pt x="520" y="25"/>
                  </a:lnTo>
                  <a:lnTo>
                    <a:pt x="515" y="33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5" name="Freeform 82"/>
            <p:cNvSpPr>
              <a:spLocks noChangeAspect="1"/>
            </p:cNvSpPr>
            <p:nvPr/>
          </p:nvSpPr>
          <p:spPr bwMode="gray">
            <a:xfrm rot="355651">
              <a:off x="7125229" y="4394200"/>
              <a:ext cx="66652" cy="59618"/>
            </a:xfrm>
            <a:custGeom>
              <a:avLst/>
              <a:gdLst/>
              <a:ahLst/>
              <a:cxnLst>
                <a:cxn ang="0">
                  <a:pos x="66" y="36"/>
                </a:cxn>
                <a:cxn ang="0">
                  <a:pos x="48" y="55"/>
                </a:cxn>
                <a:cxn ang="0">
                  <a:pos x="38" y="59"/>
                </a:cxn>
                <a:cxn ang="0">
                  <a:pos x="24" y="75"/>
                </a:cxn>
                <a:cxn ang="0">
                  <a:pos x="12" y="84"/>
                </a:cxn>
                <a:cxn ang="0">
                  <a:pos x="4" y="102"/>
                </a:cxn>
                <a:cxn ang="0">
                  <a:pos x="1" y="123"/>
                </a:cxn>
                <a:cxn ang="0">
                  <a:pos x="7" y="146"/>
                </a:cxn>
                <a:cxn ang="0">
                  <a:pos x="26" y="163"/>
                </a:cxn>
                <a:cxn ang="0">
                  <a:pos x="59" y="188"/>
                </a:cxn>
                <a:cxn ang="0">
                  <a:pos x="99" y="218"/>
                </a:cxn>
                <a:cxn ang="0">
                  <a:pos x="114" y="226"/>
                </a:cxn>
                <a:cxn ang="0">
                  <a:pos x="139" y="256"/>
                </a:cxn>
                <a:cxn ang="0">
                  <a:pos x="171" y="300"/>
                </a:cxn>
                <a:cxn ang="0">
                  <a:pos x="192" y="335"/>
                </a:cxn>
                <a:cxn ang="0">
                  <a:pos x="200" y="348"/>
                </a:cxn>
                <a:cxn ang="0">
                  <a:pos x="209" y="355"/>
                </a:cxn>
                <a:cxn ang="0">
                  <a:pos x="222" y="365"/>
                </a:cxn>
                <a:cxn ang="0">
                  <a:pos x="231" y="369"/>
                </a:cxn>
                <a:cxn ang="0">
                  <a:pos x="240" y="362"/>
                </a:cxn>
                <a:cxn ang="0">
                  <a:pos x="246" y="351"/>
                </a:cxn>
                <a:cxn ang="0">
                  <a:pos x="256" y="329"/>
                </a:cxn>
                <a:cxn ang="0">
                  <a:pos x="263" y="314"/>
                </a:cxn>
                <a:cxn ang="0">
                  <a:pos x="277" y="308"/>
                </a:cxn>
                <a:cxn ang="0">
                  <a:pos x="302" y="286"/>
                </a:cxn>
                <a:cxn ang="0">
                  <a:pos x="319" y="275"/>
                </a:cxn>
                <a:cxn ang="0">
                  <a:pos x="328" y="269"/>
                </a:cxn>
                <a:cxn ang="0">
                  <a:pos x="336" y="261"/>
                </a:cxn>
                <a:cxn ang="0">
                  <a:pos x="350" y="249"/>
                </a:cxn>
                <a:cxn ang="0">
                  <a:pos x="361" y="239"/>
                </a:cxn>
                <a:cxn ang="0">
                  <a:pos x="369" y="230"/>
                </a:cxn>
                <a:cxn ang="0">
                  <a:pos x="347" y="212"/>
                </a:cxn>
                <a:cxn ang="0">
                  <a:pos x="301" y="184"/>
                </a:cxn>
                <a:cxn ang="0">
                  <a:pos x="270" y="178"/>
                </a:cxn>
                <a:cxn ang="0">
                  <a:pos x="258" y="172"/>
                </a:cxn>
                <a:cxn ang="0">
                  <a:pos x="246" y="163"/>
                </a:cxn>
                <a:cxn ang="0">
                  <a:pos x="231" y="152"/>
                </a:cxn>
                <a:cxn ang="0">
                  <a:pos x="217" y="141"/>
                </a:cxn>
                <a:cxn ang="0">
                  <a:pos x="210" y="126"/>
                </a:cxn>
                <a:cxn ang="0">
                  <a:pos x="198" y="101"/>
                </a:cxn>
                <a:cxn ang="0">
                  <a:pos x="172" y="59"/>
                </a:cxn>
                <a:cxn ang="0">
                  <a:pos x="153" y="32"/>
                </a:cxn>
                <a:cxn ang="0">
                  <a:pos x="144" y="20"/>
                </a:cxn>
                <a:cxn ang="0">
                  <a:pos x="138" y="13"/>
                </a:cxn>
                <a:cxn ang="0">
                  <a:pos x="122" y="10"/>
                </a:cxn>
                <a:cxn ang="0">
                  <a:pos x="99" y="5"/>
                </a:cxn>
              </a:cxnLst>
              <a:rect l="0" t="0" r="r" b="b"/>
              <a:pathLst>
                <a:path w="373" h="369">
                  <a:moveTo>
                    <a:pt x="88" y="0"/>
                  </a:moveTo>
                  <a:lnTo>
                    <a:pt x="79" y="17"/>
                  </a:lnTo>
                  <a:lnTo>
                    <a:pt x="66" y="36"/>
                  </a:lnTo>
                  <a:lnTo>
                    <a:pt x="59" y="45"/>
                  </a:lnTo>
                  <a:lnTo>
                    <a:pt x="51" y="52"/>
                  </a:lnTo>
                  <a:lnTo>
                    <a:pt x="48" y="55"/>
                  </a:lnTo>
                  <a:lnTo>
                    <a:pt x="45" y="57"/>
                  </a:lnTo>
                  <a:lnTo>
                    <a:pt x="41" y="58"/>
                  </a:lnTo>
                  <a:lnTo>
                    <a:pt x="38" y="59"/>
                  </a:lnTo>
                  <a:lnTo>
                    <a:pt x="33" y="67"/>
                  </a:lnTo>
                  <a:lnTo>
                    <a:pt x="26" y="72"/>
                  </a:lnTo>
                  <a:lnTo>
                    <a:pt x="24" y="75"/>
                  </a:lnTo>
                  <a:lnTo>
                    <a:pt x="21" y="79"/>
                  </a:lnTo>
                  <a:lnTo>
                    <a:pt x="17" y="83"/>
                  </a:lnTo>
                  <a:lnTo>
                    <a:pt x="12" y="84"/>
                  </a:lnTo>
                  <a:lnTo>
                    <a:pt x="11" y="90"/>
                  </a:lnTo>
                  <a:lnTo>
                    <a:pt x="8" y="96"/>
                  </a:lnTo>
                  <a:lnTo>
                    <a:pt x="4" y="102"/>
                  </a:lnTo>
                  <a:lnTo>
                    <a:pt x="0" y="105"/>
                  </a:lnTo>
                  <a:lnTo>
                    <a:pt x="0" y="114"/>
                  </a:lnTo>
                  <a:lnTo>
                    <a:pt x="1" y="123"/>
                  </a:lnTo>
                  <a:lnTo>
                    <a:pt x="1" y="131"/>
                  </a:lnTo>
                  <a:lnTo>
                    <a:pt x="3" y="139"/>
                  </a:lnTo>
                  <a:lnTo>
                    <a:pt x="7" y="146"/>
                  </a:lnTo>
                  <a:lnTo>
                    <a:pt x="11" y="153"/>
                  </a:lnTo>
                  <a:lnTo>
                    <a:pt x="17" y="159"/>
                  </a:lnTo>
                  <a:lnTo>
                    <a:pt x="26" y="163"/>
                  </a:lnTo>
                  <a:lnTo>
                    <a:pt x="35" y="169"/>
                  </a:lnTo>
                  <a:lnTo>
                    <a:pt x="46" y="177"/>
                  </a:lnTo>
                  <a:lnTo>
                    <a:pt x="59" y="188"/>
                  </a:lnTo>
                  <a:lnTo>
                    <a:pt x="73" y="198"/>
                  </a:lnTo>
                  <a:lnTo>
                    <a:pt x="87" y="209"/>
                  </a:lnTo>
                  <a:lnTo>
                    <a:pt x="99" y="218"/>
                  </a:lnTo>
                  <a:lnTo>
                    <a:pt x="105" y="221"/>
                  </a:lnTo>
                  <a:lnTo>
                    <a:pt x="109" y="225"/>
                  </a:lnTo>
                  <a:lnTo>
                    <a:pt x="114" y="226"/>
                  </a:lnTo>
                  <a:lnTo>
                    <a:pt x="117" y="227"/>
                  </a:lnTo>
                  <a:lnTo>
                    <a:pt x="124" y="237"/>
                  </a:lnTo>
                  <a:lnTo>
                    <a:pt x="139" y="256"/>
                  </a:lnTo>
                  <a:lnTo>
                    <a:pt x="155" y="277"/>
                  </a:lnTo>
                  <a:lnTo>
                    <a:pt x="164" y="289"/>
                  </a:lnTo>
                  <a:lnTo>
                    <a:pt x="171" y="300"/>
                  </a:lnTo>
                  <a:lnTo>
                    <a:pt x="182" y="317"/>
                  </a:lnTo>
                  <a:lnTo>
                    <a:pt x="187" y="326"/>
                  </a:lnTo>
                  <a:lnTo>
                    <a:pt x="192" y="335"/>
                  </a:lnTo>
                  <a:lnTo>
                    <a:pt x="196" y="342"/>
                  </a:lnTo>
                  <a:lnTo>
                    <a:pt x="198" y="348"/>
                  </a:lnTo>
                  <a:lnTo>
                    <a:pt x="200" y="348"/>
                  </a:lnTo>
                  <a:lnTo>
                    <a:pt x="203" y="350"/>
                  </a:lnTo>
                  <a:lnTo>
                    <a:pt x="206" y="352"/>
                  </a:lnTo>
                  <a:lnTo>
                    <a:pt x="209" y="355"/>
                  </a:lnTo>
                  <a:lnTo>
                    <a:pt x="212" y="361"/>
                  </a:lnTo>
                  <a:lnTo>
                    <a:pt x="214" y="365"/>
                  </a:lnTo>
                  <a:lnTo>
                    <a:pt x="222" y="365"/>
                  </a:lnTo>
                  <a:lnTo>
                    <a:pt x="223" y="367"/>
                  </a:lnTo>
                  <a:lnTo>
                    <a:pt x="227" y="369"/>
                  </a:lnTo>
                  <a:lnTo>
                    <a:pt x="231" y="369"/>
                  </a:lnTo>
                  <a:lnTo>
                    <a:pt x="234" y="369"/>
                  </a:lnTo>
                  <a:lnTo>
                    <a:pt x="239" y="365"/>
                  </a:lnTo>
                  <a:lnTo>
                    <a:pt x="240" y="362"/>
                  </a:lnTo>
                  <a:lnTo>
                    <a:pt x="241" y="357"/>
                  </a:lnTo>
                  <a:lnTo>
                    <a:pt x="243" y="354"/>
                  </a:lnTo>
                  <a:lnTo>
                    <a:pt x="246" y="351"/>
                  </a:lnTo>
                  <a:lnTo>
                    <a:pt x="251" y="344"/>
                  </a:lnTo>
                  <a:lnTo>
                    <a:pt x="256" y="340"/>
                  </a:lnTo>
                  <a:lnTo>
                    <a:pt x="256" y="329"/>
                  </a:lnTo>
                  <a:lnTo>
                    <a:pt x="256" y="318"/>
                  </a:lnTo>
                  <a:lnTo>
                    <a:pt x="260" y="315"/>
                  </a:lnTo>
                  <a:lnTo>
                    <a:pt x="263" y="314"/>
                  </a:lnTo>
                  <a:lnTo>
                    <a:pt x="268" y="313"/>
                  </a:lnTo>
                  <a:lnTo>
                    <a:pt x="272" y="311"/>
                  </a:lnTo>
                  <a:lnTo>
                    <a:pt x="277" y="308"/>
                  </a:lnTo>
                  <a:lnTo>
                    <a:pt x="285" y="302"/>
                  </a:lnTo>
                  <a:lnTo>
                    <a:pt x="294" y="294"/>
                  </a:lnTo>
                  <a:lnTo>
                    <a:pt x="302" y="286"/>
                  </a:lnTo>
                  <a:lnTo>
                    <a:pt x="310" y="279"/>
                  </a:lnTo>
                  <a:lnTo>
                    <a:pt x="315" y="276"/>
                  </a:lnTo>
                  <a:lnTo>
                    <a:pt x="319" y="275"/>
                  </a:lnTo>
                  <a:lnTo>
                    <a:pt x="323" y="273"/>
                  </a:lnTo>
                  <a:lnTo>
                    <a:pt x="327" y="273"/>
                  </a:lnTo>
                  <a:lnTo>
                    <a:pt x="328" y="269"/>
                  </a:lnTo>
                  <a:lnTo>
                    <a:pt x="329" y="267"/>
                  </a:lnTo>
                  <a:lnTo>
                    <a:pt x="333" y="264"/>
                  </a:lnTo>
                  <a:lnTo>
                    <a:pt x="336" y="261"/>
                  </a:lnTo>
                  <a:lnTo>
                    <a:pt x="343" y="257"/>
                  </a:lnTo>
                  <a:lnTo>
                    <a:pt x="348" y="256"/>
                  </a:lnTo>
                  <a:lnTo>
                    <a:pt x="350" y="249"/>
                  </a:lnTo>
                  <a:lnTo>
                    <a:pt x="353" y="247"/>
                  </a:lnTo>
                  <a:lnTo>
                    <a:pt x="356" y="245"/>
                  </a:lnTo>
                  <a:lnTo>
                    <a:pt x="361" y="239"/>
                  </a:lnTo>
                  <a:lnTo>
                    <a:pt x="369" y="239"/>
                  </a:lnTo>
                  <a:lnTo>
                    <a:pt x="373" y="235"/>
                  </a:lnTo>
                  <a:lnTo>
                    <a:pt x="369" y="230"/>
                  </a:lnTo>
                  <a:lnTo>
                    <a:pt x="364" y="225"/>
                  </a:lnTo>
                  <a:lnTo>
                    <a:pt x="357" y="218"/>
                  </a:lnTo>
                  <a:lnTo>
                    <a:pt x="347" y="212"/>
                  </a:lnTo>
                  <a:lnTo>
                    <a:pt x="337" y="206"/>
                  </a:lnTo>
                  <a:lnTo>
                    <a:pt x="317" y="194"/>
                  </a:lnTo>
                  <a:lnTo>
                    <a:pt x="301" y="184"/>
                  </a:lnTo>
                  <a:lnTo>
                    <a:pt x="291" y="183"/>
                  </a:lnTo>
                  <a:lnTo>
                    <a:pt x="281" y="180"/>
                  </a:lnTo>
                  <a:lnTo>
                    <a:pt x="270" y="178"/>
                  </a:lnTo>
                  <a:lnTo>
                    <a:pt x="260" y="177"/>
                  </a:lnTo>
                  <a:lnTo>
                    <a:pt x="259" y="174"/>
                  </a:lnTo>
                  <a:lnTo>
                    <a:pt x="258" y="172"/>
                  </a:lnTo>
                  <a:lnTo>
                    <a:pt x="254" y="172"/>
                  </a:lnTo>
                  <a:lnTo>
                    <a:pt x="251" y="172"/>
                  </a:lnTo>
                  <a:lnTo>
                    <a:pt x="246" y="163"/>
                  </a:lnTo>
                  <a:lnTo>
                    <a:pt x="239" y="155"/>
                  </a:lnTo>
                  <a:lnTo>
                    <a:pt x="235" y="154"/>
                  </a:lnTo>
                  <a:lnTo>
                    <a:pt x="231" y="152"/>
                  </a:lnTo>
                  <a:lnTo>
                    <a:pt x="227" y="150"/>
                  </a:lnTo>
                  <a:lnTo>
                    <a:pt x="221" y="145"/>
                  </a:lnTo>
                  <a:lnTo>
                    <a:pt x="217" y="141"/>
                  </a:lnTo>
                  <a:lnTo>
                    <a:pt x="213" y="136"/>
                  </a:lnTo>
                  <a:lnTo>
                    <a:pt x="211" y="131"/>
                  </a:lnTo>
                  <a:lnTo>
                    <a:pt x="210" y="126"/>
                  </a:lnTo>
                  <a:lnTo>
                    <a:pt x="201" y="122"/>
                  </a:lnTo>
                  <a:lnTo>
                    <a:pt x="198" y="113"/>
                  </a:lnTo>
                  <a:lnTo>
                    <a:pt x="198" y="101"/>
                  </a:lnTo>
                  <a:lnTo>
                    <a:pt x="183" y="85"/>
                  </a:lnTo>
                  <a:lnTo>
                    <a:pt x="172" y="72"/>
                  </a:lnTo>
                  <a:lnTo>
                    <a:pt x="172" y="59"/>
                  </a:lnTo>
                  <a:lnTo>
                    <a:pt x="165" y="50"/>
                  </a:lnTo>
                  <a:lnTo>
                    <a:pt x="158" y="40"/>
                  </a:lnTo>
                  <a:lnTo>
                    <a:pt x="153" y="32"/>
                  </a:lnTo>
                  <a:lnTo>
                    <a:pt x="151" y="26"/>
                  </a:lnTo>
                  <a:lnTo>
                    <a:pt x="147" y="21"/>
                  </a:lnTo>
                  <a:lnTo>
                    <a:pt x="144" y="20"/>
                  </a:lnTo>
                  <a:lnTo>
                    <a:pt x="141" y="18"/>
                  </a:lnTo>
                  <a:lnTo>
                    <a:pt x="139" y="16"/>
                  </a:lnTo>
                  <a:lnTo>
                    <a:pt x="138" y="13"/>
                  </a:lnTo>
                  <a:lnTo>
                    <a:pt x="132" y="13"/>
                  </a:lnTo>
                  <a:lnTo>
                    <a:pt x="126" y="13"/>
                  </a:lnTo>
                  <a:lnTo>
                    <a:pt x="122" y="10"/>
                  </a:lnTo>
                  <a:lnTo>
                    <a:pt x="112" y="8"/>
                  </a:lnTo>
                  <a:lnTo>
                    <a:pt x="106" y="7"/>
                  </a:lnTo>
                  <a:lnTo>
                    <a:pt x="99" y="5"/>
                  </a:lnTo>
                  <a:lnTo>
                    <a:pt x="94" y="4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6" name="Freeform 83"/>
            <p:cNvSpPr>
              <a:spLocks noChangeAspect="1"/>
            </p:cNvSpPr>
            <p:nvPr/>
          </p:nvSpPr>
          <p:spPr bwMode="gray">
            <a:xfrm rot="355651">
              <a:off x="7067042" y="4403725"/>
              <a:ext cx="34912" cy="30873"/>
            </a:xfrm>
            <a:custGeom>
              <a:avLst/>
              <a:gdLst/>
              <a:ahLst/>
              <a:cxnLst>
                <a:cxn ang="0">
                  <a:pos x="133" y="14"/>
                </a:cxn>
                <a:cxn ang="0">
                  <a:pos x="121" y="32"/>
                </a:cxn>
                <a:cxn ang="0">
                  <a:pos x="108" y="41"/>
                </a:cxn>
                <a:cxn ang="0">
                  <a:pos x="100" y="50"/>
                </a:cxn>
                <a:cxn ang="0">
                  <a:pos x="93" y="55"/>
                </a:cxn>
                <a:cxn ang="0">
                  <a:pos x="83" y="58"/>
                </a:cxn>
                <a:cxn ang="0">
                  <a:pos x="77" y="67"/>
                </a:cxn>
                <a:cxn ang="0">
                  <a:pos x="66" y="74"/>
                </a:cxn>
                <a:cxn ang="0">
                  <a:pos x="62" y="74"/>
                </a:cxn>
                <a:cxn ang="0">
                  <a:pos x="55" y="81"/>
                </a:cxn>
                <a:cxn ang="0">
                  <a:pos x="50" y="86"/>
                </a:cxn>
                <a:cxn ang="0">
                  <a:pos x="39" y="96"/>
                </a:cxn>
                <a:cxn ang="0">
                  <a:pos x="29" y="100"/>
                </a:cxn>
                <a:cxn ang="0">
                  <a:pos x="18" y="110"/>
                </a:cxn>
                <a:cxn ang="0">
                  <a:pos x="13" y="117"/>
                </a:cxn>
                <a:cxn ang="0">
                  <a:pos x="8" y="119"/>
                </a:cxn>
                <a:cxn ang="0">
                  <a:pos x="4" y="126"/>
                </a:cxn>
                <a:cxn ang="0">
                  <a:pos x="2" y="136"/>
                </a:cxn>
                <a:cxn ang="0">
                  <a:pos x="0" y="146"/>
                </a:cxn>
                <a:cxn ang="0">
                  <a:pos x="0" y="155"/>
                </a:cxn>
                <a:cxn ang="0">
                  <a:pos x="0" y="163"/>
                </a:cxn>
                <a:cxn ang="0">
                  <a:pos x="0" y="175"/>
                </a:cxn>
                <a:cxn ang="0">
                  <a:pos x="3" y="188"/>
                </a:cxn>
                <a:cxn ang="0">
                  <a:pos x="10" y="190"/>
                </a:cxn>
                <a:cxn ang="0">
                  <a:pos x="16" y="196"/>
                </a:cxn>
                <a:cxn ang="0">
                  <a:pos x="33" y="196"/>
                </a:cxn>
                <a:cxn ang="0">
                  <a:pos x="35" y="199"/>
                </a:cxn>
                <a:cxn ang="0">
                  <a:pos x="41" y="201"/>
                </a:cxn>
                <a:cxn ang="0">
                  <a:pos x="53" y="201"/>
                </a:cxn>
                <a:cxn ang="0">
                  <a:pos x="60" y="201"/>
                </a:cxn>
                <a:cxn ang="0">
                  <a:pos x="66" y="201"/>
                </a:cxn>
                <a:cxn ang="0">
                  <a:pos x="77" y="198"/>
                </a:cxn>
                <a:cxn ang="0">
                  <a:pos x="85" y="194"/>
                </a:cxn>
                <a:cxn ang="0">
                  <a:pos x="91" y="188"/>
                </a:cxn>
                <a:cxn ang="0">
                  <a:pos x="96" y="184"/>
                </a:cxn>
                <a:cxn ang="0">
                  <a:pos x="112" y="174"/>
                </a:cxn>
                <a:cxn ang="0">
                  <a:pos x="121" y="158"/>
                </a:cxn>
                <a:cxn ang="0">
                  <a:pos x="126" y="150"/>
                </a:cxn>
                <a:cxn ang="0">
                  <a:pos x="133" y="146"/>
                </a:cxn>
                <a:cxn ang="0">
                  <a:pos x="138" y="129"/>
                </a:cxn>
                <a:cxn ang="0">
                  <a:pos x="144" y="127"/>
                </a:cxn>
                <a:cxn ang="0">
                  <a:pos x="150" y="120"/>
                </a:cxn>
                <a:cxn ang="0">
                  <a:pos x="162" y="103"/>
                </a:cxn>
                <a:cxn ang="0">
                  <a:pos x="179" y="96"/>
                </a:cxn>
                <a:cxn ang="0">
                  <a:pos x="184" y="86"/>
                </a:cxn>
                <a:cxn ang="0">
                  <a:pos x="192" y="79"/>
                </a:cxn>
                <a:cxn ang="0">
                  <a:pos x="196" y="62"/>
                </a:cxn>
                <a:cxn ang="0">
                  <a:pos x="200" y="58"/>
                </a:cxn>
                <a:cxn ang="0">
                  <a:pos x="200" y="52"/>
                </a:cxn>
                <a:cxn ang="0">
                  <a:pos x="200" y="41"/>
                </a:cxn>
                <a:cxn ang="0">
                  <a:pos x="192" y="33"/>
                </a:cxn>
                <a:cxn ang="0">
                  <a:pos x="187" y="26"/>
                </a:cxn>
                <a:cxn ang="0">
                  <a:pos x="179" y="24"/>
                </a:cxn>
                <a:cxn ang="0">
                  <a:pos x="171" y="16"/>
                </a:cxn>
                <a:cxn ang="0">
                  <a:pos x="167" y="3"/>
                </a:cxn>
                <a:cxn ang="0">
                  <a:pos x="156" y="0"/>
                </a:cxn>
              </a:cxnLst>
              <a:rect l="0" t="0" r="r" b="b"/>
              <a:pathLst>
                <a:path w="200" h="201">
                  <a:moveTo>
                    <a:pt x="141" y="3"/>
                  </a:moveTo>
                  <a:lnTo>
                    <a:pt x="133" y="14"/>
                  </a:lnTo>
                  <a:lnTo>
                    <a:pt x="125" y="24"/>
                  </a:lnTo>
                  <a:lnTo>
                    <a:pt x="121" y="32"/>
                  </a:lnTo>
                  <a:lnTo>
                    <a:pt x="117" y="36"/>
                  </a:lnTo>
                  <a:lnTo>
                    <a:pt x="108" y="41"/>
                  </a:lnTo>
                  <a:lnTo>
                    <a:pt x="104" y="45"/>
                  </a:lnTo>
                  <a:lnTo>
                    <a:pt x="100" y="50"/>
                  </a:lnTo>
                  <a:lnTo>
                    <a:pt x="97" y="52"/>
                  </a:lnTo>
                  <a:lnTo>
                    <a:pt x="93" y="55"/>
                  </a:lnTo>
                  <a:lnTo>
                    <a:pt x="89" y="58"/>
                  </a:lnTo>
                  <a:lnTo>
                    <a:pt x="83" y="58"/>
                  </a:lnTo>
                  <a:lnTo>
                    <a:pt x="79" y="62"/>
                  </a:lnTo>
                  <a:lnTo>
                    <a:pt x="77" y="67"/>
                  </a:lnTo>
                  <a:lnTo>
                    <a:pt x="74" y="70"/>
                  </a:lnTo>
                  <a:lnTo>
                    <a:pt x="66" y="74"/>
                  </a:lnTo>
                  <a:lnTo>
                    <a:pt x="64" y="74"/>
                  </a:lnTo>
                  <a:lnTo>
                    <a:pt x="62" y="74"/>
                  </a:lnTo>
                  <a:lnTo>
                    <a:pt x="58" y="79"/>
                  </a:lnTo>
                  <a:lnTo>
                    <a:pt x="55" y="81"/>
                  </a:lnTo>
                  <a:lnTo>
                    <a:pt x="53" y="83"/>
                  </a:lnTo>
                  <a:lnTo>
                    <a:pt x="50" y="86"/>
                  </a:lnTo>
                  <a:lnTo>
                    <a:pt x="44" y="90"/>
                  </a:lnTo>
                  <a:lnTo>
                    <a:pt x="39" y="96"/>
                  </a:lnTo>
                  <a:lnTo>
                    <a:pt x="36" y="100"/>
                  </a:lnTo>
                  <a:lnTo>
                    <a:pt x="29" y="100"/>
                  </a:lnTo>
                  <a:lnTo>
                    <a:pt x="20" y="103"/>
                  </a:lnTo>
                  <a:lnTo>
                    <a:pt x="18" y="110"/>
                  </a:lnTo>
                  <a:lnTo>
                    <a:pt x="16" y="117"/>
                  </a:lnTo>
                  <a:lnTo>
                    <a:pt x="13" y="117"/>
                  </a:lnTo>
                  <a:lnTo>
                    <a:pt x="11" y="118"/>
                  </a:lnTo>
                  <a:lnTo>
                    <a:pt x="8" y="119"/>
                  </a:lnTo>
                  <a:lnTo>
                    <a:pt x="6" y="121"/>
                  </a:lnTo>
                  <a:lnTo>
                    <a:pt x="4" y="126"/>
                  </a:lnTo>
                  <a:lnTo>
                    <a:pt x="3" y="129"/>
                  </a:lnTo>
                  <a:lnTo>
                    <a:pt x="2" y="136"/>
                  </a:lnTo>
                  <a:lnTo>
                    <a:pt x="0" y="141"/>
                  </a:lnTo>
                  <a:lnTo>
                    <a:pt x="0" y="146"/>
                  </a:lnTo>
                  <a:lnTo>
                    <a:pt x="0" y="150"/>
                  </a:lnTo>
                  <a:lnTo>
                    <a:pt x="0" y="155"/>
                  </a:lnTo>
                  <a:lnTo>
                    <a:pt x="0" y="158"/>
                  </a:lnTo>
                  <a:lnTo>
                    <a:pt x="0" y="163"/>
                  </a:lnTo>
                  <a:lnTo>
                    <a:pt x="0" y="167"/>
                  </a:lnTo>
                  <a:lnTo>
                    <a:pt x="0" y="175"/>
                  </a:lnTo>
                  <a:lnTo>
                    <a:pt x="0" y="184"/>
                  </a:lnTo>
                  <a:lnTo>
                    <a:pt x="3" y="188"/>
                  </a:lnTo>
                  <a:lnTo>
                    <a:pt x="6" y="188"/>
                  </a:lnTo>
                  <a:lnTo>
                    <a:pt x="10" y="190"/>
                  </a:lnTo>
                  <a:lnTo>
                    <a:pt x="13" y="193"/>
                  </a:lnTo>
                  <a:lnTo>
                    <a:pt x="16" y="196"/>
                  </a:lnTo>
                  <a:lnTo>
                    <a:pt x="24" y="196"/>
                  </a:lnTo>
                  <a:lnTo>
                    <a:pt x="33" y="196"/>
                  </a:lnTo>
                  <a:lnTo>
                    <a:pt x="33" y="198"/>
                  </a:lnTo>
                  <a:lnTo>
                    <a:pt x="35" y="199"/>
                  </a:lnTo>
                  <a:lnTo>
                    <a:pt x="37" y="201"/>
                  </a:lnTo>
                  <a:lnTo>
                    <a:pt x="41" y="201"/>
                  </a:lnTo>
                  <a:lnTo>
                    <a:pt x="48" y="201"/>
                  </a:lnTo>
                  <a:lnTo>
                    <a:pt x="53" y="201"/>
                  </a:lnTo>
                  <a:lnTo>
                    <a:pt x="58" y="201"/>
                  </a:lnTo>
                  <a:lnTo>
                    <a:pt x="60" y="201"/>
                  </a:lnTo>
                  <a:lnTo>
                    <a:pt x="62" y="201"/>
                  </a:lnTo>
                  <a:lnTo>
                    <a:pt x="66" y="201"/>
                  </a:lnTo>
                  <a:lnTo>
                    <a:pt x="70" y="201"/>
                  </a:lnTo>
                  <a:lnTo>
                    <a:pt x="77" y="198"/>
                  </a:lnTo>
                  <a:lnTo>
                    <a:pt x="83" y="196"/>
                  </a:lnTo>
                  <a:lnTo>
                    <a:pt x="85" y="194"/>
                  </a:lnTo>
                  <a:lnTo>
                    <a:pt x="88" y="192"/>
                  </a:lnTo>
                  <a:lnTo>
                    <a:pt x="91" y="188"/>
                  </a:lnTo>
                  <a:lnTo>
                    <a:pt x="93" y="186"/>
                  </a:lnTo>
                  <a:lnTo>
                    <a:pt x="96" y="184"/>
                  </a:lnTo>
                  <a:lnTo>
                    <a:pt x="100" y="184"/>
                  </a:lnTo>
                  <a:lnTo>
                    <a:pt x="112" y="174"/>
                  </a:lnTo>
                  <a:lnTo>
                    <a:pt x="121" y="167"/>
                  </a:lnTo>
                  <a:lnTo>
                    <a:pt x="121" y="158"/>
                  </a:lnTo>
                  <a:lnTo>
                    <a:pt x="122" y="155"/>
                  </a:lnTo>
                  <a:lnTo>
                    <a:pt x="126" y="150"/>
                  </a:lnTo>
                  <a:lnTo>
                    <a:pt x="129" y="147"/>
                  </a:lnTo>
                  <a:lnTo>
                    <a:pt x="133" y="146"/>
                  </a:lnTo>
                  <a:lnTo>
                    <a:pt x="136" y="137"/>
                  </a:lnTo>
                  <a:lnTo>
                    <a:pt x="138" y="129"/>
                  </a:lnTo>
                  <a:lnTo>
                    <a:pt x="141" y="129"/>
                  </a:lnTo>
                  <a:lnTo>
                    <a:pt x="144" y="127"/>
                  </a:lnTo>
                  <a:lnTo>
                    <a:pt x="146" y="125"/>
                  </a:lnTo>
                  <a:lnTo>
                    <a:pt x="150" y="120"/>
                  </a:lnTo>
                  <a:lnTo>
                    <a:pt x="156" y="112"/>
                  </a:lnTo>
                  <a:lnTo>
                    <a:pt x="162" y="103"/>
                  </a:lnTo>
                  <a:lnTo>
                    <a:pt x="173" y="100"/>
                  </a:lnTo>
                  <a:lnTo>
                    <a:pt x="179" y="96"/>
                  </a:lnTo>
                  <a:lnTo>
                    <a:pt x="180" y="91"/>
                  </a:lnTo>
                  <a:lnTo>
                    <a:pt x="184" y="86"/>
                  </a:lnTo>
                  <a:lnTo>
                    <a:pt x="188" y="81"/>
                  </a:lnTo>
                  <a:lnTo>
                    <a:pt x="192" y="79"/>
                  </a:lnTo>
                  <a:lnTo>
                    <a:pt x="194" y="70"/>
                  </a:lnTo>
                  <a:lnTo>
                    <a:pt x="196" y="6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0" y="53"/>
                  </a:lnTo>
                  <a:lnTo>
                    <a:pt x="200" y="52"/>
                  </a:lnTo>
                  <a:lnTo>
                    <a:pt x="200" y="50"/>
                  </a:lnTo>
                  <a:lnTo>
                    <a:pt x="200" y="41"/>
                  </a:lnTo>
                  <a:lnTo>
                    <a:pt x="200" y="33"/>
                  </a:lnTo>
                  <a:lnTo>
                    <a:pt x="192" y="33"/>
                  </a:lnTo>
                  <a:lnTo>
                    <a:pt x="190" y="30"/>
                  </a:lnTo>
                  <a:lnTo>
                    <a:pt x="187" y="26"/>
                  </a:lnTo>
                  <a:lnTo>
                    <a:pt x="183" y="25"/>
                  </a:lnTo>
                  <a:lnTo>
                    <a:pt x="179" y="24"/>
                  </a:lnTo>
                  <a:lnTo>
                    <a:pt x="175" y="20"/>
                  </a:lnTo>
                  <a:lnTo>
                    <a:pt x="171" y="16"/>
                  </a:lnTo>
                  <a:lnTo>
                    <a:pt x="171" y="7"/>
                  </a:lnTo>
                  <a:lnTo>
                    <a:pt x="167" y="3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41" y="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7" name="Freeform 84"/>
            <p:cNvSpPr>
              <a:spLocks noChangeAspect="1"/>
            </p:cNvSpPr>
            <p:nvPr/>
          </p:nvSpPr>
          <p:spPr bwMode="gray">
            <a:xfrm rot="355651">
              <a:off x="6971825" y="4425950"/>
              <a:ext cx="46550" cy="34067"/>
            </a:xfrm>
            <a:custGeom>
              <a:avLst/>
              <a:gdLst/>
              <a:ahLst/>
              <a:cxnLst>
                <a:cxn ang="0">
                  <a:pos x="26" y="40"/>
                </a:cxn>
                <a:cxn ang="0">
                  <a:pos x="48" y="50"/>
                </a:cxn>
                <a:cxn ang="0">
                  <a:pos x="69" y="70"/>
                </a:cxn>
                <a:cxn ang="0">
                  <a:pos x="80" y="93"/>
                </a:cxn>
                <a:cxn ang="0">
                  <a:pos x="80" y="105"/>
                </a:cxn>
                <a:cxn ang="0">
                  <a:pos x="80" y="113"/>
                </a:cxn>
                <a:cxn ang="0">
                  <a:pos x="72" y="138"/>
                </a:cxn>
                <a:cxn ang="0">
                  <a:pos x="69" y="152"/>
                </a:cxn>
                <a:cxn ang="0">
                  <a:pos x="67" y="163"/>
                </a:cxn>
                <a:cxn ang="0">
                  <a:pos x="64" y="172"/>
                </a:cxn>
                <a:cxn ang="0">
                  <a:pos x="64" y="180"/>
                </a:cxn>
                <a:cxn ang="0">
                  <a:pos x="66" y="199"/>
                </a:cxn>
                <a:cxn ang="0">
                  <a:pos x="72" y="210"/>
                </a:cxn>
                <a:cxn ang="0">
                  <a:pos x="80" y="213"/>
                </a:cxn>
                <a:cxn ang="0">
                  <a:pos x="88" y="213"/>
                </a:cxn>
                <a:cxn ang="0">
                  <a:pos x="106" y="211"/>
                </a:cxn>
                <a:cxn ang="0">
                  <a:pos x="114" y="210"/>
                </a:cxn>
                <a:cxn ang="0">
                  <a:pos x="116" y="203"/>
                </a:cxn>
                <a:cxn ang="0">
                  <a:pos x="126" y="201"/>
                </a:cxn>
                <a:cxn ang="0">
                  <a:pos x="134" y="193"/>
                </a:cxn>
                <a:cxn ang="0">
                  <a:pos x="138" y="184"/>
                </a:cxn>
                <a:cxn ang="0">
                  <a:pos x="144" y="180"/>
                </a:cxn>
                <a:cxn ang="0">
                  <a:pos x="160" y="176"/>
                </a:cxn>
                <a:cxn ang="0">
                  <a:pos x="163" y="169"/>
                </a:cxn>
                <a:cxn ang="0">
                  <a:pos x="172" y="163"/>
                </a:cxn>
                <a:cxn ang="0">
                  <a:pos x="186" y="162"/>
                </a:cxn>
                <a:cxn ang="0">
                  <a:pos x="205" y="151"/>
                </a:cxn>
                <a:cxn ang="0">
                  <a:pos x="218" y="143"/>
                </a:cxn>
                <a:cxn ang="0">
                  <a:pos x="231" y="130"/>
                </a:cxn>
                <a:cxn ang="0">
                  <a:pos x="251" y="109"/>
                </a:cxn>
                <a:cxn ang="0">
                  <a:pos x="245" y="104"/>
                </a:cxn>
                <a:cxn ang="0">
                  <a:pos x="234" y="98"/>
                </a:cxn>
                <a:cxn ang="0">
                  <a:pos x="227" y="90"/>
                </a:cxn>
                <a:cxn ang="0">
                  <a:pos x="214" y="79"/>
                </a:cxn>
                <a:cxn ang="0">
                  <a:pos x="194" y="77"/>
                </a:cxn>
                <a:cxn ang="0">
                  <a:pos x="184" y="71"/>
                </a:cxn>
                <a:cxn ang="0">
                  <a:pos x="172" y="67"/>
                </a:cxn>
                <a:cxn ang="0">
                  <a:pos x="162" y="63"/>
                </a:cxn>
                <a:cxn ang="0">
                  <a:pos x="151" y="58"/>
                </a:cxn>
                <a:cxn ang="0">
                  <a:pos x="138" y="50"/>
                </a:cxn>
                <a:cxn ang="0">
                  <a:pos x="121" y="44"/>
                </a:cxn>
                <a:cxn ang="0">
                  <a:pos x="114" y="42"/>
                </a:cxn>
                <a:cxn ang="0">
                  <a:pos x="104" y="30"/>
                </a:cxn>
                <a:cxn ang="0">
                  <a:pos x="97" y="26"/>
                </a:cxn>
                <a:cxn ang="0">
                  <a:pos x="80" y="9"/>
                </a:cxn>
                <a:cxn ang="0">
                  <a:pos x="72" y="5"/>
                </a:cxn>
                <a:cxn ang="0">
                  <a:pos x="55" y="0"/>
                </a:cxn>
                <a:cxn ang="0">
                  <a:pos x="42" y="0"/>
                </a:cxn>
                <a:cxn ang="0">
                  <a:pos x="31" y="0"/>
                </a:cxn>
                <a:cxn ang="0">
                  <a:pos x="17" y="0"/>
                </a:cxn>
                <a:cxn ang="0">
                  <a:pos x="0" y="17"/>
                </a:cxn>
              </a:cxnLst>
              <a:rect l="0" t="0" r="r" b="b"/>
              <a:pathLst>
                <a:path w="251" h="213">
                  <a:moveTo>
                    <a:pt x="0" y="17"/>
                  </a:moveTo>
                  <a:lnTo>
                    <a:pt x="21" y="38"/>
                  </a:lnTo>
                  <a:lnTo>
                    <a:pt x="26" y="40"/>
                  </a:lnTo>
                  <a:lnTo>
                    <a:pt x="29" y="42"/>
                  </a:lnTo>
                  <a:lnTo>
                    <a:pt x="38" y="46"/>
                  </a:lnTo>
                  <a:lnTo>
                    <a:pt x="48" y="50"/>
                  </a:lnTo>
                  <a:lnTo>
                    <a:pt x="59" y="55"/>
                  </a:lnTo>
                  <a:lnTo>
                    <a:pt x="64" y="59"/>
                  </a:lnTo>
                  <a:lnTo>
                    <a:pt x="69" y="70"/>
                  </a:lnTo>
                  <a:lnTo>
                    <a:pt x="76" y="79"/>
                  </a:lnTo>
                  <a:lnTo>
                    <a:pt x="78" y="86"/>
                  </a:lnTo>
                  <a:lnTo>
                    <a:pt x="80" y="93"/>
                  </a:lnTo>
                  <a:lnTo>
                    <a:pt x="80" y="96"/>
                  </a:lnTo>
                  <a:lnTo>
                    <a:pt x="80" y="101"/>
                  </a:lnTo>
                  <a:lnTo>
                    <a:pt x="80" y="105"/>
                  </a:lnTo>
                  <a:lnTo>
                    <a:pt x="80" y="107"/>
                  </a:lnTo>
                  <a:lnTo>
                    <a:pt x="80" y="109"/>
                  </a:lnTo>
                  <a:lnTo>
                    <a:pt x="80" y="113"/>
                  </a:lnTo>
                  <a:lnTo>
                    <a:pt x="80" y="122"/>
                  </a:lnTo>
                  <a:lnTo>
                    <a:pt x="80" y="130"/>
                  </a:lnTo>
                  <a:lnTo>
                    <a:pt x="72" y="138"/>
                  </a:lnTo>
                  <a:lnTo>
                    <a:pt x="72" y="145"/>
                  </a:lnTo>
                  <a:lnTo>
                    <a:pt x="72" y="151"/>
                  </a:lnTo>
                  <a:lnTo>
                    <a:pt x="69" y="152"/>
                  </a:lnTo>
                  <a:lnTo>
                    <a:pt x="68" y="155"/>
                  </a:lnTo>
                  <a:lnTo>
                    <a:pt x="67" y="160"/>
                  </a:lnTo>
                  <a:lnTo>
                    <a:pt x="67" y="163"/>
                  </a:lnTo>
                  <a:lnTo>
                    <a:pt x="65" y="165"/>
                  </a:lnTo>
                  <a:lnTo>
                    <a:pt x="64" y="167"/>
                  </a:lnTo>
                  <a:lnTo>
                    <a:pt x="64" y="172"/>
                  </a:lnTo>
                  <a:lnTo>
                    <a:pt x="64" y="174"/>
                  </a:lnTo>
                  <a:lnTo>
                    <a:pt x="64" y="176"/>
                  </a:lnTo>
                  <a:lnTo>
                    <a:pt x="64" y="180"/>
                  </a:lnTo>
                  <a:lnTo>
                    <a:pt x="64" y="189"/>
                  </a:lnTo>
                  <a:lnTo>
                    <a:pt x="64" y="196"/>
                  </a:lnTo>
                  <a:lnTo>
                    <a:pt x="66" y="199"/>
                  </a:lnTo>
                  <a:lnTo>
                    <a:pt x="69" y="202"/>
                  </a:lnTo>
                  <a:lnTo>
                    <a:pt x="70" y="205"/>
                  </a:lnTo>
                  <a:lnTo>
                    <a:pt x="72" y="210"/>
                  </a:lnTo>
                  <a:lnTo>
                    <a:pt x="76" y="213"/>
                  </a:lnTo>
                  <a:lnTo>
                    <a:pt x="78" y="213"/>
                  </a:lnTo>
                  <a:lnTo>
                    <a:pt x="80" y="213"/>
                  </a:lnTo>
                  <a:lnTo>
                    <a:pt x="84" y="213"/>
                  </a:lnTo>
                  <a:lnTo>
                    <a:pt x="86" y="213"/>
                  </a:lnTo>
                  <a:lnTo>
                    <a:pt x="88" y="213"/>
                  </a:lnTo>
                  <a:lnTo>
                    <a:pt x="97" y="213"/>
                  </a:lnTo>
                  <a:lnTo>
                    <a:pt x="105" y="213"/>
                  </a:lnTo>
                  <a:lnTo>
                    <a:pt x="106" y="211"/>
                  </a:lnTo>
                  <a:lnTo>
                    <a:pt x="107" y="210"/>
                  </a:lnTo>
                  <a:lnTo>
                    <a:pt x="111" y="210"/>
                  </a:lnTo>
                  <a:lnTo>
                    <a:pt x="114" y="210"/>
                  </a:lnTo>
                  <a:lnTo>
                    <a:pt x="114" y="207"/>
                  </a:lnTo>
                  <a:lnTo>
                    <a:pt x="115" y="204"/>
                  </a:lnTo>
                  <a:lnTo>
                    <a:pt x="116" y="203"/>
                  </a:lnTo>
                  <a:lnTo>
                    <a:pt x="118" y="202"/>
                  </a:lnTo>
                  <a:lnTo>
                    <a:pt x="122" y="201"/>
                  </a:lnTo>
                  <a:lnTo>
                    <a:pt x="126" y="201"/>
                  </a:lnTo>
                  <a:lnTo>
                    <a:pt x="128" y="199"/>
                  </a:lnTo>
                  <a:lnTo>
                    <a:pt x="131" y="196"/>
                  </a:lnTo>
                  <a:lnTo>
                    <a:pt x="134" y="193"/>
                  </a:lnTo>
                  <a:lnTo>
                    <a:pt x="136" y="191"/>
                  </a:lnTo>
                  <a:lnTo>
                    <a:pt x="138" y="189"/>
                  </a:lnTo>
                  <a:lnTo>
                    <a:pt x="138" y="184"/>
                  </a:lnTo>
                  <a:lnTo>
                    <a:pt x="140" y="183"/>
                  </a:lnTo>
                  <a:lnTo>
                    <a:pt x="142" y="181"/>
                  </a:lnTo>
                  <a:lnTo>
                    <a:pt x="144" y="180"/>
                  </a:lnTo>
                  <a:lnTo>
                    <a:pt x="147" y="179"/>
                  </a:lnTo>
                  <a:lnTo>
                    <a:pt x="154" y="176"/>
                  </a:lnTo>
                  <a:lnTo>
                    <a:pt x="160" y="176"/>
                  </a:lnTo>
                  <a:lnTo>
                    <a:pt x="160" y="173"/>
                  </a:lnTo>
                  <a:lnTo>
                    <a:pt x="162" y="171"/>
                  </a:lnTo>
                  <a:lnTo>
                    <a:pt x="163" y="169"/>
                  </a:lnTo>
                  <a:lnTo>
                    <a:pt x="165" y="166"/>
                  </a:lnTo>
                  <a:lnTo>
                    <a:pt x="170" y="164"/>
                  </a:lnTo>
                  <a:lnTo>
                    <a:pt x="172" y="163"/>
                  </a:lnTo>
                  <a:lnTo>
                    <a:pt x="176" y="163"/>
                  </a:lnTo>
                  <a:lnTo>
                    <a:pt x="181" y="163"/>
                  </a:lnTo>
                  <a:lnTo>
                    <a:pt x="186" y="162"/>
                  </a:lnTo>
                  <a:lnTo>
                    <a:pt x="193" y="160"/>
                  </a:lnTo>
                  <a:lnTo>
                    <a:pt x="198" y="155"/>
                  </a:lnTo>
                  <a:lnTo>
                    <a:pt x="205" y="151"/>
                  </a:lnTo>
                  <a:lnTo>
                    <a:pt x="210" y="146"/>
                  </a:lnTo>
                  <a:lnTo>
                    <a:pt x="214" y="143"/>
                  </a:lnTo>
                  <a:lnTo>
                    <a:pt x="218" y="143"/>
                  </a:lnTo>
                  <a:lnTo>
                    <a:pt x="222" y="138"/>
                  </a:lnTo>
                  <a:lnTo>
                    <a:pt x="227" y="134"/>
                  </a:lnTo>
                  <a:lnTo>
                    <a:pt x="231" y="130"/>
                  </a:lnTo>
                  <a:lnTo>
                    <a:pt x="240" y="124"/>
                  </a:lnTo>
                  <a:lnTo>
                    <a:pt x="251" y="117"/>
                  </a:lnTo>
                  <a:lnTo>
                    <a:pt x="251" y="109"/>
                  </a:lnTo>
                  <a:lnTo>
                    <a:pt x="249" y="108"/>
                  </a:lnTo>
                  <a:lnTo>
                    <a:pt x="246" y="106"/>
                  </a:lnTo>
                  <a:lnTo>
                    <a:pt x="245" y="104"/>
                  </a:lnTo>
                  <a:lnTo>
                    <a:pt x="243" y="101"/>
                  </a:lnTo>
                  <a:lnTo>
                    <a:pt x="234" y="101"/>
                  </a:lnTo>
                  <a:lnTo>
                    <a:pt x="234" y="98"/>
                  </a:lnTo>
                  <a:lnTo>
                    <a:pt x="234" y="96"/>
                  </a:lnTo>
                  <a:lnTo>
                    <a:pt x="231" y="93"/>
                  </a:lnTo>
                  <a:lnTo>
                    <a:pt x="227" y="90"/>
                  </a:lnTo>
                  <a:lnTo>
                    <a:pt x="221" y="87"/>
                  </a:lnTo>
                  <a:lnTo>
                    <a:pt x="216" y="84"/>
                  </a:lnTo>
                  <a:lnTo>
                    <a:pt x="214" y="79"/>
                  </a:lnTo>
                  <a:lnTo>
                    <a:pt x="205" y="79"/>
                  </a:lnTo>
                  <a:lnTo>
                    <a:pt x="198" y="79"/>
                  </a:lnTo>
                  <a:lnTo>
                    <a:pt x="194" y="77"/>
                  </a:lnTo>
                  <a:lnTo>
                    <a:pt x="191" y="74"/>
                  </a:lnTo>
                  <a:lnTo>
                    <a:pt x="188" y="73"/>
                  </a:lnTo>
                  <a:lnTo>
                    <a:pt x="184" y="71"/>
                  </a:lnTo>
                  <a:lnTo>
                    <a:pt x="181" y="69"/>
                  </a:lnTo>
                  <a:lnTo>
                    <a:pt x="176" y="67"/>
                  </a:lnTo>
                  <a:lnTo>
                    <a:pt x="172" y="67"/>
                  </a:lnTo>
                  <a:lnTo>
                    <a:pt x="168" y="67"/>
                  </a:lnTo>
                  <a:lnTo>
                    <a:pt x="164" y="63"/>
                  </a:lnTo>
                  <a:lnTo>
                    <a:pt x="162" y="63"/>
                  </a:lnTo>
                  <a:lnTo>
                    <a:pt x="160" y="63"/>
                  </a:lnTo>
                  <a:lnTo>
                    <a:pt x="155" y="59"/>
                  </a:lnTo>
                  <a:lnTo>
                    <a:pt x="151" y="58"/>
                  </a:lnTo>
                  <a:lnTo>
                    <a:pt x="145" y="56"/>
                  </a:lnTo>
                  <a:lnTo>
                    <a:pt x="141" y="54"/>
                  </a:lnTo>
                  <a:lnTo>
                    <a:pt x="138" y="50"/>
                  </a:lnTo>
                  <a:lnTo>
                    <a:pt x="131" y="46"/>
                  </a:lnTo>
                  <a:lnTo>
                    <a:pt x="122" y="46"/>
                  </a:lnTo>
                  <a:lnTo>
                    <a:pt x="121" y="44"/>
                  </a:lnTo>
                  <a:lnTo>
                    <a:pt x="120" y="42"/>
                  </a:lnTo>
                  <a:lnTo>
                    <a:pt x="116" y="42"/>
                  </a:lnTo>
                  <a:lnTo>
                    <a:pt x="114" y="42"/>
                  </a:lnTo>
                  <a:lnTo>
                    <a:pt x="109" y="38"/>
                  </a:lnTo>
                  <a:lnTo>
                    <a:pt x="105" y="34"/>
                  </a:lnTo>
                  <a:lnTo>
                    <a:pt x="104" y="30"/>
                  </a:lnTo>
                  <a:lnTo>
                    <a:pt x="103" y="28"/>
                  </a:lnTo>
                  <a:lnTo>
                    <a:pt x="99" y="26"/>
                  </a:lnTo>
                  <a:lnTo>
                    <a:pt x="97" y="26"/>
                  </a:lnTo>
                  <a:lnTo>
                    <a:pt x="93" y="17"/>
                  </a:lnTo>
                  <a:lnTo>
                    <a:pt x="88" y="9"/>
                  </a:lnTo>
                  <a:lnTo>
                    <a:pt x="80" y="9"/>
                  </a:lnTo>
                  <a:lnTo>
                    <a:pt x="78" y="6"/>
                  </a:lnTo>
                  <a:lnTo>
                    <a:pt x="75" y="5"/>
                  </a:lnTo>
                  <a:lnTo>
                    <a:pt x="72" y="5"/>
                  </a:lnTo>
                  <a:lnTo>
                    <a:pt x="67" y="5"/>
                  </a:lnTo>
                  <a:lnTo>
                    <a:pt x="61" y="2"/>
                  </a:lnTo>
                  <a:lnTo>
                    <a:pt x="55" y="0"/>
                  </a:lnTo>
                  <a:lnTo>
                    <a:pt x="50" y="0"/>
                  </a:lnTo>
                  <a:lnTo>
                    <a:pt x="47" y="0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9" y="0"/>
                  </a:lnTo>
                  <a:lnTo>
                    <a:pt x="9" y="9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8" name="Freeform 85"/>
            <p:cNvSpPr>
              <a:spLocks noChangeAspect="1"/>
            </p:cNvSpPr>
            <p:nvPr/>
          </p:nvSpPr>
          <p:spPr bwMode="gray">
            <a:xfrm rot="355651">
              <a:off x="7178127" y="4241800"/>
              <a:ext cx="93100" cy="104333"/>
            </a:xfrm>
            <a:custGeom>
              <a:avLst/>
              <a:gdLst/>
              <a:ahLst/>
              <a:cxnLst>
                <a:cxn ang="0">
                  <a:pos x="223" y="14"/>
                </a:cxn>
                <a:cxn ang="0">
                  <a:pos x="202" y="53"/>
                </a:cxn>
                <a:cxn ang="0">
                  <a:pos x="194" y="116"/>
                </a:cxn>
                <a:cxn ang="0">
                  <a:pos x="174" y="132"/>
                </a:cxn>
                <a:cxn ang="0">
                  <a:pos x="137" y="150"/>
                </a:cxn>
                <a:cxn ang="0">
                  <a:pos x="101" y="173"/>
                </a:cxn>
                <a:cxn ang="0">
                  <a:pos x="85" y="186"/>
                </a:cxn>
                <a:cxn ang="0">
                  <a:pos x="58" y="201"/>
                </a:cxn>
                <a:cxn ang="0">
                  <a:pos x="39" y="212"/>
                </a:cxn>
                <a:cxn ang="0">
                  <a:pos x="37" y="215"/>
                </a:cxn>
                <a:cxn ang="0">
                  <a:pos x="13" y="249"/>
                </a:cxn>
                <a:cxn ang="0">
                  <a:pos x="4" y="272"/>
                </a:cxn>
                <a:cxn ang="0">
                  <a:pos x="0" y="317"/>
                </a:cxn>
                <a:cxn ang="0">
                  <a:pos x="8" y="408"/>
                </a:cxn>
                <a:cxn ang="0">
                  <a:pos x="32" y="480"/>
                </a:cxn>
                <a:cxn ang="0">
                  <a:pos x="49" y="505"/>
                </a:cxn>
                <a:cxn ang="0">
                  <a:pos x="60" y="529"/>
                </a:cxn>
                <a:cxn ang="0">
                  <a:pos x="70" y="554"/>
                </a:cxn>
                <a:cxn ang="0">
                  <a:pos x="109" y="606"/>
                </a:cxn>
                <a:cxn ang="0">
                  <a:pos x="131" y="626"/>
                </a:cxn>
                <a:cxn ang="0">
                  <a:pos x="158" y="641"/>
                </a:cxn>
                <a:cxn ang="0">
                  <a:pos x="251" y="630"/>
                </a:cxn>
                <a:cxn ang="0">
                  <a:pos x="289" y="602"/>
                </a:cxn>
                <a:cxn ang="0">
                  <a:pos x="303" y="584"/>
                </a:cxn>
                <a:cxn ang="0">
                  <a:pos x="317" y="575"/>
                </a:cxn>
                <a:cxn ang="0">
                  <a:pos x="337" y="565"/>
                </a:cxn>
                <a:cxn ang="0">
                  <a:pos x="352" y="553"/>
                </a:cxn>
                <a:cxn ang="0">
                  <a:pos x="400" y="527"/>
                </a:cxn>
                <a:cxn ang="0">
                  <a:pos x="425" y="517"/>
                </a:cxn>
                <a:cxn ang="0">
                  <a:pos x="448" y="500"/>
                </a:cxn>
                <a:cxn ang="0">
                  <a:pos x="466" y="488"/>
                </a:cxn>
                <a:cxn ang="0">
                  <a:pos x="481" y="469"/>
                </a:cxn>
                <a:cxn ang="0">
                  <a:pos x="497" y="442"/>
                </a:cxn>
                <a:cxn ang="0">
                  <a:pos x="504" y="427"/>
                </a:cxn>
                <a:cxn ang="0">
                  <a:pos x="509" y="383"/>
                </a:cxn>
                <a:cxn ang="0">
                  <a:pos x="497" y="345"/>
                </a:cxn>
                <a:cxn ang="0">
                  <a:pos x="481" y="306"/>
                </a:cxn>
                <a:cxn ang="0">
                  <a:pos x="466" y="270"/>
                </a:cxn>
                <a:cxn ang="0">
                  <a:pos x="450" y="238"/>
                </a:cxn>
                <a:cxn ang="0">
                  <a:pos x="430" y="201"/>
                </a:cxn>
                <a:cxn ang="0">
                  <a:pos x="425" y="125"/>
                </a:cxn>
                <a:cxn ang="0">
                  <a:pos x="423" y="63"/>
                </a:cxn>
                <a:cxn ang="0">
                  <a:pos x="400" y="52"/>
                </a:cxn>
                <a:cxn ang="0">
                  <a:pos x="382" y="39"/>
                </a:cxn>
                <a:cxn ang="0">
                  <a:pos x="356" y="33"/>
                </a:cxn>
                <a:cxn ang="0">
                  <a:pos x="282" y="22"/>
                </a:cxn>
                <a:cxn ang="0">
                  <a:pos x="269" y="4"/>
                </a:cxn>
                <a:cxn ang="0">
                  <a:pos x="257" y="0"/>
                </a:cxn>
              </a:cxnLst>
              <a:rect l="0" t="0" r="r" b="b"/>
              <a:pathLst>
                <a:path w="509" h="641">
                  <a:moveTo>
                    <a:pt x="237" y="4"/>
                  </a:moveTo>
                  <a:lnTo>
                    <a:pt x="233" y="6"/>
                  </a:lnTo>
                  <a:lnTo>
                    <a:pt x="227" y="9"/>
                  </a:lnTo>
                  <a:lnTo>
                    <a:pt x="223" y="14"/>
                  </a:lnTo>
                  <a:lnTo>
                    <a:pt x="218" y="18"/>
                  </a:lnTo>
                  <a:lnTo>
                    <a:pt x="209" y="27"/>
                  </a:lnTo>
                  <a:lnTo>
                    <a:pt x="203" y="35"/>
                  </a:lnTo>
                  <a:lnTo>
                    <a:pt x="202" y="53"/>
                  </a:lnTo>
                  <a:lnTo>
                    <a:pt x="200" y="73"/>
                  </a:lnTo>
                  <a:lnTo>
                    <a:pt x="198" y="93"/>
                  </a:lnTo>
                  <a:lnTo>
                    <a:pt x="198" y="114"/>
                  </a:lnTo>
                  <a:lnTo>
                    <a:pt x="194" y="116"/>
                  </a:lnTo>
                  <a:lnTo>
                    <a:pt x="189" y="119"/>
                  </a:lnTo>
                  <a:lnTo>
                    <a:pt x="185" y="128"/>
                  </a:lnTo>
                  <a:lnTo>
                    <a:pt x="180" y="129"/>
                  </a:lnTo>
                  <a:lnTo>
                    <a:pt x="174" y="132"/>
                  </a:lnTo>
                  <a:lnTo>
                    <a:pt x="167" y="136"/>
                  </a:lnTo>
                  <a:lnTo>
                    <a:pt x="162" y="140"/>
                  </a:lnTo>
                  <a:lnTo>
                    <a:pt x="149" y="140"/>
                  </a:lnTo>
                  <a:lnTo>
                    <a:pt x="137" y="150"/>
                  </a:lnTo>
                  <a:lnTo>
                    <a:pt x="121" y="159"/>
                  </a:lnTo>
                  <a:lnTo>
                    <a:pt x="113" y="163"/>
                  </a:lnTo>
                  <a:lnTo>
                    <a:pt x="107" y="168"/>
                  </a:lnTo>
                  <a:lnTo>
                    <a:pt x="101" y="173"/>
                  </a:lnTo>
                  <a:lnTo>
                    <a:pt x="97" y="180"/>
                  </a:lnTo>
                  <a:lnTo>
                    <a:pt x="93" y="180"/>
                  </a:lnTo>
                  <a:lnTo>
                    <a:pt x="89" y="182"/>
                  </a:lnTo>
                  <a:lnTo>
                    <a:pt x="85" y="186"/>
                  </a:lnTo>
                  <a:lnTo>
                    <a:pt x="83" y="189"/>
                  </a:lnTo>
                  <a:lnTo>
                    <a:pt x="74" y="191"/>
                  </a:lnTo>
                  <a:lnTo>
                    <a:pt x="66" y="193"/>
                  </a:lnTo>
                  <a:lnTo>
                    <a:pt x="58" y="201"/>
                  </a:lnTo>
                  <a:lnTo>
                    <a:pt x="49" y="210"/>
                  </a:lnTo>
                  <a:lnTo>
                    <a:pt x="43" y="211"/>
                  </a:lnTo>
                  <a:lnTo>
                    <a:pt x="40" y="211"/>
                  </a:lnTo>
                  <a:lnTo>
                    <a:pt x="39" y="212"/>
                  </a:lnTo>
                  <a:lnTo>
                    <a:pt x="39" y="212"/>
                  </a:lnTo>
                  <a:lnTo>
                    <a:pt x="39" y="213"/>
                  </a:lnTo>
                  <a:lnTo>
                    <a:pt x="39" y="215"/>
                  </a:lnTo>
                  <a:lnTo>
                    <a:pt x="37" y="215"/>
                  </a:lnTo>
                  <a:lnTo>
                    <a:pt x="35" y="215"/>
                  </a:lnTo>
                  <a:lnTo>
                    <a:pt x="31" y="224"/>
                  </a:lnTo>
                  <a:lnTo>
                    <a:pt x="22" y="236"/>
                  </a:lnTo>
                  <a:lnTo>
                    <a:pt x="13" y="249"/>
                  </a:lnTo>
                  <a:lnTo>
                    <a:pt x="8" y="255"/>
                  </a:lnTo>
                  <a:lnTo>
                    <a:pt x="8" y="268"/>
                  </a:lnTo>
                  <a:lnTo>
                    <a:pt x="6" y="269"/>
                  </a:lnTo>
                  <a:lnTo>
                    <a:pt x="4" y="272"/>
                  </a:lnTo>
                  <a:lnTo>
                    <a:pt x="2" y="277"/>
                  </a:lnTo>
                  <a:lnTo>
                    <a:pt x="1" y="283"/>
                  </a:lnTo>
                  <a:lnTo>
                    <a:pt x="0" y="299"/>
                  </a:lnTo>
                  <a:lnTo>
                    <a:pt x="0" y="317"/>
                  </a:lnTo>
                  <a:lnTo>
                    <a:pt x="3" y="355"/>
                  </a:lnTo>
                  <a:lnTo>
                    <a:pt x="4" y="378"/>
                  </a:lnTo>
                  <a:lnTo>
                    <a:pt x="5" y="391"/>
                  </a:lnTo>
                  <a:lnTo>
                    <a:pt x="8" y="408"/>
                  </a:lnTo>
                  <a:lnTo>
                    <a:pt x="13" y="426"/>
                  </a:lnTo>
                  <a:lnTo>
                    <a:pt x="18" y="445"/>
                  </a:lnTo>
                  <a:lnTo>
                    <a:pt x="25" y="463"/>
                  </a:lnTo>
                  <a:lnTo>
                    <a:pt x="32" y="480"/>
                  </a:lnTo>
                  <a:lnTo>
                    <a:pt x="36" y="488"/>
                  </a:lnTo>
                  <a:lnTo>
                    <a:pt x="40" y="495"/>
                  </a:lnTo>
                  <a:lnTo>
                    <a:pt x="44" y="500"/>
                  </a:lnTo>
                  <a:lnTo>
                    <a:pt x="49" y="505"/>
                  </a:lnTo>
                  <a:lnTo>
                    <a:pt x="50" y="511"/>
                  </a:lnTo>
                  <a:lnTo>
                    <a:pt x="52" y="517"/>
                  </a:lnTo>
                  <a:lnTo>
                    <a:pt x="55" y="524"/>
                  </a:lnTo>
                  <a:lnTo>
                    <a:pt x="60" y="529"/>
                  </a:lnTo>
                  <a:lnTo>
                    <a:pt x="63" y="535"/>
                  </a:lnTo>
                  <a:lnTo>
                    <a:pt x="66" y="540"/>
                  </a:lnTo>
                  <a:lnTo>
                    <a:pt x="70" y="547"/>
                  </a:lnTo>
                  <a:lnTo>
                    <a:pt x="70" y="554"/>
                  </a:lnTo>
                  <a:lnTo>
                    <a:pt x="81" y="566"/>
                  </a:lnTo>
                  <a:lnTo>
                    <a:pt x="96" y="586"/>
                  </a:lnTo>
                  <a:lnTo>
                    <a:pt x="102" y="597"/>
                  </a:lnTo>
                  <a:lnTo>
                    <a:pt x="109" y="606"/>
                  </a:lnTo>
                  <a:lnTo>
                    <a:pt x="112" y="614"/>
                  </a:lnTo>
                  <a:lnTo>
                    <a:pt x="114" y="620"/>
                  </a:lnTo>
                  <a:lnTo>
                    <a:pt x="122" y="622"/>
                  </a:lnTo>
                  <a:lnTo>
                    <a:pt x="131" y="626"/>
                  </a:lnTo>
                  <a:lnTo>
                    <a:pt x="140" y="632"/>
                  </a:lnTo>
                  <a:lnTo>
                    <a:pt x="145" y="636"/>
                  </a:lnTo>
                  <a:lnTo>
                    <a:pt x="151" y="639"/>
                  </a:lnTo>
                  <a:lnTo>
                    <a:pt x="158" y="641"/>
                  </a:lnTo>
                  <a:lnTo>
                    <a:pt x="224" y="641"/>
                  </a:lnTo>
                  <a:lnTo>
                    <a:pt x="229" y="640"/>
                  </a:lnTo>
                  <a:lnTo>
                    <a:pt x="238" y="635"/>
                  </a:lnTo>
                  <a:lnTo>
                    <a:pt x="251" y="630"/>
                  </a:lnTo>
                  <a:lnTo>
                    <a:pt x="263" y="622"/>
                  </a:lnTo>
                  <a:lnTo>
                    <a:pt x="274" y="614"/>
                  </a:lnTo>
                  <a:lnTo>
                    <a:pt x="285" y="606"/>
                  </a:lnTo>
                  <a:lnTo>
                    <a:pt x="289" y="602"/>
                  </a:lnTo>
                  <a:lnTo>
                    <a:pt x="292" y="599"/>
                  </a:lnTo>
                  <a:lnTo>
                    <a:pt x="294" y="595"/>
                  </a:lnTo>
                  <a:lnTo>
                    <a:pt x="294" y="593"/>
                  </a:lnTo>
                  <a:lnTo>
                    <a:pt x="303" y="584"/>
                  </a:lnTo>
                  <a:lnTo>
                    <a:pt x="308" y="583"/>
                  </a:lnTo>
                  <a:lnTo>
                    <a:pt x="312" y="582"/>
                  </a:lnTo>
                  <a:lnTo>
                    <a:pt x="315" y="578"/>
                  </a:lnTo>
                  <a:lnTo>
                    <a:pt x="317" y="575"/>
                  </a:lnTo>
                  <a:lnTo>
                    <a:pt x="327" y="573"/>
                  </a:lnTo>
                  <a:lnTo>
                    <a:pt x="334" y="571"/>
                  </a:lnTo>
                  <a:lnTo>
                    <a:pt x="334" y="567"/>
                  </a:lnTo>
                  <a:lnTo>
                    <a:pt x="337" y="565"/>
                  </a:lnTo>
                  <a:lnTo>
                    <a:pt x="340" y="563"/>
                  </a:lnTo>
                  <a:lnTo>
                    <a:pt x="343" y="562"/>
                  </a:lnTo>
                  <a:lnTo>
                    <a:pt x="346" y="558"/>
                  </a:lnTo>
                  <a:lnTo>
                    <a:pt x="352" y="553"/>
                  </a:lnTo>
                  <a:lnTo>
                    <a:pt x="363" y="546"/>
                  </a:lnTo>
                  <a:lnTo>
                    <a:pt x="376" y="539"/>
                  </a:lnTo>
                  <a:lnTo>
                    <a:pt x="388" y="533"/>
                  </a:lnTo>
                  <a:lnTo>
                    <a:pt x="400" y="527"/>
                  </a:lnTo>
                  <a:lnTo>
                    <a:pt x="410" y="524"/>
                  </a:lnTo>
                  <a:lnTo>
                    <a:pt x="418" y="523"/>
                  </a:lnTo>
                  <a:lnTo>
                    <a:pt x="421" y="519"/>
                  </a:lnTo>
                  <a:lnTo>
                    <a:pt x="425" y="517"/>
                  </a:lnTo>
                  <a:lnTo>
                    <a:pt x="429" y="515"/>
                  </a:lnTo>
                  <a:lnTo>
                    <a:pt x="435" y="514"/>
                  </a:lnTo>
                  <a:lnTo>
                    <a:pt x="444" y="500"/>
                  </a:lnTo>
                  <a:lnTo>
                    <a:pt x="448" y="500"/>
                  </a:lnTo>
                  <a:lnTo>
                    <a:pt x="453" y="498"/>
                  </a:lnTo>
                  <a:lnTo>
                    <a:pt x="456" y="496"/>
                  </a:lnTo>
                  <a:lnTo>
                    <a:pt x="459" y="494"/>
                  </a:lnTo>
                  <a:lnTo>
                    <a:pt x="466" y="488"/>
                  </a:lnTo>
                  <a:lnTo>
                    <a:pt x="475" y="484"/>
                  </a:lnTo>
                  <a:lnTo>
                    <a:pt x="475" y="479"/>
                  </a:lnTo>
                  <a:lnTo>
                    <a:pt x="477" y="475"/>
                  </a:lnTo>
                  <a:lnTo>
                    <a:pt x="481" y="469"/>
                  </a:lnTo>
                  <a:lnTo>
                    <a:pt x="484" y="463"/>
                  </a:lnTo>
                  <a:lnTo>
                    <a:pt x="492" y="455"/>
                  </a:lnTo>
                  <a:lnTo>
                    <a:pt x="497" y="448"/>
                  </a:lnTo>
                  <a:lnTo>
                    <a:pt x="497" y="442"/>
                  </a:lnTo>
                  <a:lnTo>
                    <a:pt x="500" y="436"/>
                  </a:lnTo>
                  <a:lnTo>
                    <a:pt x="501" y="432"/>
                  </a:lnTo>
                  <a:lnTo>
                    <a:pt x="502" y="429"/>
                  </a:lnTo>
                  <a:lnTo>
                    <a:pt x="504" y="427"/>
                  </a:lnTo>
                  <a:lnTo>
                    <a:pt x="505" y="426"/>
                  </a:lnTo>
                  <a:lnTo>
                    <a:pt x="505" y="400"/>
                  </a:lnTo>
                  <a:lnTo>
                    <a:pt x="507" y="392"/>
                  </a:lnTo>
                  <a:lnTo>
                    <a:pt x="509" y="383"/>
                  </a:lnTo>
                  <a:lnTo>
                    <a:pt x="507" y="373"/>
                  </a:lnTo>
                  <a:lnTo>
                    <a:pt x="505" y="363"/>
                  </a:lnTo>
                  <a:lnTo>
                    <a:pt x="502" y="354"/>
                  </a:lnTo>
                  <a:lnTo>
                    <a:pt x="497" y="345"/>
                  </a:lnTo>
                  <a:lnTo>
                    <a:pt x="493" y="338"/>
                  </a:lnTo>
                  <a:lnTo>
                    <a:pt x="488" y="334"/>
                  </a:lnTo>
                  <a:lnTo>
                    <a:pt x="488" y="316"/>
                  </a:lnTo>
                  <a:lnTo>
                    <a:pt x="481" y="306"/>
                  </a:lnTo>
                  <a:lnTo>
                    <a:pt x="474" y="293"/>
                  </a:lnTo>
                  <a:lnTo>
                    <a:pt x="471" y="285"/>
                  </a:lnTo>
                  <a:lnTo>
                    <a:pt x="468" y="278"/>
                  </a:lnTo>
                  <a:lnTo>
                    <a:pt x="466" y="270"/>
                  </a:lnTo>
                  <a:lnTo>
                    <a:pt x="466" y="264"/>
                  </a:lnTo>
                  <a:lnTo>
                    <a:pt x="457" y="255"/>
                  </a:lnTo>
                  <a:lnTo>
                    <a:pt x="457" y="246"/>
                  </a:lnTo>
                  <a:lnTo>
                    <a:pt x="450" y="238"/>
                  </a:lnTo>
                  <a:lnTo>
                    <a:pt x="443" y="230"/>
                  </a:lnTo>
                  <a:lnTo>
                    <a:pt x="436" y="222"/>
                  </a:lnTo>
                  <a:lnTo>
                    <a:pt x="430" y="215"/>
                  </a:lnTo>
                  <a:lnTo>
                    <a:pt x="430" y="201"/>
                  </a:lnTo>
                  <a:lnTo>
                    <a:pt x="427" y="193"/>
                  </a:lnTo>
                  <a:lnTo>
                    <a:pt x="423" y="184"/>
                  </a:lnTo>
                  <a:lnTo>
                    <a:pt x="423" y="154"/>
                  </a:lnTo>
                  <a:lnTo>
                    <a:pt x="425" y="125"/>
                  </a:lnTo>
                  <a:lnTo>
                    <a:pt x="426" y="95"/>
                  </a:lnTo>
                  <a:lnTo>
                    <a:pt x="427" y="65"/>
                  </a:lnTo>
                  <a:lnTo>
                    <a:pt x="424" y="65"/>
                  </a:lnTo>
                  <a:lnTo>
                    <a:pt x="423" y="63"/>
                  </a:lnTo>
                  <a:lnTo>
                    <a:pt x="423" y="59"/>
                  </a:lnTo>
                  <a:lnTo>
                    <a:pt x="423" y="56"/>
                  </a:lnTo>
                  <a:lnTo>
                    <a:pt x="413" y="55"/>
                  </a:lnTo>
                  <a:lnTo>
                    <a:pt x="400" y="52"/>
                  </a:lnTo>
                  <a:lnTo>
                    <a:pt x="395" y="48"/>
                  </a:lnTo>
                  <a:lnTo>
                    <a:pt x="389" y="46"/>
                  </a:lnTo>
                  <a:lnTo>
                    <a:pt x="385" y="43"/>
                  </a:lnTo>
                  <a:lnTo>
                    <a:pt x="382" y="39"/>
                  </a:lnTo>
                  <a:lnTo>
                    <a:pt x="369" y="39"/>
                  </a:lnTo>
                  <a:lnTo>
                    <a:pt x="362" y="37"/>
                  </a:lnTo>
                  <a:lnTo>
                    <a:pt x="356" y="35"/>
                  </a:lnTo>
                  <a:lnTo>
                    <a:pt x="356" y="33"/>
                  </a:lnTo>
                  <a:lnTo>
                    <a:pt x="353" y="30"/>
                  </a:lnTo>
                  <a:lnTo>
                    <a:pt x="350" y="30"/>
                  </a:lnTo>
                  <a:lnTo>
                    <a:pt x="348" y="30"/>
                  </a:lnTo>
                  <a:lnTo>
                    <a:pt x="282" y="22"/>
                  </a:lnTo>
                  <a:lnTo>
                    <a:pt x="277" y="17"/>
                  </a:lnTo>
                  <a:lnTo>
                    <a:pt x="273" y="13"/>
                  </a:lnTo>
                  <a:lnTo>
                    <a:pt x="271" y="8"/>
                  </a:lnTo>
                  <a:lnTo>
                    <a:pt x="269" y="4"/>
                  </a:lnTo>
                  <a:lnTo>
                    <a:pt x="260" y="4"/>
                  </a:lnTo>
                  <a:lnTo>
                    <a:pt x="260" y="3"/>
                  </a:lnTo>
                  <a:lnTo>
                    <a:pt x="258" y="1"/>
                  </a:lnTo>
                  <a:lnTo>
                    <a:pt x="257" y="0"/>
                  </a:lnTo>
                  <a:lnTo>
                    <a:pt x="255" y="0"/>
                  </a:lnTo>
                  <a:lnTo>
                    <a:pt x="248" y="1"/>
                  </a:lnTo>
                  <a:lnTo>
                    <a:pt x="237" y="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9" name="Freeform 86"/>
            <p:cNvSpPr>
              <a:spLocks noChangeAspect="1"/>
            </p:cNvSpPr>
            <p:nvPr/>
          </p:nvSpPr>
          <p:spPr bwMode="gray">
            <a:xfrm rot="355651">
              <a:off x="7178127" y="4241800"/>
              <a:ext cx="93100" cy="104333"/>
            </a:xfrm>
            <a:custGeom>
              <a:avLst/>
              <a:gdLst/>
              <a:ahLst/>
              <a:cxnLst>
                <a:cxn ang="0">
                  <a:pos x="223" y="14"/>
                </a:cxn>
                <a:cxn ang="0">
                  <a:pos x="202" y="53"/>
                </a:cxn>
                <a:cxn ang="0">
                  <a:pos x="194" y="116"/>
                </a:cxn>
                <a:cxn ang="0">
                  <a:pos x="174" y="132"/>
                </a:cxn>
                <a:cxn ang="0">
                  <a:pos x="137" y="150"/>
                </a:cxn>
                <a:cxn ang="0">
                  <a:pos x="101" y="173"/>
                </a:cxn>
                <a:cxn ang="0">
                  <a:pos x="85" y="186"/>
                </a:cxn>
                <a:cxn ang="0">
                  <a:pos x="58" y="201"/>
                </a:cxn>
                <a:cxn ang="0">
                  <a:pos x="39" y="212"/>
                </a:cxn>
                <a:cxn ang="0">
                  <a:pos x="37" y="215"/>
                </a:cxn>
                <a:cxn ang="0">
                  <a:pos x="13" y="249"/>
                </a:cxn>
                <a:cxn ang="0">
                  <a:pos x="4" y="272"/>
                </a:cxn>
                <a:cxn ang="0">
                  <a:pos x="0" y="317"/>
                </a:cxn>
                <a:cxn ang="0">
                  <a:pos x="8" y="408"/>
                </a:cxn>
                <a:cxn ang="0">
                  <a:pos x="32" y="480"/>
                </a:cxn>
                <a:cxn ang="0">
                  <a:pos x="49" y="505"/>
                </a:cxn>
                <a:cxn ang="0">
                  <a:pos x="60" y="529"/>
                </a:cxn>
                <a:cxn ang="0">
                  <a:pos x="70" y="554"/>
                </a:cxn>
                <a:cxn ang="0">
                  <a:pos x="109" y="606"/>
                </a:cxn>
                <a:cxn ang="0">
                  <a:pos x="131" y="626"/>
                </a:cxn>
                <a:cxn ang="0">
                  <a:pos x="158" y="641"/>
                </a:cxn>
                <a:cxn ang="0">
                  <a:pos x="251" y="630"/>
                </a:cxn>
                <a:cxn ang="0">
                  <a:pos x="289" y="602"/>
                </a:cxn>
                <a:cxn ang="0">
                  <a:pos x="303" y="584"/>
                </a:cxn>
                <a:cxn ang="0">
                  <a:pos x="317" y="575"/>
                </a:cxn>
                <a:cxn ang="0">
                  <a:pos x="337" y="565"/>
                </a:cxn>
                <a:cxn ang="0">
                  <a:pos x="352" y="553"/>
                </a:cxn>
                <a:cxn ang="0">
                  <a:pos x="400" y="527"/>
                </a:cxn>
                <a:cxn ang="0">
                  <a:pos x="425" y="517"/>
                </a:cxn>
                <a:cxn ang="0">
                  <a:pos x="448" y="500"/>
                </a:cxn>
                <a:cxn ang="0">
                  <a:pos x="466" y="488"/>
                </a:cxn>
                <a:cxn ang="0">
                  <a:pos x="481" y="469"/>
                </a:cxn>
                <a:cxn ang="0">
                  <a:pos x="497" y="442"/>
                </a:cxn>
                <a:cxn ang="0">
                  <a:pos x="504" y="427"/>
                </a:cxn>
                <a:cxn ang="0">
                  <a:pos x="509" y="383"/>
                </a:cxn>
                <a:cxn ang="0">
                  <a:pos x="497" y="345"/>
                </a:cxn>
                <a:cxn ang="0">
                  <a:pos x="481" y="306"/>
                </a:cxn>
                <a:cxn ang="0">
                  <a:pos x="466" y="270"/>
                </a:cxn>
                <a:cxn ang="0">
                  <a:pos x="450" y="238"/>
                </a:cxn>
                <a:cxn ang="0">
                  <a:pos x="430" y="201"/>
                </a:cxn>
                <a:cxn ang="0">
                  <a:pos x="425" y="125"/>
                </a:cxn>
                <a:cxn ang="0">
                  <a:pos x="423" y="63"/>
                </a:cxn>
                <a:cxn ang="0">
                  <a:pos x="400" y="52"/>
                </a:cxn>
                <a:cxn ang="0">
                  <a:pos x="382" y="39"/>
                </a:cxn>
                <a:cxn ang="0">
                  <a:pos x="356" y="33"/>
                </a:cxn>
                <a:cxn ang="0">
                  <a:pos x="282" y="22"/>
                </a:cxn>
                <a:cxn ang="0">
                  <a:pos x="269" y="4"/>
                </a:cxn>
                <a:cxn ang="0">
                  <a:pos x="257" y="0"/>
                </a:cxn>
              </a:cxnLst>
              <a:rect l="0" t="0" r="r" b="b"/>
              <a:pathLst>
                <a:path w="509" h="641">
                  <a:moveTo>
                    <a:pt x="237" y="4"/>
                  </a:moveTo>
                  <a:lnTo>
                    <a:pt x="233" y="6"/>
                  </a:lnTo>
                  <a:lnTo>
                    <a:pt x="227" y="9"/>
                  </a:lnTo>
                  <a:lnTo>
                    <a:pt x="223" y="14"/>
                  </a:lnTo>
                  <a:lnTo>
                    <a:pt x="218" y="18"/>
                  </a:lnTo>
                  <a:lnTo>
                    <a:pt x="209" y="27"/>
                  </a:lnTo>
                  <a:lnTo>
                    <a:pt x="203" y="35"/>
                  </a:lnTo>
                  <a:lnTo>
                    <a:pt x="202" y="53"/>
                  </a:lnTo>
                  <a:lnTo>
                    <a:pt x="200" y="73"/>
                  </a:lnTo>
                  <a:lnTo>
                    <a:pt x="198" y="93"/>
                  </a:lnTo>
                  <a:lnTo>
                    <a:pt x="198" y="114"/>
                  </a:lnTo>
                  <a:lnTo>
                    <a:pt x="194" y="116"/>
                  </a:lnTo>
                  <a:lnTo>
                    <a:pt x="189" y="119"/>
                  </a:lnTo>
                  <a:lnTo>
                    <a:pt x="185" y="128"/>
                  </a:lnTo>
                  <a:lnTo>
                    <a:pt x="180" y="129"/>
                  </a:lnTo>
                  <a:lnTo>
                    <a:pt x="174" y="132"/>
                  </a:lnTo>
                  <a:lnTo>
                    <a:pt x="167" y="136"/>
                  </a:lnTo>
                  <a:lnTo>
                    <a:pt x="162" y="140"/>
                  </a:lnTo>
                  <a:lnTo>
                    <a:pt x="149" y="140"/>
                  </a:lnTo>
                  <a:lnTo>
                    <a:pt x="137" y="150"/>
                  </a:lnTo>
                  <a:lnTo>
                    <a:pt x="121" y="159"/>
                  </a:lnTo>
                  <a:lnTo>
                    <a:pt x="113" y="163"/>
                  </a:lnTo>
                  <a:lnTo>
                    <a:pt x="107" y="168"/>
                  </a:lnTo>
                  <a:lnTo>
                    <a:pt x="101" y="173"/>
                  </a:lnTo>
                  <a:lnTo>
                    <a:pt x="97" y="180"/>
                  </a:lnTo>
                  <a:lnTo>
                    <a:pt x="93" y="180"/>
                  </a:lnTo>
                  <a:lnTo>
                    <a:pt x="89" y="182"/>
                  </a:lnTo>
                  <a:lnTo>
                    <a:pt x="85" y="186"/>
                  </a:lnTo>
                  <a:lnTo>
                    <a:pt x="83" y="189"/>
                  </a:lnTo>
                  <a:lnTo>
                    <a:pt x="74" y="191"/>
                  </a:lnTo>
                  <a:lnTo>
                    <a:pt x="66" y="193"/>
                  </a:lnTo>
                  <a:lnTo>
                    <a:pt x="58" y="201"/>
                  </a:lnTo>
                  <a:lnTo>
                    <a:pt x="49" y="210"/>
                  </a:lnTo>
                  <a:lnTo>
                    <a:pt x="43" y="211"/>
                  </a:lnTo>
                  <a:lnTo>
                    <a:pt x="40" y="211"/>
                  </a:lnTo>
                  <a:lnTo>
                    <a:pt x="39" y="212"/>
                  </a:lnTo>
                  <a:lnTo>
                    <a:pt x="39" y="212"/>
                  </a:lnTo>
                  <a:lnTo>
                    <a:pt x="39" y="213"/>
                  </a:lnTo>
                  <a:lnTo>
                    <a:pt x="39" y="215"/>
                  </a:lnTo>
                  <a:lnTo>
                    <a:pt x="37" y="215"/>
                  </a:lnTo>
                  <a:lnTo>
                    <a:pt x="35" y="215"/>
                  </a:lnTo>
                  <a:lnTo>
                    <a:pt x="31" y="224"/>
                  </a:lnTo>
                  <a:lnTo>
                    <a:pt x="22" y="236"/>
                  </a:lnTo>
                  <a:lnTo>
                    <a:pt x="13" y="249"/>
                  </a:lnTo>
                  <a:lnTo>
                    <a:pt x="8" y="255"/>
                  </a:lnTo>
                  <a:lnTo>
                    <a:pt x="8" y="268"/>
                  </a:lnTo>
                  <a:lnTo>
                    <a:pt x="6" y="269"/>
                  </a:lnTo>
                  <a:lnTo>
                    <a:pt x="4" y="272"/>
                  </a:lnTo>
                  <a:lnTo>
                    <a:pt x="2" y="277"/>
                  </a:lnTo>
                  <a:lnTo>
                    <a:pt x="1" y="283"/>
                  </a:lnTo>
                  <a:lnTo>
                    <a:pt x="0" y="299"/>
                  </a:lnTo>
                  <a:lnTo>
                    <a:pt x="0" y="317"/>
                  </a:lnTo>
                  <a:lnTo>
                    <a:pt x="3" y="355"/>
                  </a:lnTo>
                  <a:lnTo>
                    <a:pt x="4" y="378"/>
                  </a:lnTo>
                  <a:lnTo>
                    <a:pt x="5" y="391"/>
                  </a:lnTo>
                  <a:lnTo>
                    <a:pt x="8" y="408"/>
                  </a:lnTo>
                  <a:lnTo>
                    <a:pt x="13" y="426"/>
                  </a:lnTo>
                  <a:lnTo>
                    <a:pt x="18" y="445"/>
                  </a:lnTo>
                  <a:lnTo>
                    <a:pt x="25" y="463"/>
                  </a:lnTo>
                  <a:lnTo>
                    <a:pt x="32" y="480"/>
                  </a:lnTo>
                  <a:lnTo>
                    <a:pt x="36" y="488"/>
                  </a:lnTo>
                  <a:lnTo>
                    <a:pt x="40" y="495"/>
                  </a:lnTo>
                  <a:lnTo>
                    <a:pt x="44" y="500"/>
                  </a:lnTo>
                  <a:lnTo>
                    <a:pt x="49" y="505"/>
                  </a:lnTo>
                  <a:lnTo>
                    <a:pt x="50" y="511"/>
                  </a:lnTo>
                  <a:lnTo>
                    <a:pt x="52" y="517"/>
                  </a:lnTo>
                  <a:lnTo>
                    <a:pt x="55" y="524"/>
                  </a:lnTo>
                  <a:lnTo>
                    <a:pt x="60" y="529"/>
                  </a:lnTo>
                  <a:lnTo>
                    <a:pt x="63" y="535"/>
                  </a:lnTo>
                  <a:lnTo>
                    <a:pt x="66" y="540"/>
                  </a:lnTo>
                  <a:lnTo>
                    <a:pt x="70" y="547"/>
                  </a:lnTo>
                  <a:lnTo>
                    <a:pt x="70" y="554"/>
                  </a:lnTo>
                  <a:lnTo>
                    <a:pt x="81" y="566"/>
                  </a:lnTo>
                  <a:lnTo>
                    <a:pt x="96" y="586"/>
                  </a:lnTo>
                  <a:lnTo>
                    <a:pt x="102" y="597"/>
                  </a:lnTo>
                  <a:lnTo>
                    <a:pt x="109" y="606"/>
                  </a:lnTo>
                  <a:lnTo>
                    <a:pt x="112" y="614"/>
                  </a:lnTo>
                  <a:lnTo>
                    <a:pt x="114" y="620"/>
                  </a:lnTo>
                  <a:lnTo>
                    <a:pt x="122" y="622"/>
                  </a:lnTo>
                  <a:lnTo>
                    <a:pt x="131" y="626"/>
                  </a:lnTo>
                  <a:lnTo>
                    <a:pt x="140" y="632"/>
                  </a:lnTo>
                  <a:lnTo>
                    <a:pt x="145" y="636"/>
                  </a:lnTo>
                  <a:lnTo>
                    <a:pt x="151" y="639"/>
                  </a:lnTo>
                  <a:lnTo>
                    <a:pt x="158" y="641"/>
                  </a:lnTo>
                  <a:lnTo>
                    <a:pt x="224" y="641"/>
                  </a:lnTo>
                  <a:lnTo>
                    <a:pt x="229" y="640"/>
                  </a:lnTo>
                  <a:lnTo>
                    <a:pt x="238" y="635"/>
                  </a:lnTo>
                  <a:lnTo>
                    <a:pt x="251" y="630"/>
                  </a:lnTo>
                  <a:lnTo>
                    <a:pt x="263" y="622"/>
                  </a:lnTo>
                  <a:lnTo>
                    <a:pt x="274" y="614"/>
                  </a:lnTo>
                  <a:lnTo>
                    <a:pt x="285" y="606"/>
                  </a:lnTo>
                  <a:lnTo>
                    <a:pt x="289" y="602"/>
                  </a:lnTo>
                  <a:lnTo>
                    <a:pt x="292" y="599"/>
                  </a:lnTo>
                  <a:lnTo>
                    <a:pt x="294" y="595"/>
                  </a:lnTo>
                  <a:lnTo>
                    <a:pt x="294" y="593"/>
                  </a:lnTo>
                  <a:lnTo>
                    <a:pt x="303" y="584"/>
                  </a:lnTo>
                  <a:lnTo>
                    <a:pt x="308" y="583"/>
                  </a:lnTo>
                  <a:lnTo>
                    <a:pt x="312" y="582"/>
                  </a:lnTo>
                  <a:lnTo>
                    <a:pt x="315" y="578"/>
                  </a:lnTo>
                  <a:lnTo>
                    <a:pt x="317" y="575"/>
                  </a:lnTo>
                  <a:lnTo>
                    <a:pt x="327" y="573"/>
                  </a:lnTo>
                  <a:lnTo>
                    <a:pt x="334" y="571"/>
                  </a:lnTo>
                  <a:lnTo>
                    <a:pt x="334" y="567"/>
                  </a:lnTo>
                  <a:lnTo>
                    <a:pt x="337" y="565"/>
                  </a:lnTo>
                  <a:lnTo>
                    <a:pt x="340" y="563"/>
                  </a:lnTo>
                  <a:lnTo>
                    <a:pt x="343" y="562"/>
                  </a:lnTo>
                  <a:lnTo>
                    <a:pt x="346" y="558"/>
                  </a:lnTo>
                  <a:lnTo>
                    <a:pt x="352" y="553"/>
                  </a:lnTo>
                  <a:lnTo>
                    <a:pt x="363" y="546"/>
                  </a:lnTo>
                  <a:lnTo>
                    <a:pt x="376" y="539"/>
                  </a:lnTo>
                  <a:lnTo>
                    <a:pt x="388" y="533"/>
                  </a:lnTo>
                  <a:lnTo>
                    <a:pt x="400" y="527"/>
                  </a:lnTo>
                  <a:lnTo>
                    <a:pt x="410" y="524"/>
                  </a:lnTo>
                  <a:lnTo>
                    <a:pt x="418" y="523"/>
                  </a:lnTo>
                  <a:lnTo>
                    <a:pt x="421" y="519"/>
                  </a:lnTo>
                  <a:lnTo>
                    <a:pt x="425" y="517"/>
                  </a:lnTo>
                  <a:lnTo>
                    <a:pt x="429" y="515"/>
                  </a:lnTo>
                  <a:lnTo>
                    <a:pt x="435" y="514"/>
                  </a:lnTo>
                  <a:lnTo>
                    <a:pt x="444" y="500"/>
                  </a:lnTo>
                  <a:lnTo>
                    <a:pt x="448" y="500"/>
                  </a:lnTo>
                  <a:lnTo>
                    <a:pt x="453" y="498"/>
                  </a:lnTo>
                  <a:lnTo>
                    <a:pt x="456" y="496"/>
                  </a:lnTo>
                  <a:lnTo>
                    <a:pt x="459" y="494"/>
                  </a:lnTo>
                  <a:lnTo>
                    <a:pt x="466" y="488"/>
                  </a:lnTo>
                  <a:lnTo>
                    <a:pt x="475" y="484"/>
                  </a:lnTo>
                  <a:lnTo>
                    <a:pt x="475" y="479"/>
                  </a:lnTo>
                  <a:lnTo>
                    <a:pt x="477" y="475"/>
                  </a:lnTo>
                  <a:lnTo>
                    <a:pt x="481" y="469"/>
                  </a:lnTo>
                  <a:lnTo>
                    <a:pt x="484" y="463"/>
                  </a:lnTo>
                  <a:lnTo>
                    <a:pt x="492" y="455"/>
                  </a:lnTo>
                  <a:lnTo>
                    <a:pt x="497" y="448"/>
                  </a:lnTo>
                  <a:lnTo>
                    <a:pt x="497" y="442"/>
                  </a:lnTo>
                  <a:lnTo>
                    <a:pt x="500" y="436"/>
                  </a:lnTo>
                  <a:lnTo>
                    <a:pt x="501" y="432"/>
                  </a:lnTo>
                  <a:lnTo>
                    <a:pt x="502" y="429"/>
                  </a:lnTo>
                  <a:lnTo>
                    <a:pt x="504" y="427"/>
                  </a:lnTo>
                  <a:lnTo>
                    <a:pt x="505" y="426"/>
                  </a:lnTo>
                  <a:lnTo>
                    <a:pt x="505" y="400"/>
                  </a:lnTo>
                  <a:lnTo>
                    <a:pt x="507" y="392"/>
                  </a:lnTo>
                  <a:lnTo>
                    <a:pt x="509" y="383"/>
                  </a:lnTo>
                  <a:lnTo>
                    <a:pt x="507" y="373"/>
                  </a:lnTo>
                  <a:lnTo>
                    <a:pt x="505" y="363"/>
                  </a:lnTo>
                  <a:lnTo>
                    <a:pt x="502" y="354"/>
                  </a:lnTo>
                  <a:lnTo>
                    <a:pt x="497" y="345"/>
                  </a:lnTo>
                  <a:lnTo>
                    <a:pt x="493" y="338"/>
                  </a:lnTo>
                  <a:lnTo>
                    <a:pt x="488" y="334"/>
                  </a:lnTo>
                  <a:lnTo>
                    <a:pt x="488" y="316"/>
                  </a:lnTo>
                  <a:lnTo>
                    <a:pt x="481" y="306"/>
                  </a:lnTo>
                  <a:lnTo>
                    <a:pt x="474" y="293"/>
                  </a:lnTo>
                  <a:lnTo>
                    <a:pt x="471" y="285"/>
                  </a:lnTo>
                  <a:lnTo>
                    <a:pt x="468" y="278"/>
                  </a:lnTo>
                  <a:lnTo>
                    <a:pt x="466" y="270"/>
                  </a:lnTo>
                  <a:lnTo>
                    <a:pt x="466" y="264"/>
                  </a:lnTo>
                  <a:lnTo>
                    <a:pt x="457" y="255"/>
                  </a:lnTo>
                  <a:lnTo>
                    <a:pt x="457" y="246"/>
                  </a:lnTo>
                  <a:lnTo>
                    <a:pt x="450" y="238"/>
                  </a:lnTo>
                  <a:lnTo>
                    <a:pt x="443" y="230"/>
                  </a:lnTo>
                  <a:lnTo>
                    <a:pt x="436" y="222"/>
                  </a:lnTo>
                  <a:lnTo>
                    <a:pt x="430" y="215"/>
                  </a:lnTo>
                  <a:lnTo>
                    <a:pt x="430" y="201"/>
                  </a:lnTo>
                  <a:lnTo>
                    <a:pt x="427" y="193"/>
                  </a:lnTo>
                  <a:lnTo>
                    <a:pt x="423" y="184"/>
                  </a:lnTo>
                  <a:lnTo>
                    <a:pt x="423" y="154"/>
                  </a:lnTo>
                  <a:lnTo>
                    <a:pt x="425" y="125"/>
                  </a:lnTo>
                  <a:lnTo>
                    <a:pt x="426" y="95"/>
                  </a:lnTo>
                  <a:lnTo>
                    <a:pt x="427" y="65"/>
                  </a:lnTo>
                  <a:lnTo>
                    <a:pt x="424" y="65"/>
                  </a:lnTo>
                  <a:lnTo>
                    <a:pt x="423" y="63"/>
                  </a:lnTo>
                  <a:lnTo>
                    <a:pt x="423" y="59"/>
                  </a:lnTo>
                  <a:lnTo>
                    <a:pt x="423" y="56"/>
                  </a:lnTo>
                  <a:lnTo>
                    <a:pt x="413" y="55"/>
                  </a:lnTo>
                  <a:lnTo>
                    <a:pt x="400" y="52"/>
                  </a:lnTo>
                  <a:lnTo>
                    <a:pt x="395" y="48"/>
                  </a:lnTo>
                  <a:lnTo>
                    <a:pt x="389" y="46"/>
                  </a:lnTo>
                  <a:lnTo>
                    <a:pt x="385" y="43"/>
                  </a:lnTo>
                  <a:lnTo>
                    <a:pt x="382" y="39"/>
                  </a:lnTo>
                  <a:lnTo>
                    <a:pt x="369" y="39"/>
                  </a:lnTo>
                  <a:lnTo>
                    <a:pt x="362" y="37"/>
                  </a:lnTo>
                  <a:lnTo>
                    <a:pt x="356" y="35"/>
                  </a:lnTo>
                  <a:lnTo>
                    <a:pt x="356" y="33"/>
                  </a:lnTo>
                  <a:lnTo>
                    <a:pt x="353" y="30"/>
                  </a:lnTo>
                  <a:lnTo>
                    <a:pt x="350" y="30"/>
                  </a:lnTo>
                  <a:lnTo>
                    <a:pt x="348" y="30"/>
                  </a:lnTo>
                  <a:lnTo>
                    <a:pt x="282" y="22"/>
                  </a:lnTo>
                  <a:lnTo>
                    <a:pt x="277" y="17"/>
                  </a:lnTo>
                  <a:lnTo>
                    <a:pt x="273" y="13"/>
                  </a:lnTo>
                  <a:lnTo>
                    <a:pt x="271" y="8"/>
                  </a:lnTo>
                  <a:lnTo>
                    <a:pt x="269" y="4"/>
                  </a:lnTo>
                  <a:lnTo>
                    <a:pt x="260" y="4"/>
                  </a:lnTo>
                  <a:lnTo>
                    <a:pt x="260" y="3"/>
                  </a:lnTo>
                  <a:lnTo>
                    <a:pt x="258" y="1"/>
                  </a:lnTo>
                  <a:lnTo>
                    <a:pt x="257" y="0"/>
                  </a:lnTo>
                  <a:lnTo>
                    <a:pt x="255" y="0"/>
                  </a:lnTo>
                  <a:lnTo>
                    <a:pt x="248" y="1"/>
                  </a:lnTo>
                  <a:lnTo>
                    <a:pt x="237" y="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0" name="Freeform 87"/>
            <p:cNvSpPr>
              <a:spLocks noChangeAspect="1"/>
            </p:cNvSpPr>
            <p:nvPr/>
          </p:nvSpPr>
          <p:spPr bwMode="gray">
            <a:xfrm rot="355651">
              <a:off x="7032129" y="4260850"/>
              <a:ext cx="118492" cy="54295"/>
            </a:xfrm>
            <a:custGeom>
              <a:avLst/>
              <a:gdLst/>
              <a:ahLst/>
              <a:cxnLst>
                <a:cxn ang="0">
                  <a:pos x="269" y="21"/>
                </a:cxn>
                <a:cxn ang="0">
                  <a:pos x="252" y="35"/>
                </a:cxn>
                <a:cxn ang="0">
                  <a:pos x="248" y="80"/>
                </a:cxn>
                <a:cxn ang="0">
                  <a:pos x="254" y="106"/>
                </a:cxn>
                <a:cxn ang="0">
                  <a:pos x="260" y="112"/>
                </a:cxn>
                <a:cxn ang="0">
                  <a:pos x="264" y="167"/>
                </a:cxn>
                <a:cxn ang="0">
                  <a:pos x="241" y="192"/>
                </a:cxn>
                <a:cxn ang="0">
                  <a:pos x="175" y="199"/>
                </a:cxn>
                <a:cxn ang="0">
                  <a:pos x="115" y="206"/>
                </a:cxn>
                <a:cxn ang="0">
                  <a:pos x="95" y="213"/>
                </a:cxn>
                <a:cxn ang="0">
                  <a:pos x="86" y="218"/>
                </a:cxn>
                <a:cxn ang="0">
                  <a:pos x="68" y="224"/>
                </a:cxn>
                <a:cxn ang="0">
                  <a:pos x="55" y="228"/>
                </a:cxn>
                <a:cxn ang="0">
                  <a:pos x="34" y="244"/>
                </a:cxn>
                <a:cxn ang="0">
                  <a:pos x="24" y="251"/>
                </a:cxn>
                <a:cxn ang="0">
                  <a:pos x="13" y="265"/>
                </a:cxn>
                <a:cxn ang="0">
                  <a:pos x="3" y="274"/>
                </a:cxn>
                <a:cxn ang="0">
                  <a:pos x="9" y="304"/>
                </a:cxn>
                <a:cxn ang="0">
                  <a:pos x="33" y="323"/>
                </a:cxn>
                <a:cxn ang="0">
                  <a:pos x="120" y="328"/>
                </a:cxn>
                <a:cxn ang="0">
                  <a:pos x="152" y="323"/>
                </a:cxn>
                <a:cxn ang="0">
                  <a:pos x="175" y="312"/>
                </a:cxn>
                <a:cxn ang="0">
                  <a:pos x="187" y="298"/>
                </a:cxn>
                <a:cxn ang="0">
                  <a:pos x="204" y="287"/>
                </a:cxn>
                <a:cxn ang="0">
                  <a:pos x="216" y="270"/>
                </a:cxn>
                <a:cxn ang="0">
                  <a:pos x="229" y="255"/>
                </a:cxn>
                <a:cxn ang="0">
                  <a:pos x="238" y="242"/>
                </a:cxn>
                <a:cxn ang="0">
                  <a:pos x="248" y="235"/>
                </a:cxn>
                <a:cxn ang="0">
                  <a:pos x="288" y="241"/>
                </a:cxn>
                <a:cxn ang="0">
                  <a:pos x="308" y="253"/>
                </a:cxn>
                <a:cxn ang="0">
                  <a:pos x="320" y="274"/>
                </a:cxn>
                <a:cxn ang="0">
                  <a:pos x="346" y="307"/>
                </a:cxn>
                <a:cxn ang="0">
                  <a:pos x="372" y="325"/>
                </a:cxn>
                <a:cxn ang="0">
                  <a:pos x="414" y="325"/>
                </a:cxn>
                <a:cxn ang="0">
                  <a:pos x="437" y="322"/>
                </a:cxn>
                <a:cxn ang="0">
                  <a:pos x="457" y="311"/>
                </a:cxn>
                <a:cxn ang="0">
                  <a:pos x="479" y="304"/>
                </a:cxn>
                <a:cxn ang="0">
                  <a:pos x="501" y="292"/>
                </a:cxn>
                <a:cxn ang="0">
                  <a:pos x="548" y="277"/>
                </a:cxn>
                <a:cxn ang="0">
                  <a:pos x="578" y="267"/>
                </a:cxn>
                <a:cxn ang="0">
                  <a:pos x="598" y="260"/>
                </a:cxn>
                <a:cxn ang="0">
                  <a:pos x="603" y="251"/>
                </a:cxn>
                <a:cxn ang="0">
                  <a:pos x="610" y="248"/>
                </a:cxn>
                <a:cxn ang="0">
                  <a:pos x="617" y="221"/>
                </a:cxn>
                <a:cxn ang="0">
                  <a:pos x="620" y="211"/>
                </a:cxn>
                <a:cxn ang="0">
                  <a:pos x="623" y="173"/>
                </a:cxn>
                <a:cxn ang="0">
                  <a:pos x="625" y="153"/>
                </a:cxn>
                <a:cxn ang="0">
                  <a:pos x="629" y="142"/>
                </a:cxn>
                <a:cxn ang="0">
                  <a:pos x="634" y="123"/>
                </a:cxn>
                <a:cxn ang="0">
                  <a:pos x="639" y="115"/>
                </a:cxn>
                <a:cxn ang="0">
                  <a:pos x="645" y="81"/>
                </a:cxn>
                <a:cxn ang="0">
                  <a:pos x="618" y="40"/>
                </a:cxn>
                <a:cxn ang="0">
                  <a:pos x="594" y="32"/>
                </a:cxn>
                <a:cxn ang="0">
                  <a:pos x="519" y="33"/>
                </a:cxn>
                <a:cxn ang="0">
                  <a:pos x="472" y="37"/>
                </a:cxn>
                <a:cxn ang="0">
                  <a:pos x="436" y="26"/>
                </a:cxn>
                <a:cxn ang="0">
                  <a:pos x="394" y="8"/>
                </a:cxn>
                <a:cxn ang="0">
                  <a:pos x="375" y="4"/>
                </a:cxn>
                <a:cxn ang="0">
                  <a:pos x="363" y="1"/>
                </a:cxn>
                <a:cxn ang="0">
                  <a:pos x="343" y="4"/>
                </a:cxn>
                <a:cxn ang="0">
                  <a:pos x="337" y="14"/>
                </a:cxn>
                <a:cxn ang="0">
                  <a:pos x="327" y="17"/>
                </a:cxn>
                <a:cxn ang="0">
                  <a:pos x="312" y="15"/>
                </a:cxn>
              </a:cxnLst>
              <a:rect l="0" t="0" r="r" b="b"/>
              <a:pathLst>
                <a:path w="645" h="330">
                  <a:moveTo>
                    <a:pt x="299" y="14"/>
                  </a:moveTo>
                  <a:lnTo>
                    <a:pt x="273" y="14"/>
                  </a:lnTo>
                  <a:lnTo>
                    <a:pt x="269" y="21"/>
                  </a:lnTo>
                  <a:lnTo>
                    <a:pt x="262" y="24"/>
                  </a:lnTo>
                  <a:lnTo>
                    <a:pt x="257" y="26"/>
                  </a:lnTo>
                  <a:lnTo>
                    <a:pt x="252" y="35"/>
                  </a:lnTo>
                  <a:lnTo>
                    <a:pt x="243" y="38"/>
                  </a:lnTo>
                  <a:lnTo>
                    <a:pt x="244" y="55"/>
                  </a:lnTo>
                  <a:lnTo>
                    <a:pt x="248" y="80"/>
                  </a:lnTo>
                  <a:lnTo>
                    <a:pt x="250" y="92"/>
                  </a:lnTo>
                  <a:lnTo>
                    <a:pt x="252" y="102"/>
                  </a:lnTo>
                  <a:lnTo>
                    <a:pt x="254" y="106"/>
                  </a:lnTo>
                  <a:lnTo>
                    <a:pt x="257" y="109"/>
                  </a:lnTo>
                  <a:lnTo>
                    <a:pt x="258" y="111"/>
                  </a:lnTo>
                  <a:lnTo>
                    <a:pt x="260" y="112"/>
                  </a:lnTo>
                  <a:lnTo>
                    <a:pt x="261" y="129"/>
                  </a:lnTo>
                  <a:lnTo>
                    <a:pt x="262" y="148"/>
                  </a:lnTo>
                  <a:lnTo>
                    <a:pt x="264" y="167"/>
                  </a:lnTo>
                  <a:lnTo>
                    <a:pt x="264" y="184"/>
                  </a:lnTo>
                  <a:lnTo>
                    <a:pt x="257" y="184"/>
                  </a:lnTo>
                  <a:lnTo>
                    <a:pt x="241" y="192"/>
                  </a:lnTo>
                  <a:lnTo>
                    <a:pt x="226" y="201"/>
                  </a:lnTo>
                  <a:lnTo>
                    <a:pt x="201" y="200"/>
                  </a:lnTo>
                  <a:lnTo>
                    <a:pt x="175" y="199"/>
                  </a:lnTo>
                  <a:lnTo>
                    <a:pt x="149" y="198"/>
                  </a:lnTo>
                  <a:lnTo>
                    <a:pt x="124" y="197"/>
                  </a:lnTo>
                  <a:lnTo>
                    <a:pt x="115" y="206"/>
                  </a:lnTo>
                  <a:lnTo>
                    <a:pt x="103" y="206"/>
                  </a:lnTo>
                  <a:lnTo>
                    <a:pt x="98" y="213"/>
                  </a:lnTo>
                  <a:lnTo>
                    <a:pt x="95" y="213"/>
                  </a:lnTo>
                  <a:lnTo>
                    <a:pt x="90" y="215"/>
                  </a:lnTo>
                  <a:lnTo>
                    <a:pt x="87" y="216"/>
                  </a:lnTo>
                  <a:lnTo>
                    <a:pt x="86" y="218"/>
                  </a:lnTo>
                  <a:lnTo>
                    <a:pt x="72" y="218"/>
                  </a:lnTo>
                  <a:lnTo>
                    <a:pt x="70" y="221"/>
                  </a:lnTo>
                  <a:lnTo>
                    <a:pt x="68" y="224"/>
                  </a:lnTo>
                  <a:lnTo>
                    <a:pt x="65" y="225"/>
                  </a:lnTo>
                  <a:lnTo>
                    <a:pt x="61" y="226"/>
                  </a:lnTo>
                  <a:lnTo>
                    <a:pt x="55" y="228"/>
                  </a:lnTo>
                  <a:lnTo>
                    <a:pt x="47" y="231"/>
                  </a:lnTo>
                  <a:lnTo>
                    <a:pt x="40" y="236"/>
                  </a:lnTo>
                  <a:lnTo>
                    <a:pt x="34" y="244"/>
                  </a:lnTo>
                  <a:lnTo>
                    <a:pt x="31" y="247"/>
                  </a:lnTo>
                  <a:lnTo>
                    <a:pt x="28" y="249"/>
                  </a:lnTo>
                  <a:lnTo>
                    <a:pt x="24" y="251"/>
                  </a:lnTo>
                  <a:lnTo>
                    <a:pt x="21" y="253"/>
                  </a:lnTo>
                  <a:lnTo>
                    <a:pt x="17" y="257"/>
                  </a:lnTo>
                  <a:lnTo>
                    <a:pt x="13" y="265"/>
                  </a:lnTo>
                  <a:lnTo>
                    <a:pt x="10" y="266"/>
                  </a:lnTo>
                  <a:lnTo>
                    <a:pt x="7" y="270"/>
                  </a:lnTo>
                  <a:lnTo>
                    <a:pt x="3" y="274"/>
                  </a:lnTo>
                  <a:lnTo>
                    <a:pt x="0" y="278"/>
                  </a:lnTo>
                  <a:lnTo>
                    <a:pt x="0" y="295"/>
                  </a:lnTo>
                  <a:lnTo>
                    <a:pt x="9" y="304"/>
                  </a:lnTo>
                  <a:lnTo>
                    <a:pt x="13" y="307"/>
                  </a:lnTo>
                  <a:lnTo>
                    <a:pt x="23" y="315"/>
                  </a:lnTo>
                  <a:lnTo>
                    <a:pt x="33" y="323"/>
                  </a:lnTo>
                  <a:lnTo>
                    <a:pt x="39" y="330"/>
                  </a:lnTo>
                  <a:lnTo>
                    <a:pt x="76" y="330"/>
                  </a:lnTo>
                  <a:lnTo>
                    <a:pt x="120" y="328"/>
                  </a:lnTo>
                  <a:lnTo>
                    <a:pt x="132" y="327"/>
                  </a:lnTo>
                  <a:lnTo>
                    <a:pt x="143" y="325"/>
                  </a:lnTo>
                  <a:lnTo>
                    <a:pt x="152" y="323"/>
                  </a:lnTo>
                  <a:lnTo>
                    <a:pt x="161" y="321"/>
                  </a:lnTo>
                  <a:lnTo>
                    <a:pt x="168" y="316"/>
                  </a:lnTo>
                  <a:lnTo>
                    <a:pt x="175" y="312"/>
                  </a:lnTo>
                  <a:lnTo>
                    <a:pt x="181" y="306"/>
                  </a:lnTo>
                  <a:lnTo>
                    <a:pt x="184" y="299"/>
                  </a:lnTo>
                  <a:lnTo>
                    <a:pt x="187" y="298"/>
                  </a:lnTo>
                  <a:lnTo>
                    <a:pt x="193" y="296"/>
                  </a:lnTo>
                  <a:lnTo>
                    <a:pt x="199" y="292"/>
                  </a:lnTo>
                  <a:lnTo>
                    <a:pt x="204" y="287"/>
                  </a:lnTo>
                  <a:lnTo>
                    <a:pt x="210" y="282"/>
                  </a:lnTo>
                  <a:lnTo>
                    <a:pt x="214" y="276"/>
                  </a:lnTo>
                  <a:lnTo>
                    <a:pt x="216" y="270"/>
                  </a:lnTo>
                  <a:lnTo>
                    <a:pt x="217" y="265"/>
                  </a:lnTo>
                  <a:lnTo>
                    <a:pt x="226" y="260"/>
                  </a:lnTo>
                  <a:lnTo>
                    <a:pt x="229" y="255"/>
                  </a:lnTo>
                  <a:lnTo>
                    <a:pt x="231" y="248"/>
                  </a:lnTo>
                  <a:lnTo>
                    <a:pt x="235" y="244"/>
                  </a:lnTo>
                  <a:lnTo>
                    <a:pt x="238" y="242"/>
                  </a:lnTo>
                  <a:lnTo>
                    <a:pt x="241" y="241"/>
                  </a:lnTo>
                  <a:lnTo>
                    <a:pt x="244" y="238"/>
                  </a:lnTo>
                  <a:lnTo>
                    <a:pt x="248" y="235"/>
                  </a:lnTo>
                  <a:lnTo>
                    <a:pt x="269" y="235"/>
                  </a:lnTo>
                  <a:lnTo>
                    <a:pt x="277" y="237"/>
                  </a:lnTo>
                  <a:lnTo>
                    <a:pt x="288" y="241"/>
                  </a:lnTo>
                  <a:lnTo>
                    <a:pt x="298" y="246"/>
                  </a:lnTo>
                  <a:lnTo>
                    <a:pt x="303" y="248"/>
                  </a:lnTo>
                  <a:lnTo>
                    <a:pt x="308" y="253"/>
                  </a:lnTo>
                  <a:lnTo>
                    <a:pt x="311" y="260"/>
                  </a:lnTo>
                  <a:lnTo>
                    <a:pt x="320" y="265"/>
                  </a:lnTo>
                  <a:lnTo>
                    <a:pt x="320" y="274"/>
                  </a:lnTo>
                  <a:lnTo>
                    <a:pt x="327" y="285"/>
                  </a:lnTo>
                  <a:lnTo>
                    <a:pt x="334" y="299"/>
                  </a:lnTo>
                  <a:lnTo>
                    <a:pt x="346" y="307"/>
                  </a:lnTo>
                  <a:lnTo>
                    <a:pt x="355" y="316"/>
                  </a:lnTo>
                  <a:lnTo>
                    <a:pt x="363" y="316"/>
                  </a:lnTo>
                  <a:lnTo>
                    <a:pt x="372" y="325"/>
                  </a:lnTo>
                  <a:lnTo>
                    <a:pt x="385" y="325"/>
                  </a:lnTo>
                  <a:lnTo>
                    <a:pt x="399" y="325"/>
                  </a:lnTo>
                  <a:lnTo>
                    <a:pt x="414" y="325"/>
                  </a:lnTo>
                  <a:lnTo>
                    <a:pt x="427" y="325"/>
                  </a:lnTo>
                  <a:lnTo>
                    <a:pt x="432" y="324"/>
                  </a:lnTo>
                  <a:lnTo>
                    <a:pt x="437" y="322"/>
                  </a:lnTo>
                  <a:lnTo>
                    <a:pt x="444" y="318"/>
                  </a:lnTo>
                  <a:lnTo>
                    <a:pt x="451" y="314"/>
                  </a:lnTo>
                  <a:lnTo>
                    <a:pt x="457" y="311"/>
                  </a:lnTo>
                  <a:lnTo>
                    <a:pt x="465" y="307"/>
                  </a:lnTo>
                  <a:lnTo>
                    <a:pt x="472" y="304"/>
                  </a:lnTo>
                  <a:lnTo>
                    <a:pt x="479" y="304"/>
                  </a:lnTo>
                  <a:lnTo>
                    <a:pt x="485" y="301"/>
                  </a:lnTo>
                  <a:lnTo>
                    <a:pt x="493" y="296"/>
                  </a:lnTo>
                  <a:lnTo>
                    <a:pt x="501" y="292"/>
                  </a:lnTo>
                  <a:lnTo>
                    <a:pt x="508" y="286"/>
                  </a:lnTo>
                  <a:lnTo>
                    <a:pt x="523" y="284"/>
                  </a:lnTo>
                  <a:lnTo>
                    <a:pt x="548" y="277"/>
                  </a:lnTo>
                  <a:lnTo>
                    <a:pt x="560" y="274"/>
                  </a:lnTo>
                  <a:lnTo>
                    <a:pt x="570" y="270"/>
                  </a:lnTo>
                  <a:lnTo>
                    <a:pt x="578" y="267"/>
                  </a:lnTo>
                  <a:lnTo>
                    <a:pt x="580" y="265"/>
                  </a:lnTo>
                  <a:lnTo>
                    <a:pt x="589" y="263"/>
                  </a:lnTo>
                  <a:lnTo>
                    <a:pt x="598" y="260"/>
                  </a:lnTo>
                  <a:lnTo>
                    <a:pt x="598" y="257"/>
                  </a:lnTo>
                  <a:lnTo>
                    <a:pt x="601" y="253"/>
                  </a:lnTo>
                  <a:lnTo>
                    <a:pt x="603" y="251"/>
                  </a:lnTo>
                  <a:lnTo>
                    <a:pt x="605" y="249"/>
                  </a:lnTo>
                  <a:lnTo>
                    <a:pt x="607" y="248"/>
                  </a:lnTo>
                  <a:lnTo>
                    <a:pt x="610" y="248"/>
                  </a:lnTo>
                  <a:lnTo>
                    <a:pt x="613" y="235"/>
                  </a:lnTo>
                  <a:lnTo>
                    <a:pt x="615" y="222"/>
                  </a:lnTo>
                  <a:lnTo>
                    <a:pt x="617" y="221"/>
                  </a:lnTo>
                  <a:lnTo>
                    <a:pt x="618" y="219"/>
                  </a:lnTo>
                  <a:lnTo>
                    <a:pt x="620" y="216"/>
                  </a:lnTo>
                  <a:lnTo>
                    <a:pt x="620" y="211"/>
                  </a:lnTo>
                  <a:lnTo>
                    <a:pt x="623" y="199"/>
                  </a:lnTo>
                  <a:lnTo>
                    <a:pt x="623" y="186"/>
                  </a:lnTo>
                  <a:lnTo>
                    <a:pt x="623" y="173"/>
                  </a:lnTo>
                  <a:lnTo>
                    <a:pt x="624" y="161"/>
                  </a:lnTo>
                  <a:lnTo>
                    <a:pt x="624" y="157"/>
                  </a:lnTo>
                  <a:lnTo>
                    <a:pt x="625" y="153"/>
                  </a:lnTo>
                  <a:lnTo>
                    <a:pt x="626" y="151"/>
                  </a:lnTo>
                  <a:lnTo>
                    <a:pt x="627" y="150"/>
                  </a:lnTo>
                  <a:lnTo>
                    <a:pt x="629" y="142"/>
                  </a:lnTo>
                  <a:lnTo>
                    <a:pt x="632" y="136"/>
                  </a:lnTo>
                  <a:lnTo>
                    <a:pt x="632" y="124"/>
                  </a:lnTo>
                  <a:lnTo>
                    <a:pt x="634" y="123"/>
                  </a:lnTo>
                  <a:lnTo>
                    <a:pt x="636" y="121"/>
                  </a:lnTo>
                  <a:lnTo>
                    <a:pt x="638" y="119"/>
                  </a:lnTo>
                  <a:lnTo>
                    <a:pt x="639" y="115"/>
                  </a:lnTo>
                  <a:lnTo>
                    <a:pt x="642" y="107"/>
                  </a:lnTo>
                  <a:lnTo>
                    <a:pt x="643" y="100"/>
                  </a:lnTo>
                  <a:lnTo>
                    <a:pt x="645" y="81"/>
                  </a:lnTo>
                  <a:lnTo>
                    <a:pt x="645" y="64"/>
                  </a:lnTo>
                  <a:lnTo>
                    <a:pt x="632" y="52"/>
                  </a:lnTo>
                  <a:lnTo>
                    <a:pt x="618" y="40"/>
                  </a:lnTo>
                  <a:lnTo>
                    <a:pt x="610" y="36"/>
                  </a:lnTo>
                  <a:lnTo>
                    <a:pt x="603" y="33"/>
                  </a:lnTo>
                  <a:lnTo>
                    <a:pt x="594" y="32"/>
                  </a:lnTo>
                  <a:lnTo>
                    <a:pt x="585" y="30"/>
                  </a:lnTo>
                  <a:lnTo>
                    <a:pt x="538" y="30"/>
                  </a:lnTo>
                  <a:lnTo>
                    <a:pt x="519" y="33"/>
                  </a:lnTo>
                  <a:lnTo>
                    <a:pt x="495" y="36"/>
                  </a:lnTo>
                  <a:lnTo>
                    <a:pt x="483" y="37"/>
                  </a:lnTo>
                  <a:lnTo>
                    <a:pt x="472" y="37"/>
                  </a:lnTo>
                  <a:lnTo>
                    <a:pt x="462" y="37"/>
                  </a:lnTo>
                  <a:lnTo>
                    <a:pt x="453" y="35"/>
                  </a:lnTo>
                  <a:lnTo>
                    <a:pt x="436" y="26"/>
                  </a:lnTo>
                  <a:lnTo>
                    <a:pt x="416" y="16"/>
                  </a:lnTo>
                  <a:lnTo>
                    <a:pt x="405" y="11"/>
                  </a:lnTo>
                  <a:lnTo>
                    <a:pt x="394" y="8"/>
                  </a:lnTo>
                  <a:lnTo>
                    <a:pt x="385" y="6"/>
                  </a:lnTo>
                  <a:lnTo>
                    <a:pt x="376" y="5"/>
                  </a:lnTo>
                  <a:lnTo>
                    <a:pt x="375" y="4"/>
                  </a:lnTo>
                  <a:lnTo>
                    <a:pt x="372" y="3"/>
                  </a:lnTo>
                  <a:lnTo>
                    <a:pt x="367" y="1"/>
                  </a:lnTo>
                  <a:lnTo>
                    <a:pt x="363" y="1"/>
                  </a:lnTo>
                  <a:lnTo>
                    <a:pt x="353" y="0"/>
                  </a:lnTo>
                  <a:lnTo>
                    <a:pt x="346" y="0"/>
                  </a:lnTo>
                  <a:lnTo>
                    <a:pt x="343" y="4"/>
                  </a:lnTo>
                  <a:lnTo>
                    <a:pt x="340" y="7"/>
                  </a:lnTo>
                  <a:lnTo>
                    <a:pt x="338" y="10"/>
                  </a:lnTo>
                  <a:lnTo>
                    <a:pt x="337" y="14"/>
                  </a:lnTo>
                  <a:lnTo>
                    <a:pt x="329" y="14"/>
                  </a:lnTo>
                  <a:lnTo>
                    <a:pt x="328" y="16"/>
                  </a:lnTo>
                  <a:lnTo>
                    <a:pt x="327" y="17"/>
                  </a:lnTo>
                  <a:lnTo>
                    <a:pt x="325" y="17"/>
                  </a:lnTo>
                  <a:lnTo>
                    <a:pt x="321" y="16"/>
                  </a:lnTo>
                  <a:lnTo>
                    <a:pt x="312" y="15"/>
                  </a:lnTo>
                  <a:lnTo>
                    <a:pt x="299" y="1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1" name="Freeform 88"/>
            <p:cNvSpPr>
              <a:spLocks noChangeAspect="1"/>
            </p:cNvSpPr>
            <p:nvPr/>
          </p:nvSpPr>
          <p:spPr bwMode="gray">
            <a:xfrm rot="355651">
              <a:off x="6780213" y="4322763"/>
              <a:ext cx="139650" cy="111784"/>
            </a:xfrm>
            <a:custGeom>
              <a:avLst/>
              <a:gdLst/>
              <a:ahLst/>
              <a:cxnLst>
                <a:cxn ang="0">
                  <a:pos x="346" y="317"/>
                </a:cxn>
                <a:cxn ang="0">
                  <a:pos x="313" y="345"/>
                </a:cxn>
                <a:cxn ang="0">
                  <a:pos x="250" y="370"/>
                </a:cxn>
                <a:cxn ang="0">
                  <a:pos x="172" y="378"/>
                </a:cxn>
                <a:cxn ang="0">
                  <a:pos x="59" y="383"/>
                </a:cxn>
                <a:cxn ang="0">
                  <a:pos x="26" y="423"/>
                </a:cxn>
                <a:cxn ang="0">
                  <a:pos x="14" y="438"/>
                </a:cxn>
                <a:cxn ang="0">
                  <a:pos x="1" y="526"/>
                </a:cxn>
                <a:cxn ang="0">
                  <a:pos x="3" y="648"/>
                </a:cxn>
                <a:cxn ang="0">
                  <a:pos x="12" y="682"/>
                </a:cxn>
                <a:cxn ang="0">
                  <a:pos x="17" y="690"/>
                </a:cxn>
                <a:cxn ang="0">
                  <a:pos x="25" y="692"/>
                </a:cxn>
                <a:cxn ang="0">
                  <a:pos x="28" y="696"/>
                </a:cxn>
                <a:cxn ang="0">
                  <a:pos x="50" y="688"/>
                </a:cxn>
                <a:cxn ang="0">
                  <a:pos x="103" y="649"/>
                </a:cxn>
                <a:cxn ang="0">
                  <a:pos x="126" y="620"/>
                </a:cxn>
                <a:cxn ang="0">
                  <a:pos x="164" y="591"/>
                </a:cxn>
                <a:cxn ang="0">
                  <a:pos x="209" y="569"/>
                </a:cxn>
                <a:cxn ang="0">
                  <a:pos x="252" y="557"/>
                </a:cxn>
                <a:cxn ang="0">
                  <a:pos x="303" y="551"/>
                </a:cxn>
                <a:cxn ang="0">
                  <a:pos x="363" y="528"/>
                </a:cxn>
                <a:cxn ang="0">
                  <a:pos x="420" y="493"/>
                </a:cxn>
                <a:cxn ang="0">
                  <a:pos x="460" y="454"/>
                </a:cxn>
                <a:cxn ang="0">
                  <a:pos x="472" y="422"/>
                </a:cxn>
                <a:cxn ang="0">
                  <a:pos x="473" y="328"/>
                </a:cxn>
                <a:cxn ang="0">
                  <a:pos x="477" y="283"/>
                </a:cxn>
                <a:cxn ang="0">
                  <a:pos x="481" y="272"/>
                </a:cxn>
                <a:cxn ang="0">
                  <a:pos x="487" y="265"/>
                </a:cxn>
                <a:cxn ang="0">
                  <a:pos x="507" y="253"/>
                </a:cxn>
                <a:cxn ang="0">
                  <a:pos x="518" y="247"/>
                </a:cxn>
                <a:cxn ang="0">
                  <a:pos x="534" y="242"/>
                </a:cxn>
                <a:cxn ang="0">
                  <a:pos x="586" y="241"/>
                </a:cxn>
                <a:cxn ang="0">
                  <a:pos x="624" y="291"/>
                </a:cxn>
                <a:cxn ang="0">
                  <a:pos x="678" y="341"/>
                </a:cxn>
                <a:cxn ang="0">
                  <a:pos x="710" y="356"/>
                </a:cxn>
                <a:cxn ang="0">
                  <a:pos x="732" y="351"/>
                </a:cxn>
                <a:cxn ang="0">
                  <a:pos x="749" y="326"/>
                </a:cxn>
                <a:cxn ang="0">
                  <a:pos x="754" y="277"/>
                </a:cxn>
                <a:cxn ang="0">
                  <a:pos x="732" y="233"/>
                </a:cxn>
                <a:cxn ang="0">
                  <a:pos x="693" y="203"/>
                </a:cxn>
                <a:cxn ang="0">
                  <a:pos x="645" y="188"/>
                </a:cxn>
                <a:cxn ang="0">
                  <a:pos x="616" y="164"/>
                </a:cxn>
                <a:cxn ang="0">
                  <a:pos x="606" y="127"/>
                </a:cxn>
                <a:cxn ang="0">
                  <a:pos x="584" y="66"/>
                </a:cxn>
                <a:cxn ang="0">
                  <a:pos x="540" y="17"/>
                </a:cxn>
                <a:cxn ang="0">
                  <a:pos x="507" y="1"/>
                </a:cxn>
                <a:cxn ang="0">
                  <a:pos x="479" y="1"/>
                </a:cxn>
                <a:cxn ang="0">
                  <a:pos x="451" y="17"/>
                </a:cxn>
                <a:cxn ang="0">
                  <a:pos x="420" y="58"/>
                </a:cxn>
                <a:cxn ang="0">
                  <a:pos x="408" y="114"/>
                </a:cxn>
                <a:cxn ang="0">
                  <a:pos x="393" y="196"/>
                </a:cxn>
                <a:cxn ang="0">
                  <a:pos x="383" y="222"/>
                </a:cxn>
                <a:cxn ang="0">
                  <a:pos x="379" y="233"/>
                </a:cxn>
                <a:cxn ang="0">
                  <a:pos x="374" y="245"/>
                </a:cxn>
                <a:cxn ang="0">
                  <a:pos x="379" y="279"/>
                </a:cxn>
              </a:cxnLst>
              <a:rect l="0" t="0" r="r" b="b"/>
              <a:pathLst>
                <a:path w="755" h="696">
                  <a:moveTo>
                    <a:pt x="370" y="288"/>
                  </a:moveTo>
                  <a:lnTo>
                    <a:pt x="362" y="299"/>
                  </a:lnTo>
                  <a:lnTo>
                    <a:pt x="354" y="308"/>
                  </a:lnTo>
                  <a:lnTo>
                    <a:pt x="346" y="317"/>
                  </a:lnTo>
                  <a:lnTo>
                    <a:pt x="338" y="325"/>
                  </a:lnTo>
                  <a:lnTo>
                    <a:pt x="329" y="332"/>
                  </a:lnTo>
                  <a:lnTo>
                    <a:pt x="322" y="339"/>
                  </a:lnTo>
                  <a:lnTo>
                    <a:pt x="313" y="345"/>
                  </a:lnTo>
                  <a:lnTo>
                    <a:pt x="304" y="350"/>
                  </a:lnTo>
                  <a:lnTo>
                    <a:pt x="287" y="359"/>
                  </a:lnTo>
                  <a:lnTo>
                    <a:pt x="268" y="366"/>
                  </a:lnTo>
                  <a:lnTo>
                    <a:pt x="250" y="370"/>
                  </a:lnTo>
                  <a:lnTo>
                    <a:pt x="231" y="375"/>
                  </a:lnTo>
                  <a:lnTo>
                    <a:pt x="212" y="376"/>
                  </a:lnTo>
                  <a:lnTo>
                    <a:pt x="192" y="377"/>
                  </a:lnTo>
                  <a:lnTo>
                    <a:pt x="172" y="378"/>
                  </a:lnTo>
                  <a:lnTo>
                    <a:pt x="152" y="377"/>
                  </a:lnTo>
                  <a:lnTo>
                    <a:pt x="110" y="376"/>
                  </a:lnTo>
                  <a:lnTo>
                    <a:pt x="66" y="375"/>
                  </a:lnTo>
                  <a:lnTo>
                    <a:pt x="59" y="383"/>
                  </a:lnTo>
                  <a:lnTo>
                    <a:pt x="46" y="398"/>
                  </a:lnTo>
                  <a:lnTo>
                    <a:pt x="38" y="407"/>
                  </a:lnTo>
                  <a:lnTo>
                    <a:pt x="31" y="415"/>
                  </a:lnTo>
                  <a:lnTo>
                    <a:pt x="26" y="423"/>
                  </a:lnTo>
                  <a:lnTo>
                    <a:pt x="25" y="428"/>
                  </a:lnTo>
                  <a:lnTo>
                    <a:pt x="20" y="430"/>
                  </a:lnTo>
                  <a:lnTo>
                    <a:pt x="17" y="433"/>
                  </a:lnTo>
                  <a:lnTo>
                    <a:pt x="14" y="438"/>
                  </a:lnTo>
                  <a:lnTo>
                    <a:pt x="11" y="445"/>
                  </a:lnTo>
                  <a:lnTo>
                    <a:pt x="7" y="463"/>
                  </a:lnTo>
                  <a:lnTo>
                    <a:pt x="3" y="483"/>
                  </a:lnTo>
                  <a:lnTo>
                    <a:pt x="1" y="526"/>
                  </a:lnTo>
                  <a:lnTo>
                    <a:pt x="1" y="555"/>
                  </a:lnTo>
                  <a:lnTo>
                    <a:pt x="0" y="581"/>
                  </a:lnTo>
                  <a:lnTo>
                    <a:pt x="1" y="626"/>
                  </a:lnTo>
                  <a:lnTo>
                    <a:pt x="3" y="648"/>
                  </a:lnTo>
                  <a:lnTo>
                    <a:pt x="6" y="667"/>
                  </a:lnTo>
                  <a:lnTo>
                    <a:pt x="8" y="674"/>
                  </a:lnTo>
                  <a:lnTo>
                    <a:pt x="10" y="680"/>
                  </a:lnTo>
                  <a:lnTo>
                    <a:pt x="12" y="682"/>
                  </a:lnTo>
                  <a:lnTo>
                    <a:pt x="14" y="684"/>
                  </a:lnTo>
                  <a:lnTo>
                    <a:pt x="16" y="685"/>
                  </a:lnTo>
                  <a:lnTo>
                    <a:pt x="17" y="685"/>
                  </a:lnTo>
                  <a:lnTo>
                    <a:pt x="17" y="690"/>
                  </a:lnTo>
                  <a:lnTo>
                    <a:pt x="22" y="690"/>
                  </a:lnTo>
                  <a:lnTo>
                    <a:pt x="22" y="691"/>
                  </a:lnTo>
                  <a:lnTo>
                    <a:pt x="24" y="692"/>
                  </a:lnTo>
                  <a:lnTo>
                    <a:pt x="25" y="692"/>
                  </a:lnTo>
                  <a:lnTo>
                    <a:pt x="27" y="692"/>
                  </a:lnTo>
                  <a:lnTo>
                    <a:pt x="27" y="694"/>
                  </a:lnTo>
                  <a:lnTo>
                    <a:pt x="28" y="695"/>
                  </a:lnTo>
                  <a:lnTo>
                    <a:pt x="28" y="696"/>
                  </a:lnTo>
                  <a:lnTo>
                    <a:pt x="30" y="696"/>
                  </a:lnTo>
                  <a:lnTo>
                    <a:pt x="34" y="696"/>
                  </a:lnTo>
                  <a:lnTo>
                    <a:pt x="38" y="695"/>
                  </a:lnTo>
                  <a:lnTo>
                    <a:pt x="50" y="688"/>
                  </a:lnTo>
                  <a:lnTo>
                    <a:pt x="65" y="680"/>
                  </a:lnTo>
                  <a:lnTo>
                    <a:pt x="79" y="669"/>
                  </a:lnTo>
                  <a:lnTo>
                    <a:pt x="93" y="658"/>
                  </a:lnTo>
                  <a:lnTo>
                    <a:pt x="103" y="649"/>
                  </a:lnTo>
                  <a:lnTo>
                    <a:pt x="108" y="643"/>
                  </a:lnTo>
                  <a:lnTo>
                    <a:pt x="113" y="635"/>
                  </a:lnTo>
                  <a:lnTo>
                    <a:pt x="120" y="628"/>
                  </a:lnTo>
                  <a:lnTo>
                    <a:pt x="126" y="620"/>
                  </a:lnTo>
                  <a:lnTo>
                    <a:pt x="135" y="613"/>
                  </a:lnTo>
                  <a:lnTo>
                    <a:pt x="144" y="606"/>
                  </a:lnTo>
                  <a:lnTo>
                    <a:pt x="154" y="598"/>
                  </a:lnTo>
                  <a:lnTo>
                    <a:pt x="164" y="591"/>
                  </a:lnTo>
                  <a:lnTo>
                    <a:pt x="175" y="585"/>
                  </a:lnTo>
                  <a:lnTo>
                    <a:pt x="185" y="579"/>
                  </a:lnTo>
                  <a:lnTo>
                    <a:pt x="198" y="574"/>
                  </a:lnTo>
                  <a:lnTo>
                    <a:pt x="209" y="569"/>
                  </a:lnTo>
                  <a:lnTo>
                    <a:pt x="220" y="565"/>
                  </a:lnTo>
                  <a:lnTo>
                    <a:pt x="231" y="561"/>
                  </a:lnTo>
                  <a:lnTo>
                    <a:pt x="242" y="559"/>
                  </a:lnTo>
                  <a:lnTo>
                    <a:pt x="252" y="557"/>
                  </a:lnTo>
                  <a:lnTo>
                    <a:pt x="262" y="557"/>
                  </a:lnTo>
                  <a:lnTo>
                    <a:pt x="275" y="556"/>
                  </a:lnTo>
                  <a:lnTo>
                    <a:pt x="288" y="553"/>
                  </a:lnTo>
                  <a:lnTo>
                    <a:pt x="303" y="551"/>
                  </a:lnTo>
                  <a:lnTo>
                    <a:pt x="317" y="547"/>
                  </a:lnTo>
                  <a:lnTo>
                    <a:pt x="332" y="541"/>
                  </a:lnTo>
                  <a:lnTo>
                    <a:pt x="347" y="534"/>
                  </a:lnTo>
                  <a:lnTo>
                    <a:pt x="363" y="528"/>
                  </a:lnTo>
                  <a:lnTo>
                    <a:pt x="377" y="520"/>
                  </a:lnTo>
                  <a:lnTo>
                    <a:pt x="392" y="511"/>
                  </a:lnTo>
                  <a:lnTo>
                    <a:pt x="406" y="502"/>
                  </a:lnTo>
                  <a:lnTo>
                    <a:pt x="420" y="493"/>
                  </a:lnTo>
                  <a:lnTo>
                    <a:pt x="432" y="484"/>
                  </a:lnTo>
                  <a:lnTo>
                    <a:pt x="442" y="474"/>
                  </a:lnTo>
                  <a:lnTo>
                    <a:pt x="452" y="464"/>
                  </a:lnTo>
                  <a:lnTo>
                    <a:pt x="460" y="454"/>
                  </a:lnTo>
                  <a:lnTo>
                    <a:pt x="466" y="444"/>
                  </a:lnTo>
                  <a:lnTo>
                    <a:pt x="468" y="438"/>
                  </a:lnTo>
                  <a:lnTo>
                    <a:pt x="470" y="431"/>
                  </a:lnTo>
                  <a:lnTo>
                    <a:pt x="472" y="422"/>
                  </a:lnTo>
                  <a:lnTo>
                    <a:pt x="473" y="413"/>
                  </a:lnTo>
                  <a:lnTo>
                    <a:pt x="475" y="392"/>
                  </a:lnTo>
                  <a:lnTo>
                    <a:pt x="475" y="370"/>
                  </a:lnTo>
                  <a:lnTo>
                    <a:pt x="473" y="328"/>
                  </a:lnTo>
                  <a:lnTo>
                    <a:pt x="472" y="293"/>
                  </a:lnTo>
                  <a:lnTo>
                    <a:pt x="475" y="292"/>
                  </a:lnTo>
                  <a:lnTo>
                    <a:pt x="477" y="291"/>
                  </a:lnTo>
                  <a:lnTo>
                    <a:pt x="477" y="283"/>
                  </a:lnTo>
                  <a:lnTo>
                    <a:pt x="479" y="282"/>
                  </a:lnTo>
                  <a:lnTo>
                    <a:pt x="480" y="279"/>
                  </a:lnTo>
                  <a:lnTo>
                    <a:pt x="481" y="274"/>
                  </a:lnTo>
                  <a:lnTo>
                    <a:pt x="481" y="272"/>
                  </a:lnTo>
                  <a:lnTo>
                    <a:pt x="485" y="271"/>
                  </a:lnTo>
                  <a:lnTo>
                    <a:pt x="486" y="269"/>
                  </a:lnTo>
                  <a:lnTo>
                    <a:pt x="486" y="267"/>
                  </a:lnTo>
                  <a:lnTo>
                    <a:pt x="487" y="265"/>
                  </a:lnTo>
                  <a:lnTo>
                    <a:pt x="492" y="264"/>
                  </a:lnTo>
                  <a:lnTo>
                    <a:pt x="498" y="262"/>
                  </a:lnTo>
                  <a:lnTo>
                    <a:pt x="502" y="258"/>
                  </a:lnTo>
                  <a:lnTo>
                    <a:pt x="507" y="253"/>
                  </a:lnTo>
                  <a:lnTo>
                    <a:pt x="513" y="253"/>
                  </a:lnTo>
                  <a:lnTo>
                    <a:pt x="515" y="250"/>
                  </a:lnTo>
                  <a:lnTo>
                    <a:pt x="517" y="247"/>
                  </a:lnTo>
                  <a:lnTo>
                    <a:pt x="518" y="247"/>
                  </a:lnTo>
                  <a:lnTo>
                    <a:pt x="520" y="247"/>
                  </a:lnTo>
                  <a:lnTo>
                    <a:pt x="521" y="245"/>
                  </a:lnTo>
                  <a:lnTo>
                    <a:pt x="521" y="244"/>
                  </a:lnTo>
                  <a:lnTo>
                    <a:pt x="534" y="242"/>
                  </a:lnTo>
                  <a:lnTo>
                    <a:pt x="550" y="239"/>
                  </a:lnTo>
                  <a:lnTo>
                    <a:pt x="566" y="234"/>
                  </a:lnTo>
                  <a:lnTo>
                    <a:pt x="582" y="232"/>
                  </a:lnTo>
                  <a:lnTo>
                    <a:pt x="586" y="241"/>
                  </a:lnTo>
                  <a:lnTo>
                    <a:pt x="594" y="251"/>
                  </a:lnTo>
                  <a:lnTo>
                    <a:pt x="602" y="263"/>
                  </a:lnTo>
                  <a:lnTo>
                    <a:pt x="613" y="278"/>
                  </a:lnTo>
                  <a:lnTo>
                    <a:pt x="624" y="291"/>
                  </a:lnTo>
                  <a:lnTo>
                    <a:pt x="636" y="306"/>
                  </a:lnTo>
                  <a:lnTo>
                    <a:pt x="650" y="319"/>
                  </a:lnTo>
                  <a:lnTo>
                    <a:pt x="663" y="331"/>
                  </a:lnTo>
                  <a:lnTo>
                    <a:pt x="678" y="341"/>
                  </a:lnTo>
                  <a:lnTo>
                    <a:pt x="691" y="350"/>
                  </a:lnTo>
                  <a:lnTo>
                    <a:pt x="698" y="353"/>
                  </a:lnTo>
                  <a:lnTo>
                    <a:pt x="705" y="355"/>
                  </a:lnTo>
                  <a:lnTo>
                    <a:pt x="710" y="356"/>
                  </a:lnTo>
                  <a:lnTo>
                    <a:pt x="717" y="357"/>
                  </a:lnTo>
                  <a:lnTo>
                    <a:pt x="722" y="356"/>
                  </a:lnTo>
                  <a:lnTo>
                    <a:pt x="728" y="355"/>
                  </a:lnTo>
                  <a:lnTo>
                    <a:pt x="732" y="351"/>
                  </a:lnTo>
                  <a:lnTo>
                    <a:pt x="738" y="347"/>
                  </a:lnTo>
                  <a:lnTo>
                    <a:pt x="742" y="341"/>
                  </a:lnTo>
                  <a:lnTo>
                    <a:pt x="746" y="335"/>
                  </a:lnTo>
                  <a:lnTo>
                    <a:pt x="749" y="326"/>
                  </a:lnTo>
                  <a:lnTo>
                    <a:pt x="753" y="317"/>
                  </a:lnTo>
                  <a:lnTo>
                    <a:pt x="755" y="302"/>
                  </a:lnTo>
                  <a:lnTo>
                    <a:pt x="755" y="289"/>
                  </a:lnTo>
                  <a:lnTo>
                    <a:pt x="754" y="277"/>
                  </a:lnTo>
                  <a:lnTo>
                    <a:pt x="750" y="264"/>
                  </a:lnTo>
                  <a:lnTo>
                    <a:pt x="746" y="253"/>
                  </a:lnTo>
                  <a:lnTo>
                    <a:pt x="740" y="243"/>
                  </a:lnTo>
                  <a:lnTo>
                    <a:pt x="732" y="233"/>
                  </a:lnTo>
                  <a:lnTo>
                    <a:pt x="725" y="224"/>
                  </a:lnTo>
                  <a:lnTo>
                    <a:pt x="715" y="216"/>
                  </a:lnTo>
                  <a:lnTo>
                    <a:pt x="705" y="209"/>
                  </a:lnTo>
                  <a:lnTo>
                    <a:pt x="693" y="203"/>
                  </a:lnTo>
                  <a:lnTo>
                    <a:pt x="682" y="197"/>
                  </a:lnTo>
                  <a:lnTo>
                    <a:pt x="670" y="193"/>
                  </a:lnTo>
                  <a:lnTo>
                    <a:pt x="658" y="191"/>
                  </a:lnTo>
                  <a:lnTo>
                    <a:pt x="645" y="188"/>
                  </a:lnTo>
                  <a:lnTo>
                    <a:pt x="633" y="188"/>
                  </a:lnTo>
                  <a:lnTo>
                    <a:pt x="630" y="182"/>
                  </a:lnTo>
                  <a:lnTo>
                    <a:pt x="621" y="171"/>
                  </a:lnTo>
                  <a:lnTo>
                    <a:pt x="616" y="164"/>
                  </a:lnTo>
                  <a:lnTo>
                    <a:pt x="612" y="157"/>
                  </a:lnTo>
                  <a:lnTo>
                    <a:pt x="609" y="149"/>
                  </a:lnTo>
                  <a:lnTo>
                    <a:pt x="607" y="142"/>
                  </a:lnTo>
                  <a:lnTo>
                    <a:pt x="606" y="127"/>
                  </a:lnTo>
                  <a:lnTo>
                    <a:pt x="604" y="111"/>
                  </a:lnTo>
                  <a:lnTo>
                    <a:pt x="598" y="97"/>
                  </a:lnTo>
                  <a:lnTo>
                    <a:pt x="592" y="81"/>
                  </a:lnTo>
                  <a:lnTo>
                    <a:pt x="584" y="66"/>
                  </a:lnTo>
                  <a:lnTo>
                    <a:pt x="575" y="52"/>
                  </a:lnTo>
                  <a:lnTo>
                    <a:pt x="565" y="39"/>
                  </a:lnTo>
                  <a:lnTo>
                    <a:pt x="553" y="27"/>
                  </a:lnTo>
                  <a:lnTo>
                    <a:pt x="540" y="17"/>
                  </a:lnTo>
                  <a:lnTo>
                    <a:pt x="528" y="9"/>
                  </a:lnTo>
                  <a:lnTo>
                    <a:pt x="521" y="5"/>
                  </a:lnTo>
                  <a:lnTo>
                    <a:pt x="515" y="3"/>
                  </a:lnTo>
                  <a:lnTo>
                    <a:pt x="507" y="1"/>
                  </a:lnTo>
                  <a:lnTo>
                    <a:pt x="500" y="0"/>
                  </a:lnTo>
                  <a:lnTo>
                    <a:pt x="494" y="0"/>
                  </a:lnTo>
                  <a:lnTo>
                    <a:pt x="486" y="0"/>
                  </a:lnTo>
                  <a:lnTo>
                    <a:pt x="479" y="1"/>
                  </a:lnTo>
                  <a:lnTo>
                    <a:pt x="472" y="3"/>
                  </a:lnTo>
                  <a:lnTo>
                    <a:pt x="465" y="7"/>
                  </a:lnTo>
                  <a:lnTo>
                    <a:pt x="458" y="11"/>
                  </a:lnTo>
                  <a:lnTo>
                    <a:pt x="451" y="17"/>
                  </a:lnTo>
                  <a:lnTo>
                    <a:pt x="444" y="22"/>
                  </a:lnTo>
                  <a:lnTo>
                    <a:pt x="434" y="33"/>
                  </a:lnTo>
                  <a:lnTo>
                    <a:pt x="427" y="44"/>
                  </a:lnTo>
                  <a:lnTo>
                    <a:pt x="420" y="58"/>
                  </a:lnTo>
                  <a:lnTo>
                    <a:pt x="415" y="71"/>
                  </a:lnTo>
                  <a:lnTo>
                    <a:pt x="411" y="85"/>
                  </a:lnTo>
                  <a:lnTo>
                    <a:pt x="409" y="99"/>
                  </a:lnTo>
                  <a:lnTo>
                    <a:pt x="408" y="114"/>
                  </a:lnTo>
                  <a:lnTo>
                    <a:pt x="406" y="129"/>
                  </a:lnTo>
                  <a:lnTo>
                    <a:pt x="404" y="149"/>
                  </a:lnTo>
                  <a:lnTo>
                    <a:pt x="398" y="181"/>
                  </a:lnTo>
                  <a:lnTo>
                    <a:pt x="393" y="196"/>
                  </a:lnTo>
                  <a:lnTo>
                    <a:pt x="390" y="210"/>
                  </a:lnTo>
                  <a:lnTo>
                    <a:pt x="388" y="215"/>
                  </a:lnTo>
                  <a:lnTo>
                    <a:pt x="385" y="220"/>
                  </a:lnTo>
                  <a:lnTo>
                    <a:pt x="383" y="222"/>
                  </a:lnTo>
                  <a:lnTo>
                    <a:pt x="382" y="223"/>
                  </a:lnTo>
                  <a:lnTo>
                    <a:pt x="382" y="228"/>
                  </a:lnTo>
                  <a:lnTo>
                    <a:pt x="380" y="229"/>
                  </a:lnTo>
                  <a:lnTo>
                    <a:pt x="379" y="233"/>
                  </a:lnTo>
                  <a:lnTo>
                    <a:pt x="377" y="236"/>
                  </a:lnTo>
                  <a:lnTo>
                    <a:pt x="376" y="240"/>
                  </a:lnTo>
                  <a:lnTo>
                    <a:pt x="375" y="241"/>
                  </a:lnTo>
                  <a:lnTo>
                    <a:pt x="374" y="245"/>
                  </a:lnTo>
                  <a:lnTo>
                    <a:pt x="374" y="251"/>
                  </a:lnTo>
                  <a:lnTo>
                    <a:pt x="375" y="258"/>
                  </a:lnTo>
                  <a:lnTo>
                    <a:pt x="377" y="271"/>
                  </a:lnTo>
                  <a:lnTo>
                    <a:pt x="379" y="279"/>
                  </a:lnTo>
                  <a:lnTo>
                    <a:pt x="370" y="28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2" name="Freeform 89"/>
            <p:cNvSpPr>
              <a:spLocks noChangeAspect="1"/>
            </p:cNvSpPr>
            <p:nvPr/>
          </p:nvSpPr>
          <p:spPr bwMode="gray">
            <a:xfrm rot="355651">
              <a:off x="6913638" y="4265613"/>
              <a:ext cx="51839" cy="63875"/>
            </a:xfrm>
            <a:custGeom>
              <a:avLst/>
              <a:gdLst/>
              <a:ahLst/>
              <a:cxnLst>
                <a:cxn ang="0">
                  <a:pos x="32" y="22"/>
                </a:cxn>
                <a:cxn ang="0">
                  <a:pos x="21" y="51"/>
                </a:cxn>
                <a:cxn ang="0">
                  <a:pos x="11" y="72"/>
                </a:cxn>
                <a:cxn ang="0">
                  <a:pos x="2" y="104"/>
                </a:cxn>
                <a:cxn ang="0">
                  <a:pos x="1" y="125"/>
                </a:cxn>
                <a:cxn ang="0">
                  <a:pos x="6" y="144"/>
                </a:cxn>
                <a:cxn ang="0">
                  <a:pos x="12" y="153"/>
                </a:cxn>
                <a:cxn ang="0">
                  <a:pos x="13" y="157"/>
                </a:cxn>
                <a:cxn ang="0">
                  <a:pos x="23" y="168"/>
                </a:cxn>
                <a:cxn ang="0">
                  <a:pos x="61" y="209"/>
                </a:cxn>
                <a:cxn ang="0">
                  <a:pos x="75" y="225"/>
                </a:cxn>
                <a:cxn ang="0">
                  <a:pos x="82" y="234"/>
                </a:cxn>
                <a:cxn ang="0">
                  <a:pos x="86" y="245"/>
                </a:cxn>
                <a:cxn ang="0">
                  <a:pos x="88" y="257"/>
                </a:cxn>
                <a:cxn ang="0">
                  <a:pos x="88" y="280"/>
                </a:cxn>
                <a:cxn ang="0">
                  <a:pos x="86" y="297"/>
                </a:cxn>
                <a:cxn ang="0">
                  <a:pos x="83" y="315"/>
                </a:cxn>
                <a:cxn ang="0">
                  <a:pos x="71" y="348"/>
                </a:cxn>
                <a:cxn ang="0">
                  <a:pos x="67" y="364"/>
                </a:cxn>
                <a:cxn ang="0">
                  <a:pos x="64" y="382"/>
                </a:cxn>
                <a:cxn ang="0">
                  <a:pos x="65" y="389"/>
                </a:cxn>
                <a:cxn ang="0">
                  <a:pos x="69" y="393"/>
                </a:cxn>
                <a:cxn ang="0">
                  <a:pos x="80" y="396"/>
                </a:cxn>
                <a:cxn ang="0">
                  <a:pos x="91" y="392"/>
                </a:cxn>
                <a:cxn ang="0">
                  <a:pos x="97" y="388"/>
                </a:cxn>
                <a:cxn ang="0">
                  <a:pos x="111" y="383"/>
                </a:cxn>
                <a:cxn ang="0">
                  <a:pos x="128" y="372"/>
                </a:cxn>
                <a:cxn ang="0">
                  <a:pos x="156" y="353"/>
                </a:cxn>
                <a:cxn ang="0">
                  <a:pos x="177" y="334"/>
                </a:cxn>
                <a:cxn ang="0">
                  <a:pos x="201" y="317"/>
                </a:cxn>
                <a:cxn ang="0">
                  <a:pos x="233" y="288"/>
                </a:cxn>
                <a:cxn ang="0">
                  <a:pos x="251" y="276"/>
                </a:cxn>
                <a:cxn ang="0">
                  <a:pos x="265" y="263"/>
                </a:cxn>
                <a:cxn ang="0">
                  <a:pos x="276" y="247"/>
                </a:cxn>
                <a:cxn ang="0">
                  <a:pos x="284" y="229"/>
                </a:cxn>
                <a:cxn ang="0">
                  <a:pos x="286" y="206"/>
                </a:cxn>
                <a:cxn ang="0">
                  <a:pos x="283" y="194"/>
                </a:cxn>
                <a:cxn ang="0">
                  <a:pos x="276" y="186"/>
                </a:cxn>
                <a:cxn ang="0">
                  <a:pos x="236" y="156"/>
                </a:cxn>
                <a:cxn ang="0">
                  <a:pos x="196" y="124"/>
                </a:cxn>
                <a:cxn ang="0">
                  <a:pos x="170" y="107"/>
                </a:cxn>
                <a:cxn ang="0">
                  <a:pos x="147" y="86"/>
                </a:cxn>
                <a:cxn ang="0">
                  <a:pos x="126" y="54"/>
                </a:cxn>
                <a:cxn ang="0">
                  <a:pos x="116" y="41"/>
                </a:cxn>
                <a:cxn ang="0">
                  <a:pos x="107" y="22"/>
                </a:cxn>
                <a:cxn ang="0">
                  <a:pos x="105" y="18"/>
                </a:cxn>
                <a:cxn ang="0">
                  <a:pos x="105" y="14"/>
                </a:cxn>
                <a:cxn ang="0">
                  <a:pos x="93" y="8"/>
                </a:cxn>
                <a:cxn ang="0">
                  <a:pos x="91" y="3"/>
                </a:cxn>
                <a:cxn ang="0">
                  <a:pos x="59" y="0"/>
                </a:cxn>
                <a:cxn ang="0">
                  <a:pos x="55" y="3"/>
                </a:cxn>
                <a:cxn ang="0">
                  <a:pos x="51" y="3"/>
                </a:cxn>
                <a:cxn ang="0">
                  <a:pos x="48" y="8"/>
                </a:cxn>
              </a:cxnLst>
              <a:rect l="0" t="0" r="r" b="b"/>
              <a:pathLst>
                <a:path w="286" h="396">
                  <a:moveTo>
                    <a:pt x="38" y="11"/>
                  </a:moveTo>
                  <a:lnTo>
                    <a:pt x="32" y="22"/>
                  </a:lnTo>
                  <a:lnTo>
                    <a:pt x="26" y="36"/>
                  </a:lnTo>
                  <a:lnTo>
                    <a:pt x="21" y="51"/>
                  </a:lnTo>
                  <a:lnTo>
                    <a:pt x="15" y="62"/>
                  </a:lnTo>
                  <a:lnTo>
                    <a:pt x="11" y="72"/>
                  </a:lnTo>
                  <a:lnTo>
                    <a:pt x="5" y="88"/>
                  </a:lnTo>
                  <a:lnTo>
                    <a:pt x="2" y="104"/>
                  </a:lnTo>
                  <a:lnTo>
                    <a:pt x="0" y="115"/>
                  </a:lnTo>
                  <a:lnTo>
                    <a:pt x="1" y="125"/>
                  </a:lnTo>
                  <a:lnTo>
                    <a:pt x="2" y="134"/>
                  </a:lnTo>
                  <a:lnTo>
                    <a:pt x="6" y="144"/>
                  </a:lnTo>
                  <a:lnTo>
                    <a:pt x="11" y="153"/>
                  </a:lnTo>
                  <a:lnTo>
                    <a:pt x="12" y="153"/>
                  </a:lnTo>
                  <a:lnTo>
                    <a:pt x="13" y="156"/>
                  </a:lnTo>
                  <a:lnTo>
                    <a:pt x="13" y="157"/>
                  </a:lnTo>
                  <a:lnTo>
                    <a:pt x="13" y="159"/>
                  </a:lnTo>
                  <a:lnTo>
                    <a:pt x="23" y="168"/>
                  </a:lnTo>
                  <a:lnTo>
                    <a:pt x="42" y="188"/>
                  </a:lnTo>
                  <a:lnTo>
                    <a:pt x="61" y="209"/>
                  </a:lnTo>
                  <a:lnTo>
                    <a:pt x="72" y="220"/>
                  </a:lnTo>
                  <a:lnTo>
                    <a:pt x="75" y="225"/>
                  </a:lnTo>
                  <a:lnTo>
                    <a:pt x="79" y="229"/>
                  </a:lnTo>
                  <a:lnTo>
                    <a:pt x="82" y="234"/>
                  </a:lnTo>
                  <a:lnTo>
                    <a:pt x="84" y="239"/>
                  </a:lnTo>
                  <a:lnTo>
                    <a:pt x="86" y="245"/>
                  </a:lnTo>
                  <a:lnTo>
                    <a:pt x="88" y="250"/>
                  </a:lnTo>
                  <a:lnTo>
                    <a:pt x="88" y="257"/>
                  </a:lnTo>
                  <a:lnTo>
                    <a:pt x="88" y="264"/>
                  </a:lnTo>
                  <a:lnTo>
                    <a:pt x="88" y="280"/>
                  </a:lnTo>
                  <a:lnTo>
                    <a:pt x="88" y="287"/>
                  </a:lnTo>
                  <a:lnTo>
                    <a:pt x="86" y="297"/>
                  </a:lnTo>
                  <a:lnTo>
                    <a:pt x="83" y="309"/>
                  </a:lnTo>
                  <a:lnTo>
                    <a:pt x="83" y="315"/>
                  </a:lnTo>
                  <a:lnTo>
                    <a:pt x="78" y="331"/>
                  </a:lnTo>
                  <a:lnTo>
                    <a:pt x="71" y="348"/>
                  </a:lnTo>
                  <a:lnTo>
                    <a:pt x="69" y="357"/>
                  </a:lnTo>
                  <a:lnTo>
                    <a:pt x="67" y="364"/>
                  </a:lnTo>
                  <a:lnTo>
                    <a:pt x="64" y="373"/>
                  </a:lnTo>
                  <a:lnTo>
                    <a:pt x="64" y="382"/>
                  </a:lnTo>
                  <a:lnTo>
                    <a:pt x="64" y="386"/>
                  </a:lnTo>
                  <a:lnTo>
                    <a:pt x="65" y="389"/>
                  </a:lnTo>
                  <a:lnTo>
                    <a:pt x="67" y="391"/>
                  </a:lnTo>
                  <a:lnTo>
                    <a:pt x="69" y="393"/>
                  </a:lnTo>
                  <a:lnTo>
                    <a:pt x="74" y="394"/>
                  </a:lnTo>
                  <a:lnTo>
                    <a:pt x="80" y="396"/>
                  </a:lnTo>
                  <a:lnTo>
                    <a:pt x="87" y="394"/>
                  </a:lnTo>
                  <a:lnTo>
                    <a:pt x="91" y="392"/>
                  </a:lnTo>
                  <a:lnTo>
                    <a:pt x="94" y="390"/>
                  </a:lnTo>
                  <a:lnTo>
                    <a:pt x="97" y="388"/>
                  </a:lnTo>
                  <a:lnTo>
                    <a:pt x="103" y="387"/>
                  </a:lnTo>
                  <a:lnTo>
                    <a:pt x="111" y="383"/>
                  </a:lnTo>
                  <a:lnTo>
                    <a:pt x="119" y="378"/>
                  </a:lnTo>
                  <a:lnTo>
                    <a:pt x="128" y="372"/>
                  </a:lnTo>
                  <a:lnTo>
                    <a:pt x="144" y="361"/>
                  </a:lnTo>
                  <a:lnTo>
                    <a:pt x="156" y="353"/>
                  </a:lnTo>
                  <a:lnTo>
                    <a:pt x="166" y="343"/>
                  </a:lnTo>
                  <a:lnTo>
                    <a:pt x="177" y="334"/>
                  </a:lnTo>
                  <a:lnTo>
                    <a:pt x="189" y="326"/>
                  </a:lnTo>
                  <a:lnTo>
                    <a:pt x="201" y="317"/>
                  </a:lnTo>
                  <a:lnTo>
                    <a:pt x="217" y="303"/>
                  </a:lnTo>
                  <a:lnTo>
                    <a:pt x="233" y="288"/>
                  </a:lnTo>
                  <a:lnTo>
                    <a:pt x="242" y="282"/>
                  </a:lnTo>
                  <a:lnTo>
                    <a:pt x="251" y="276"/>
                  </a:lnTo>
                  <a:lnTo>
                    <a:pt x="257" y="269"/>
                  </a:lnTo>
                  <a:lnTo>
                    <a:pt x="265" y="263"/>
                  </a:lnTo>
                  <a:lnTo>
                    <a:pt x="271" y="255"/>
                  </a:lnTo>
                  <a:lnTo>
                    <a:pt x="276" y="247"/>
                  </a:lnTo>
                  <a:lnTo>
                    <a:pt x="281" y="238"/>
                  </a:lnTo>
                  <a:lnTo>
                    <a:pt x="284" y="229"/>
                  </a:lnTo>
                  <a:lnTo>
                    <a:pt x="286" y="218"/>
                  </a:lnTo>
                  <a:lnTo>
                    <a:pt x="286" y="206"/>
                  </a:lnTo>
                  <a:lnTo>
                    <a:pt x="285" y="199"/>
                  </a:lnTo>
                  <a:lnTo>
                    <a:pt x="283" y="194"/>
                  </a:lnTo>
                  <a:lnTo>
                    <a:pt x="281" y="189"/>
                  </a:lnTo>
                  <a:lnTo>
                    <a:pt x="276" y="186"/>
                  </a:lnTo>
                  <a:lnTo>
                    <a:pt x="256" y="172"/>
                  </a:lnTo>
                  <a:lnTo>
                    <a:pt x="236" y="156"/>
                  </a:lnTo>
                  <a:lnTo>
                    <a:pt x="215" y="139"/>
                  </a:lnTo>
                  <a:lnTo>
                    <a:pt x="196" y="124"/>
                  </a:lnTo>
                  <a:lnTo>
                    <a:pt x="183" y="115"/>
                  </a:lnTo>
                  <a:lnTo>
                    <a:pt x="170" y="107"/>
                  </a:lnTo>
                  <a:lnTo>
                    <a:pt x="158" y="96"/>
                  </a:lnTo>
                  <a:lnTo>
                    <a:pt x="147" y="86"/>
                  </a:lnTo>
                  <a:lnTo>
                    <a:pt x="137" y="71"/>
                  </a:lnTo>
                  <a:lnTo>
                    <a:pt x="126" y="54"/>
                  </a:lnTo>
                  <a:lnTo>
                    <a:pt x="121" y="50"/>
                  </a:lnTo>
                  <a:lnTo>
                    <a:pt x="116" y="41"/>
                  </a:lnTo>
                  <a:lnTo>
                    <a:pt x="110" y="30"/>
                  </a:lnTo>
                  <a:lnTo>
                    <a:pt x="107" y="22"/>
                  </a:lnTo>
                  <a:lnTo>
                    <a:pt x="106" y="21"/>
                  </a:lnTo>
                  <a:lnTo>
                    <a:pt x="105" y="18"/>
                  </a:lnTo>
                  <a:lnTo>
                    <a:pt x="105" y="16"/>
                  </a:lnTo>
                  <a:lnTo>
                    <a:pt x="105" y="14"/>
                  </a:lnTo>
                  <a:lnTo>
                    <a:pt x="99" y="11"/>
                  </a:lnTo>
                  <a:lnTo>
                    <a:pt x="93" y="8"/>
                  </a:lnTo>
                  <a:lnTo>
                    <a:pt x="92" y="5"/>
                  </a:lnTo>
                  <a:lnTo>
                    <a:pt x="91" y="3"/>
                  </a:lnTo>
                  <a:lnTo>
                    <a:pt x="74" y="2"/>
                  </a:lnTo>
                  <a:lnTo>
                    <a:pt x="59" y="0"/>
                  </a:lnTo>
                  <a:lnTo>
                    <a:pt x="58" y="2"/>
                  </a:lnTo>
                  <a:lnTo>
                    <a:pt x="55" y="3"/>
                  </a:lnTo>
                  <a:lnTo>
                    <a:pt x="53" y="3"/>
                  </a:lnTo>
                  <a:lnTo>
                    <a:pt x="51" y="3"/>
                  </a:lnTo>
                  <a:lnTo>
                    <a:pt x="50" y="5"/>
                  </a:lnTo>
                  <a:lnTo>
                    <a:pt x="48" y="8"/>
                  </a:lnTo>
                  <a:lnTo>
                    <a:pt x="38" y="1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3" name="Freeform 90"/>
            <p:cNvSpPr>
              <a:spLocks noChangeAspect="1"/>
            </p:cNvSpPr>
            <p:nvPr/>
          </p:nvSpPr>
          <p:spPr bwMode="gray">
            <a:xfrm rot="355651">
              <a:off x="6822653" y="4184650"/>
              <a:ext cx="68769" cy="56424"/>
            </a:xfrm>
            <a:custGeom>
              <a:avLst/>
              <a:gdLst/>
              <a:ahLst/>
              <a:cxnLst>
                <a:cxn ang="0">
                  <a:pos x="188" y="65"/>
                </a:cxn>
                <a:cxn ang="0">
                  <a:pos x="179" y="83"/>
                </a:cxn>
                <a:cxn ang="0">
                  <a:pos x="167" y="102"/>
                </a:cxn>
                <a:cxn ang="0">
                  <a:pos x="153" y="113"/>
                </a:cxn>
                <a:cxn ang="0">
                  <a:pos x="134" y="118"/>
                </a:cxn>
                <a:cxn ang="0">
                  <a:pos x="93" y="128"/>
                </a:cxn>
                <a:cxn ang="0">
                  <a:pos x="65" y="133"/>
                </a:cxn>
                <a:cxn ang="0">
                  <a:pos x="43" y="147"/>
                </a:cxn>
                <a:cxn ang="0">
                  <a:pos x="20" y="166"/>
                </a:cxn>
                <a:cxn ang="0">
                  <a:pos x="8" y="180"/>
                </a:cxn>
                <a:cxn ang="0">
                  <a:pos x="2" y="190"/>
                </a:cxn>
                <a:cxn ang="0">
                  <a:pos x="0" y="204"/>
                </a:cxn>
                <a:cxn ang="0">
                  <a:pos x="2" y="222"/>
                </a:cxn>
                <a:cxn ang="0">
                  <a:pos x="7" y="234"/>
                </a:cxn>
                <a:cxn ang="0">
                  <a:pos x="11" y="241"/>
                </a:cxn>
                <a:cxn ang="0">
                  <a:pos x="19" y="246"/>
                </a:cxn>
                <a:cxn ang="0">
                  <a:pos x="28" y="248"/>
                </a:cxn>
                <a:cxn ang="0">
                  <a:pos x="45" y="250"/>
                </a:cxn>
                <a:cxn ang="0">
                  <a:pos x="72" y="253"/>
                </a:cxn>
                <a:cxn ang="0">
                  <a:pos x="115" y="262"/>
                </a:cxn>
                <a:cxn ang="0">
                  <a:pos x="150" y="271"/>
                </a:cxn>
                <a:cxn ang="0">
                  <a:pos x="170" y="280"/>
                </a:cxn>
                <a:cxn ang="0">
                  <a:pos x="197" y="296"/>
                </a:cxn>
                <a:cxn ang="0">
                  <a:pos x="231" y="323"/>
                </a:cxn>
                <a:cxn ang="0">
                  <a:pos x="258" y="341"/>
                </a:cxn>
                <a:cxn ang="0">
                  <a:pos x="277" y="351"/>
                </a:cxn>
                <a:cxn ang="0">
                  <a:pos x="296" y="357"/>
                </a:cxn>
                <a:cxn ang="0">
                  <a:pos x="313" y="360"/>
                </a:cxn>
                <a:cxn ang="0">
                  <a:pos x="326" y="360"/>
                </a:cxn>
                <a:cxn ang="0">
                  <a:pos x="337" y="357"/>
                </a:cxn>
                <a:cxn ang="0">
                  <a:pos x="347" y="351"/>
                </a:cxn>
                <a:cxn ang="0">
                  <a:pos x="355" y="344"/>
                </a:cxn>
                <a:cxn ang="0">
                  <a:pos x="364" y="330"/>
                </a:cxn>
                <a:cxn ang="0">
                  <a:pos x="371" y="305"/>
                </a:cxn>
                <a:cxn ang="0">
                  <a:pos x="373" y="277"/>
                </a:cxn>
                <a:cxn ang="0">
                  <a:pos x="373" y="235"/>
                </a:cxn>
                <a:cxn ang="0">
                  <a:pos x="374" y="179"/>
                </a:cxn>
                <a:cxn ang="0">
                  <a:pos x="381" y="118"/>
                </a:cxn>
                <a:cxn ang="0">
                  <a:pos x="386" y="80"/>
                </a:cxn>
                <a:cxn ang="0">
                  <a:pos x="383" y="53"/>
                </a:cxn>
                <a:cxn ang="0">
                  <a:pos x="375" y="26"/>
                </a:cxn>
                <a:cxn ang="0">
                  <a:pos x="365" y="11"/>
                </a:cxn>
                <a:cxn ang="0">
                  <a:pos x="356" y="5"/>
                </a:cxn>
                <a:cxn ang="0">
                  <a:pos x="350" y="3"/>
                </a:cxn>
                <a:cxn ang="0">
                  <a:pos x="344" y="1"/>
                </a:cxn>
                <a:cxn ang="0">
                  <a:pos x="332" y="0"/>
                </a:cxn>
                <a:cxn ang="0">
                  <a:pos x="308" y="1"/>
                </a:cxn>
                <a:cxn ang="0">
                  <a:pos x="287" y="10"/>
                </a:cxn>
                <a:cxn ang="0">
                  <a:pos x="264" y="25"/>
                </a:cxn>
                <a:cxn ang="0">
                  <a:pos x="253" y="36"/>
                </a:cxn>
                <a:cxn ang="0">
                  <a:pos x="244" y="43"/>
                </a:cxn>
                <a:cxn ang="0">
                  <a:pos x="227" y="46"/>
                </a:cxn>
                <a:cxn ang="0">
                  <a:pos x="205" y="53"/>
                </a:cxn>
              </a:cxnLst>
              <a:rect l="0" t="0" r="r" b="b"/>
              <a:pathLst>
                <a:path w="386" h="360">
                  <a:moveTo>
                    <a:pt x="192" y="58"/>
                  </a:moveTo>
                  <a:lnTo>
                    <a:pt x="188" y="65"/>
                  </a:lnTo>
                  <a:lnTo>
                    <a:pt x="183" y="74"/>
                  </a:lnTo>
                  <a:lnTo>
                    <a:pt x="179" y="83"/>
                  </a:lnTo>
                  <a:lnTo>
                    <a:pt x="176" y="91"/>
                  </a:lnTo>
                  <a:lnTo>
                    <a:pt x="167" y="102"/>
                  </a:lnTo>
                  <a:lnTo>
                    <a:pt x="157" y="112"/>
                  </a:lnTo>
                  <a:lnTo>
                    <a:pt x="153" y="113"/>
                  </a:lnTo>
                  <a:lnTo>
                    <a:pt x="151" y="117"/>
                  </a:lnTo>
                  <a:lnTo>
                    <a:pt x="134" y="118"/>
                  </a:lnTo>
                  <a:lnTo>
                    <a:pt x="114" y="123"/>
                  </a:lnTo>
                  <a:lnTo>
                    <a:pt x="93" y="128"/>
                  </a:lnTo>
                  <a:lnTo>
                    <a:pt x="75" y="131"/>
                  </a:lnTo>
                  <a:lnTo>
                    <a:pt x="65" y="133"/>
                  </a:lnTo>
                  <a:lnTo>
                    <a:pt x="55" y="139"/>
                  </a:lnTo>
                  <a:lnTo>
                    <a:pt x="43" y="147"/>
                  </a:lnTo>
                  <a:lnTo>
                    <a:pt x="31" y="156"/>
                  </a:lnTo>
                  <a:lnTo>
                    <a:pt x="20" y="166"/>
                  </a:lnTo>
                  <a:lnTo>
                    <a:pt x="11" y="176"/>
                  </a:lnTo>
                  <a:lnTo>
                    <a:pt x="8" y="180"/>
                  </a:lnTo>
                  <a:lnTo>
                    <a:pt x="5" y="186"/>
                  </a:lnTo>
                  <a:lnTo>
                    <a:pt x="2" y="190"/>
                  </a:lnTo>
                  <a:lnTo>
                    <a:pt x="1" y="194"/>
                  </a:lnTo>
                  <a:lnTo>
                    <a:pt x="0" y="204"/>
                  </a:lnTo>
                  <a:lnTo>
                    <a:pt x="0" y="213"/>
                  </a:lnTo>
                  <a:lnTo>
                    <a:pt x="2" y="222"/>
                  </a:lnTo>
                  <a:lnTo>
                    <a:pt x="5" y="231"/>
                  </a:lnTo>
                  <a:lnTo>
                    <a:pt x="7" y="234"/>
                  </a:lnTo>
                  <a:lnTo>
                    <a:pt x="9" y="237"/>
                  </a:lnTo>
                  <a:lnTo>
                    <a:pt x="11" y="241"/>
                  </a:lnTo>
                  <a:lnTo>
                    <a:pt x="15" y="244"/>
                  </a:lnTo>
                  <a:lnTo>
                    <a:pt x="19" y="246"/>
                  </a:lnTo>
                  <a:lnTo>
                    <a:pt x="23" y="247"/>
                  </a:lnTo>
                  <a:lnTo>
                    <a:pt x="28" y="248"/>
                  </a:lnTo>
                  <a:lnTo>
                    <a:pt x="33" y="248"/>
                  </a:lnTo>
                  <a:lnTo>
                    <a:pt x="45" y="250"/>
                  </a:lnTo>
                  <a:lnTo>
                    <a:pt x="58" y="251"/>
                  </a:lnTo>
                  <a:lnTo>
                    <a:pt x="72" y="253"/>
                  </a:lnTo>
                  <a:lnTo>
                    <a:pt x="86" y="256"/>
                  </a:lnTo>
                  <a:lnTo>
                    <a:pt x="115" y="262"/>
                  </a:lnTo>
                  <a:lnTo>
                    <a:pt x="140" y="267"/>
                  </a:lnTo>
                  <a:lnTo>
                    <a:pt x="150" y="271"/>
                  </a:lnTo>
                  <a:lnTo>
                    <a:pt x="160" y="274"/>
                  </a:lnTo>
                  <a:lnTo>
                    <a:pt x="170" y="280"/>
                  </a:lnTo>
                  <a:lnTo>
                    <a:pt x="179" y="284"/>
                  </a:lnTo>
                  <a:lnTo>
                    <a:pt x="197" y="296"/>
                  </a:lnTo>
                  <a:lnTo>
                    <a:pt x="215" y="310"/>
                  </a:lnTo>
                  <a:lnTo>
                    <a:pt x="231" y="323"/>
                  </a:lnTo>
                  <a:lnTo>
                    <a:pt x="249" y="335"/>
                  </a:lnTo>
                  <a:lnTo>
                    <a:pt x="258" y="341"/>
                  </a:lnTo>
                  <a:lnTo>
                    <a:pt x="268" y="347"/>
                  </a:lnTo>
                  <a:lnTo>
                    <a:pt x="277" y="351"/>
                  </a:lnTo>
                  <a:lnTo>
                    <a:pt x="287" y="354"/>
                  </a:lnTo>
                  <a:lnTo>
                    <a:pt x="296" y="357"/>
                  </a:lnTo>
                  <a:lnTo>
                    <a:pt x="305" y="359"/>
                  </a:lnTo>
                  <a:lnTo>
                    <a:pt x="313" y="360"/>
                  </a:lnTo>
                  <a:lnTo>
                    <a:pt x="320" y="360"/>
                  </a:lnTo>
                  <a:lnTo>
                    <a:pt x="326" y="360"/>
                  </a:lnTo>
                  <a:lnTo>
                    <a:pt x="332" y="359"/>
                  </a:lnTo>
                  <a:lnTo>
                    <a:pt x="337" y="357"/>
                  </a:lnTo>
                  <a:lnTo>
                    <a:pt x="343" y="354"/>
                  </a:lnTo>
                  <a:lnTo>
                    <a:pt x="347" y="351"/>
                  </a:lnTo>
                  <a:lnTo>
                    <a:pt x="352" y="348"/>
                  </a:lnTo>
                  <a:lnTo>
                    <a:pt x="355" y="344"/>
                  </a:lnTo>
                  <a:lnTo>
                    <a:pt x="359" y="340"/>
                  </a:lnTo>
                  <a:lnTo>
                    <a:pt x="364" y="330"/>
                  </a:lnTo>
                  <a:lnTo>
                    <a:pt x="368" y="318"/>
                  </a:lnTo>
                  <a:lnTo>
                    <a:pt x="371" y="305"/>
                  </a:lnTo>
                  <a:lnTo>
                    <a:pt x="372" y="292"/>
                  </a:lnTo>
                  <a:lnTo>
                    <a:pt x="373" y="277"/>
                  </a:lnTo>
                  <a:lnTo>
                    <a:pt x="374" y="263"/>
                  </a:lnTo>
                  <a:lnTo>
                    <a:pt x="373" y="235"/>
                  </a:lnTo>
                  <a:lnTo>
                    <a:pt x="373" y="209"/>
                  </a:lnTo>
                  <a:lnTo>
                    <a:pt x="374" y="179"/>
                  </a:lnTo>
                  <a:lnTo>
                    <a:pt x="376" y="148"/>
                  </a:lnTo>
                  <a:lnTo>
                    <a:pt x="381" y="118"/>
                  </a:lnTo>
                  <a:lnTo>
                    <a:pt x="385" y="89"/>
                  </a:lnTo>
                  <a:lnTo>
                    <a:pt x="386" y="80"/>
                  </a:lnTo>
                  <a:lnTo>
                    <a:pt x="385" y="67"/>
                  </a:lnTo>
                  <a:lnTo>
                    <a:pt x="383" y="53"/>
                  </a:lnTo>
                  <a:lnTo>
                    <a:pt x="380" y="39"/>
                  </a:lnTo>
                  <a:lnTo>
                    <a:pt x="375" y="26"/>
                  </a:lnTo>
                  <a:lnTo>
                    <a:pt x="369" y="15"/>
                  </a:lnTo>
                  <a:lnTo>
                    <a:pt x="365" y="11"/>
                  </a:lnTo>
                  <a:lnTo>
                    <a:pt x="361" y="7"/>
                  </a:lnTo>
                  <a:lnTo>
                    <a:pt x="356" y="5"/>
                  </a:lnTo>
                  <a:lnTo>
                    <a:pt x="352" y="5"/>
                  </a:lnTo>
                  <a:lnTo>
                    <a:pt x="350" y="3"/>
                  </a:lnTo>
                  <a:lnTo>
                    <a:pt x="345" y="3"/>
                  </a:lnTo>
                  <a:lnTo>
                    <a:pt x="344" y="1"/>
                  </a:lnTo>
                  <a:lnTo>
                    <a:pt x="340" y="0"/>
                  </a:lnTo>
                  <a:lnTo>
                    <a:pt x="332" y="0"/>
                  </a:lnTo>
                  <a:lnTo>
                    <a:pt x="324" y="0"/>
                  </a:lnTo>
                  <a:lnTo>
                    <a:pt x="308" y="1"/>
                  </a:lnTo>
                  <a:lnTo>
                    <a:pt x="299" y="3"/>
                  </a:lnTo>
                  <a:lnTo>
                    <a:pt x="287" y="10"/>
                  </a:lnTo>
                  <a:lnTo>
                    <a:pt x="272" y="20"/>
                  </a:lnTo>
                  <a:lnTo>
                    <a:pt x="264" y="25"/>
                  </a:lnTo>
                  <a:lnTo>
                    <a:pt x="257" y="31"/>
                  </a:lnTo>
                  <a:lnTo>
                    <a:pt x="253" y="36"/>
                  </a:lnTo>
                  <a:lnTo>
                    <a:pt x="249" y="41"/>
                  </a:lnTo>
                  <a:lnTo>
                    <a:pt x="244" y="43"/>
                  </a:lnTo>
                  <a:lnTo>
                    <a:pt x="237" y="45"/>
                  </a:lnTo>
                  <a:lnTo>
                    <a:pt x="227" y="46"/>
                  </a:lnTo>
                  <a:lnTo>
                    <a:pt x="216" y="46"/>
                  </a:lnTo>
                  <a:lnTo>
                    <a:pt x="205" y="53"/>
                  </a:lnTo>
                  <a:lnTo>
                    <a:pt x="192" y="5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4" name="Freeform 91"/>
            <p:cNvSpPr>
              <a:spLocks noChangeAspect="1"/>
            </p:cNvSpPr>
            <p:nvPr/>
          </p:nvSpPr>
          <p:spPr bwMode="gray">
            <a:xfrm rot="355651">
              <a:off x="7013085" y="4095750"/>
              <a:ext cx="49725" cy="41520"/>
            </a:xfrm>
            <a:custGeom>
              <a:avLst/>
              <a:gdLst/>
              <a:ahLst/>
              <a:cxnLst>
                <a:cxn ang="0">
                  <a:pos x="236" y="18"/>
                </a:cxn>
                <a:cxn ang="0">
                  <a:pos x="222" y="24"/>
                </a:cxn>
                <a:cxn ang="0">
                  <a:pos x="205" y="27"/>
                </a:cxn>
                <a:cxn ang="0">
                  <a:pos x="186" y="27"/>
                </a:cxn>
                <a:cxn ang="0">
                  <a:pos x="138" y="20"/>
                </a:cxn>
                <a:cxn ang="0">
                  <a:pos x="90" y="12"/>
                </a:cxn>
                <a:cxn ang="0">
                  <a:pos x="71" y="12"/>
                </a:cxn>
                <a:cxn ang="0">
                  <a:pos x="61" y="17"/>
                </a:cxn>
                <a:cxn ang="0">
                  <a:pos x="44" y="26"/>
                </a:cxn>
                <a:cxn ang="0">
                  <a:pos x="29" y="37"/>
                </a:cxn>
                <a:cxn ang="0">
                  <a:pos x="15" y="52"/>
                </a:cxn>
                <a:cxn ang="0">
                  <a:pos x="6" y="66"/>
                </a:cxn>
                <a:cxn ang="0">
                  <a:pos x="1" y="76"/>
                </a:cxn>
                <a:cxn ang="0">
                  <a:pos x="1" y="87"/>
                </a:cxn>
                <a:cxn ang="0">
                  <a:pos x="8" y="99"/>
                </a:cxn>
                <a:cxn ang="0">
                  <a:pos x="29" y="116"/>
                </a:cxn>
                <a:cxn ang="0">
                  <a:pos x="44" y="132"/>
                </a:cxn>
                <a:cxn ang="0">
                  <a:pos x="51" y="144"/>
                </a:cxn>
                <a:cxn ang="0">
                  <a:pos x="60" y="151"/>
                </a:cxn>
                <a:cxn ang="0">
                  <a:pos x="71" y="162"/>
                </a:cxn>
                <a:cxn ang="0">
                  <a:pos x="80" y="174"/>
                </a:cxn>
                <a:cxn ang="0">
                  <a:pos x="100" y="201"/>
                </a:cxn>
                <a:cxn ang="0">
                  <a:pos x="111" y="212"/>
                </a:cxn>
                <a:cxn ang="0">
                  <a:pos x="125" y="222"/>
                </a:cxn>
                <a:cxn ang="0">
                  <a:pos x="156" y="242"/>
                </a:cxn>
                <a:cxn ang="0">
                  <a:pos x="171" y="251"/>
                </a:cxn>
                <a:cxn ang="0">
                  <a:pos x="188" y="257"/>
                </a:cxn>
                <a:cxn ang="0">
                  <a:pos x="200" y="261"/>
                </a:cxn>
                <a:cxn ang="0">
                  <a:pos x="233" y="259"/>
                </a:cxn>
                <a:cxn ang="0">
                  <a:pos x="243" y="253"/>
                </a:cxn>
                <a:cxn ang="0">
                  <a:pos x="253" y="244"/>
                </a:cxn>
                <a:cxn ang="0">
                  <a:pos x="267" y="231"/>
                </a:cxn>
                <a:cxn ang="0">
                  <a:pos x="271" y="213"/>
                </a:cxn>
                <a:cxn ang="0">
                  <a:pos x="269" y="183"/>
                </a:cxn>
                <a:cxn ang="0">
                  <a:pos x="267" y="162"/>
                </a:cxn>
                <a:cxn ang="0">
                  <a:pos x="262" y="144"/>
                </a:cxn>
                <a:cxn ang="0">
                  <a:pos x="259" y="125"/>
                </a:cxn>
                <a:cxn ang="0">
                  <a:pos x="259" y="99"/>
                </a:cxn>
                <a:cxn ang="0">
                  <a:pos x="264" y="79"/>
                </a:cxn>
                <a:cxn ang="0">
                  <a:pos x="272" y="60"/>
                </a:cxn>
                <a:cxn ang="0">
                  <a:pos x="276" y="49"/>
                </a:cxn>
                <a:cxn ang="0">
                  <a:pos x="280" y="37"/>
                </a:cxn>
                <a:cxn ang="0">
                  <a:pos x="283" y="9"/>
                </a:cxn>
                <a:cxn ang="0">
                  <a:pos x="276" y="7"/>
                </a:cxn>
                <a:cxn ang="0">
                  <a:pos x="273" y="4"/>
                </a:cxn>
                <a:cxn ang="0">
                  <a:pos x="266" y="2"/>
                </a:cxn>
                <a:cxn ang="0">
                  <a:pos x="253" y="0"/>
                </a:cxn>
                <a:cxn ang="0">
                  <a:pos x="248" y="9"/>
                </a:cxn>
              </a:cxnLst>
              <a:rect l="0" t="0" r="r" b="b"/>
              <a:pathLst>
                <a:path w="283" h="261">
                  <a:moveTo>
                    <a:pt x="242" y="13"/>
                  </a:moveTo>
                  <a:lnTo>
                    <a:pt x="236" y="18"/>
                  </a:lnTo>
                  <a:lnTo>
                    <a:pt x="229" y="22"/>
                  </a:lnTo>
                  <a:lnTo>
                    <a:pt x="222" y="24"/>
                  </a:lnTo>
                  <a:lnTo>
                    <a:pt x="214" y="27"/>
                  </a:lnTo>
                  <a:lnTo>
                    <a:pt x="205" y="27"/>
                  </a:lnTo>
                  <a:lnTo>
                    <a:pt x="196" y="28"/>
                  </a:lnTo>
                  <a:lnTo>
                    <a:pt x="186" y="27"/>
                  </a:lnTo>
                  <a:lnTo>
                    <a:pt x="176" y="27"/>
                  </a:lnTo>
                  <a:lnTo>
                    <a:pt x="138" y="20"/>
                  </a:lnTo>
                  <a:lnTo>
                    <a:pt x="106" y="13"/>
                  </a:lnTo>
                  <a:lnTo>
                    <a:pt x="90" y="12"/>
                  </a:lnTo>
                  <a:lnTo>
                    <a:pt x="75" y="11"/>
                  </a:lnTo>
                  <a:lnTo>
                    <a:pt x="71" y="12"/>
                  </a:lnTo>
                  <a:lnTo>
                    <a:pt x="65" y="13"/>
                  </a:lnTo>
                  <a:lnTo>
                    <a:pt x="61" y="17"/>
                  </a:lnTo>
                  <a:lnTo>
                    <a:pt x="55" y="19"/>
                  </a:lnTo>
                  <a:lnTo>
                    <a:pt x="44" y="26"/>
                  </a:lnTo>
                  <a:lnTo>
                    <a:pt x="36" y="31"/>
                  </a:lnTo>
                  <a:lnTo>
                    <a:pt x="29" y="37"/>
                  </a:lnTo>
                  <a:lnTo>
                    <a:pt x="22" y="45"/>
                  </a:lnTo>
                  <a:lnTo>
                    <a:pt x="15" y="52"/>
                  </a:lnTo>
                  <a:lnTo>
                    <a:pt x="11" y="61"/>
                  </a:lnTo>
                  <a:lnTo>
                    <a:pt x="6" y="66"/>
                  </a:lnTo>
                  <a:lnTo>
                    <a:pt x="3" y="71"/>
                  </a:lnTo>
                  <a:lnTo>
                    <a:pt x="1" y="76"/>
                  </a:lnTo>
                  <a:lnTo>
                    <a:pt x="0" y="80"/>
                  </a:lnTo>
                  <a:lnTo>
                    <a:pt x="1" y="87"/>
                  </a:lnTo>
                  <a:lnTo>
                    <a:pt x="4" y="94"/>
                  </a:lnTo>
                  <a:lnTo>
                    <a:pt x="8" y="99"/>
                  </a:lnTo>
                  <a:lnTo>
                    <a:pt x="15" y="105"/>
                  </a:lnTo>
                  <a:lnTo>
                    <a:pt x="29" y="116"/>
                  </a:lnTo>
                  <a:lnTo>
                    <a:pt x="41" y="126"/>
                  </a:lnTo>
                  <a:lnTo>
                    <a:pt x="44" y="132"/>
                  </a:lnTo>
                  <a:lnTo>
                    <a:pt x="48" y="138"/>
                  </a:lnTo>
                  <a:lnTo>
                    <a:pt x="51" y="144"/>
                  </a:lnTo>
                  <a:lnTo>
                    <a:pt x="55" y="148"/>
                  </a:lnTo>
                  <a:lnTo>
                    <a:pt x="60" y="151"/>
                  </a:lnTo>
                  <a:lnTo>
                    <a:pt x="65" y="155"/>
                  </a:lnTo>
                  <a:lnTo>
                    <a:pt x="71" y="162"/>
                  </a:lnTo>
                  <a:lnTo>
                    <a:pt x="75" y="168"/>
                  </a:lnTo>
                  <a:lnTo>
                    <a:pt x="80" y="174"/>
                  </a:lnTo>
                  <a:lnTo>
                    <a:pt x="90" y="187"/>
                  </a:lnTo>
                  <a:lnTo>
                    <a:pt x="100" y="201"/>
                  </a:lnTo>
                  <a:lnTo>
                    <a:pt x="106" y="206"/>
                  </a:lnTo>
                  <a:lnTo>
                    <a:pt x="111" y="212"/>
                  </a:lnTo>
                  <a:lnTo>
                    <a:pt x="118" y="218"/>
                  </a:lnTo>
                  <a:lnTo>
                    <a:pt x="125" y="222"/>
                  </a:lnTo>
                  <a:lnTo>
                    <a:pt x="140" y="231"/>
                  </a:lnTo>
                  <a:lnTo>
                    <a:pt x="156" y="242"/>
                  </a:lnTo>
                  <a:lnTo>
                    <a:pt x="164" y="247"/>
                  </a:lnTo>
                  <a:lnTo>
                    <a:pt x="171" y="251"/>
                  </a:lnTo>
                  <a:lnTo>
                    <a:pt x="179" y="254"/>
                  </a:lnTo>
                  <a:lnTo>
                    <a:pt x="188" y="257"/>
                  </a:lnTo>
                  <a:lnTo>
                    <a:pt x="195" y="259"/>
                  </a:lnTo>
                  <a:lnTo>
                    <a:pt x="200" y="261"/>
                  </a:lnTo>
                  <a:lnTo>
                    <a:pt x="218" y="260"/>
                  </a:lnTo>
                  <a:lnTo>
                    <a:pt x="233" y="259"/>
                  </a:lnTo>
                  <a:lnTo>
                    <a:pt x="240" y="257"/>
                  </a:lnTo>
                  <a:lnTo>
                    <a:pt x="243" y="253"/>
                  </a:lnTo>
                  <a:lnTo>
                    <a:pt x="246" y="248"/>
                  </a:lnTo>
                  <a:lnTo>
                    <a:pt x="253" y="244"/>
                  </a:lnTo>
                  <a:lnTo>
                    <a:pt x="261" y="238"/>
                  </a:lnTo>
                  <a:lnTo>
                    <a:pt x="267" y="231"/>
                  </a:lnTo>
                  <a:lnTo>
                    <a:pt x="270" y="226"/>
                  </a:lnTo>
                  <a:lnTo>
                    <a:pt x="271" y="213"/>
                  </a:lnTo>
                  <a:lnTo>
                    <a:pt x="270" y="199"/>
                  </a:lnTo>
                  <a:lnTo>
                    <a:pt x="269" y="183"/>
                  </a:lnTo>
                  <a:lnTo>
                    <a:pt x="269" y="170"/>
                  </a:lnTo>
                  <a:lnTo>
                    <a:pt x="267" y="162"/>
                  </a:lnTo>
                  <a:lnTo>
                    <a:pt x="264" y="153"/>
                  </a:lnTo>
                  <a:lnTo>
                    <a:pt x="262" y="144"/>
                  </a:lnTo>
                  <a:lnTo>
                    <a:pt x="260" y="135"/>
                  </a:lnTo>
                  <a:lnTo>
                    <a:pt x="259" y="125"/>
                  </a:lnTo>
                  <a:lnTo>
                    <a:pt x="257" y="113"/>
                  </a:lnTo>
                  <a:lnTo>
                    <a:pt x="259" y="99"/>
                  </a:lnTo>
                  <a:lnTo>
                    <a:pt x="260" y="89"/>
                  </a:lnTo>
                  <a:lnTo>
                    <a:pt x="264" y="79"/>
                  </a:lnTo>
                  <a:lnTo>
                    <a:pt x="270" y="67"/>
                  </a:lnTo>
                  <a:lnTo>
                    <a:pt x="272" y="60"/>
                  </a:lnTo>
                  <a:lnTo>
                    <a:pt x="274" y="55"/>
                  </a:lnTo>
                  <a:lnTo>
                    <a:pt x="276" y="49"/>
                  </a:lnTo>
                  <a:lnTo>
                    <a:pt x="276" y="43"/>
                  </a:lnTo>
                  <a:lnTo>
                    <a:pt x="280" y="37"/>
                  </a:lnTo>
                  <a:lnTo>
                    <a:pt x="283" y="29"/>
                  </a:lnTo>
                  <a:lnTo>
                    <a:pt x="283" y="9"/>
                  </a:lnTo>
                  <a:lnTo>
                    <a:pt x="281" y="7"/>
                  </a:lnTo>
                  <a:lnTo>
                    <a:pt x="276" y="7"/>
                  </a:lnTo>
                  <a:lnTo>
                    <a:pt x="276" y="6"/>
                  </a:lnTo>
                  <a:lnTo>
                    <a:pt x="273" y="4"/>
                  </a:lnTo>
                  <a:lnTo>
                    <a:pt x="271" y="3"/>
                  </a:lnTo>
                  <a:lnTo>
                    <a:pt x="266" y="2"/>
                  </a:lnTo>
                  <a:lnTo>
                    <a:pt x="259" y="1"/>
                  </a:lnTo>
                  <a:lnTo>
                    <a:pt x="253" y="0"/>
                  </a:lnTo>
                  <a:lnTo>
                    <a:pt x="248" y="4"/>
                  </a:lnTo>
                  <a:lnTo>
                    <a:pt x="248" y="9"/>
                  </a:lnTo>
                  <a:lnTo>
                    <a:pt x="242" y="1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5" name="Freeform 92"/>
            <p:cNvSpPr>
              <a:spLocks noChangeAspect="1"/>
            </p:cNvSpPr>
            <p:nvPr/>
          </p:nvSpPr>
          <p:spPr bwMode="gray">
            <a:xfrm rot="355651">
              <a:off x="7161200" y="4111625"/>
              <a:ext cx="60305" cy="40455"/>
            </a:xfrm>
            <a:custGeom>
              <a:avLst/>
              <a:gdLst/>
              <a:ahLst/>
              <a:cxnLst>
                <a:cxn ang="0">
                  <a:pos x="143" y="7"/>
                </a:cxn>
                <a:cxn ang="0">
                  <a:pos x="110" y="21"/>
                </a:cxn>
                <a:cxn ang="0">
                  <a:pos x="89" y="32"/>
                </a:cxn>
                <a:cxn ang="0">
                  <a:pos x="70" y="44"/>
                </a:cxn>
                <a:cxn ang="0">
                  <a:pos x="52" y="60"/>
                </a:cxn>
                <a:cxn ang="0">
                  <a:pos x="39" y="77"/>
                </a:cxn>
                <a:cxn ang="0">
                  <a:pos x="28" y="98"/>
                </a:cxn>
                <a:cxn ang="0">
                  <a:pos x="21" y="118"/>
                </a:cxn>
                <a:cxn ang="0">
                  <a:pos x="10" y="138"/>
                </a:cxn>
                <a:cxn ang="0">
                  <a:pos x="4" y="158"/>
                </a:cxn>
                <a:cxn ang="0">
                  <a:pos x="1" y="184"/>
                </a:cxn>
                <a:cxn ang="0">
                  <a:pos x="1" y="202"/>
                </a:cxn>
                <a:cxn ang="0">
                  <a:pos x="8" y="215"/>
                </a:cxn>
                <a:cxn ang="0">
                  <a:pos x="22" y="227"/>
                </a:cxn>
                <a:cxn ang="0">
                  <a:pos x="31" y="235"/>
                </a:cxn>
                <a:cxn ang="0">
                  <a:pos x="41" y="240"/>
                </a:cxn>
                <a:cxn ang="0">
                  <a:pos x="62" y="252"/>
                </a:cxn>
                <a:cxn ang="0">
                  <a:pos x="115" y="255"/>
                </a:cxn>
                <a:cxn ang="0">
                  <a:pos x="127" y="242"/>
                </a:cxn>
                <a:cxn ang="0">
                  <a:pos x="138" y="226"/>
                </a:cxn>
                <a:cxn ang="0">
                  <a:pos x="154" y="213"/>
                </a:cxn>
                <a:cxn ang="0">
                  <a:pos x="171" y="202"/>
                </a:cxn>
                <a:cxn ang="0">
                  <a:pos x="188" y="196"/>
                </a:cxn>
                <a:cxn ang="0">
                  <a:pos x="210" y="192"/>
                </a:cxn>
                <a:cxn ang="0">
                  <a:pos x="232" y="189"/>
                </a:cxn>
                <a:cxn ang="0">
                  <a:pos x="244" y="187"/>
                </a:cxn>
                <a:cxn ang="0">
                  <a:pos x="261" y="181"/>
                </a:cxn>
                <a:cxn ang="0">
                  <a:pos x="288" y="168"/>
                </a:cxn>
                <a:cxn ang="0">
                  <a:pos x="308" y="150"/>
                </a:cxn>
                <a:cxn ang="0">
                  <a:pos x="316" y="146"/>
                </a:cxn>
                <a:cxn ang="0">
                  <a:pos x="322" y="140"/>
                </a:cxn>
                <a:cxn ang="0">
                  <a:pos x="327" y="133"/>
                </a:cxn>
                <a:cxn ang="0">
                  <a:pos x="338" y="113"/>
                </a:cxn>
                <a:cxn ang="0">
                  <a:pos x="345" y="90"/>
                </a:cxn>
                <a:cxn ang="0">
                  <a:pos x="344" y="76"/>
                </a:cxn>
                <a:cxn ang="0">
                  <a:pos x="340" y="65"/>
                </a:cxn>
                <a:cxn ang="0">
                  <a:pos x="329" y="52"/>
                </a:cxn>
                <a:cxn ang="0">
                  <a:pos x="322" y="46"/>
                </a:cxn>
                <a:cxn ang="0">
                  <a:pos x="316" y="44"/>
                </a:cxn>
                <a:cxn ang="0">
                  <a:pos x="311" y="40"/>
                </a:cxn>
                <a:cxn ang="0">
                  <a:pos x="299" y="35"/>
                </a:cxn>
                <a:cxn ang="0">
                  <a:pos x="278" y="31"/>
                </a:cxn>
                <a:cxn ang="0">
                  <a:pos x="249" y="26"/>
                </a:cxn>
                <a:cxn ang="0">
                  <a:pos x="221" y="22"/>
                </a:cxn>
                <a:cxn ang="0">
                  <a:pos x="210" y="15"/>
                </a:cxn>
                <a:cxn ang="0">
                  <a:pos x="195" y="12"/>
                </a:cxn>
                <a:cxn ang="0">
                  <a:pos x="191" y="9"/>
                </a:cxn>
                <a:cxn ang="0">
                  <a:pos x="182" y="5"/>
                </a:cxn>
                <a:cxn ang="0">
                  <a:pos x="176" y="3"/>
                </a:cxn>
                <a:cxn ang="0">
                  <a:pos x="169" y="0"/>
                </a:cxn>
              </a:cxnLst>
              <a:rect l="0" t="0" r="r" b="b"/>
              <a:pathLst>
                <a:path w="345" h="255">
                  <a:moveTo>
                    <a:pt x="165" y="0"/>
                  </a:moveTo>
                  <a:lnTo>
                    <a:pt x="143" y="7"/>
                  </a:lnTo>
                  <a:lnTo>
                    <a:pt x="121" y="15"/>
                  </a:lnTo>
                  <a:lnTo>
                    <a:pt x="110" y="21"/>
                  </a:lnTo>
                  <a:lnTo>
                    <a:pt x="100" y="25"/>
                  </a:lnTo>
                  <a:lnTo>
                    <a:pt x="89" y="32"/>
                  </a:lnTo>
                  <a:lnTo>
                    <a:pt x="79" y="37"/>
                  </a:lnTo>
                  <a:lnTo>
                    <a:pt x="70" y="44"/>
                  </a:lnTo>
                  <a:lnTo>
                    <a:pt x="61" y="52"/>
                  </a:lnTo>
                  <a:lnTo>
                    <a:pt x="52" y="60"/>
                  </a:lnTo>
                  <a:lnTo>
                    <a:pt x="45" y="69"/>
                  </a:lnTo>
                  <a:lnTo>
                    <a:pt x="39" y="77"/>
                  </a:lnTo>
                  <a:lnTo>
                    <a:pt x="32" y="88"/>
                  </a:lnTo>
                  <a:lnTo>
                    <a:pt x="28" y="98"/>
                  </a:lnTo>
                  <a:lnTo>
                    <a:pt x="23" y="109"/>
                  </a:lnTo>
                  <a:lnTo>
                    <a:pt x="21" y="118"/>
                  </a:lnTo>
                  <a:lnTo>
                    <a:pt x="15" y="128"/>
                  </a:lnTo>
                  <a:lnTo>
                    <a:pt x="10" y="138"/>
                  </a:lnTo>
                  <a:lnTo>
                    <a:pt x="6" y="146"/>
                  </a:lnTo>
                  <a:lnTo>
                    <a:pt x="4" y="158"/>
                  </a:lnTo>
                  <a:lnTo>
                    <a:pt x="2" y="170"/>
                  </a:lnTo>
                  <a:lnTo>
                    <a:pt x="1" y="184"/>
                  </a:lnTo>
                  <a:lnTo>
                    <a:pt x="0" y="196"/>
                  </a:lnTo>
                  <a:lnTo>
                    <a:pt x="1" y="202"/>
                  </a:lnTo>
                  <a:lnTo>
                    <a:pt x="4" y="209"/>
                  </a:lnTo>
                  <a:lnTo>
                    <a:pt x="8" y="215"/>
                  </a:lnTo>
                  <a:lnTo>
                    <a:pt x="13" y="220"/>
                  </a:lnTo>
                  <a:lnTo>
                    <a:pt x="22" y="227"/>
                  </a:lnTo>
                  <a:lnTo>
                    <a:pt x="30" y="233"/>
                  </a:lnTo>
                  <a:lnTo>
                    <a:pt x="31" y="235"/>
                  </a:lnTo>
                  <a:lnTo>
                    <a:pt x="32" y="237"/>
                  </a:lnTo>
                  <a:lnTo>
                    <a:pt x="41" y="240"/>
                  </a:lnTo>
                  <a:lnTo>
                    <a:pt x="48" y="246"/>
                  </a:lnTo>
                  <a:lnTo>
                    <a:pt x="62" y="252"/>
                  </a:lnTo>
                  <a:lnTo>
                    <a:pt x="78" y="255"/>
                  </a:lnTo>
                  <a:lnTo>
                    <a:pt x="115" y="255"/>
                  </a:lnTo>
                  <a:lnTo>
                    <a:pt x="120" y="250"/>
                  </a:lnTo>
                  <a:lnTo>
                    <a:pt x="127" y="242"/>
                  </a:lnTo>
                  <a:lnTo>
                    <a:pt x="135" y="232"/>
                  </a:lnTo>
                  <a:lnTo>
                    <a:pt x="138" y="226"/>
                  </a:lnTo>
                  <a:lnTo>
                    <a:pt x="145" y="220"/>
                  </a:lnTo>
                  <a:lnTo>
                    <a:pt x="154" y="213"/>
                  </a:lnTo>
                  <a:lnTo>
                    <a:pt x="164" y="206"/>
                  </a:lnTo>
                  <a:lnTo>
                    <a:pt x="171" y="202"/>
                  </a:lnTo>
                  <a:lnTo>
                    <a:pt x="179" y="199"/>
                  </a:lnTo>
                  <a:lnTo>
                    <a:pt x="188" y="196"/>
                  </a:lnTo>
                  <a:lnTo>
                    <a:pt x="198" y="194"/>
                  </a:lnTo>
                  <a:lnTo>
                    <a:pt x="210" y="192"/>
                  </a:lnTo>
                  <a:lnTo>
                    <a:pt x="221" y="190"/>
                  </a:lnTo>
                  <a:lnTo>
                    <a:pt x="232" y="189"/>
                  </a:lnTo>
                  <a:lnTo>
                    <a:pt x="237" y="189"/>
                  </a:lnTo>
                  <a:lnTo>
                    <a:pt x="244" y="187"/>
                  </a:lnTo>
                  <a:lnTo>
                    <a:pt x="252" y="185"/>
                  </a:lnTo>
                  <a:lnTo>
                    <a:pt x="261" y="181"/>
                  </a:lnTo>
                  <a:lnTo>
                    <a:pt x="277" y="173"/>
                  </a:lnTo>
                  <a:lnTo>
                    <a:pt x="288" y="168"/>
                  </a:lnTo>
                  <a:lnTo>
                    <a:pt x="299" y="159"/>
                  </a:lnTo>
                  <a:lnTo>
                    <a:pt x="308" y="150"/>
                  </a:lnTo>
                  <a:lnTo>
                    <a:pt x="311" y="149"/>
                  </a:lnTo>
                  <a:lnTo>
                    <a:pt x="316" y="146"/>
                  </a:lnTo>
                  <a:lnTo>
                    <a:pt x="320" y="142"/>
                  </a:lnTo>
                  <a:lnTo>
                    <a:pt x="322" y="140"/>
                  </a:lnTo>
                  <a:lnTo>
                    <a:pt x="325" y="136"/>
                  </a:lnTo>
                  <a:lnTo>
                    <a:pt x="327" y="133"/>
                  </a:lnTo>
                  <a:lnTo>
                    <a:pt x="332" y="125"/>
                  </a:lnTo>
                  <a:lnTo>
                    <a:pt x="338" y="113"/>
                  </a:lnTo>
                  <a:lnTo>
                    <a:pt x="342" y="101"/>
                  </a:lnTo>
                  <a:lnTo>
                    <a:pt x="345" y="90"/>
                  </a:lnTo>
                  <a:lnTo>
                    <a:pt x="345" y="83"/>
                  </a:lnTo>
                  <a:lnTo>
                    <a:pt x="344" y="76"/>
                  </a:lnTo>
                  <a:lnTo>
                    <a:pt x="342" y="71"/>
                  </a:lnTo>
                  <a:lnTo>
                    <a:pt x="340" y="65"/>
                  </a:lnTo>
                  <a:lnTo>
                    <a:pt x="336" y="60"/>
                  </a:lnTo>
                  <a:lnTo>
                    <a:pt x="329" y="52"/>
                  </a:lnTo>
                  <a:lnTo>
                    <a:pt x="326" y="50"/>
                  </a:lnTo>
                  <a:lnTo>
                    <a:pt x="322" y="46"/>
                  </a:lnTo>
                  <a:lnTo>
                    <a:pt x="319" y="45"/>
                  </a:lnTo>
                  <a:lnTo>
                    <a:pt x="316" y="44"/>
                  </a:lnTo>
                  <a:lnTo>
                    <a:pt x="315" y="42"/>
                  </a:lnTo>
                  <a:lnTo>
                    <a:pt x="311" y="40"/>
                  </a:lnTo>
                  <a:lnTo>
                    <a:pt x="306" y="37"/>
                  </a:lnTo>
                  <a:lnTo>
                    <a:pt x="299" y="35"/>
                  </a:lnTo>
                  <a:lnTo>
                    <a:pt x="285" y="32"/>
                  </a:lnTo>
                  <a:lnTo>
                    <a:pt x="278" y="31"/>
                  </a:lnTo>
                  <a:lnTo>
                    <a:pt x="263" y="30"/>
                  </a:lnTo>
                  <a:lnTo>
                    <a:pt x="249" y="26"/>
                  </a:lnTo>
                  <a:lnTo>
                    <a:pt x="234" y="24"/>
                  </a:lnTo>
                  <a:lnTo>
                    <a:pt x="221" y="22"/>
                  </a:lnTo>
                  <a:lnTo>
                    <a:pt x="216" y="18"/>
                  </a:lnTo>
                  <a:lnTo>
                    <a:pt x="210" y="15"/>
                  </a:lnTo>
                  <a:lnTo>
                    <a:pt x="202" y="13"/>
                  </a:lnTo>
                  <a:lnTo>
                    <a:pt x="195" y="12"/>
                  </a:lnTo>
                  <a:lnTo>
                    <a:pt x="194" y="9"/>
                  </a:lnTo>
                  <a:lnTo>
                    <a:pt x="191" y="9"/>
                  </a:lnTo>
                  <a:lnTo>
                    <a:pt x="186" y="5"/>
                  </a:lnTo>
                  <a:lnTo>
                    <a:pt x="182" y="5"/>
                  </a:lnTo>
                  <a:lnTo>
                    <a:pt x="177" y="5"/>
                  </a:lnTo>
                  <a:lnTo>
                    <a:pt x="176" y="3"/>
                  </a:lnTo>
                  <a:lnTo>
                    <a:pt x="174" y="2"/>
                  </a:lnTo>
                  <a:lnTo>
                    <a:pt x="169" y="0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6" name="Freeform 93"/>
            <p:cNvSpPr>
              <a:spLocks noChangeAspect="1"/>
            </p:cNvSpPr>
            <p:nvPr/>
          </p:nvSpPr>
          <p:spPr bwMode="gray">
            <a:xfrm rot="355651">
              <a:off x="7051172" y="4032250"/>
              <a:ext cx="119550" cy="69199"/>
            </a:xfrm>
            <a:custGeom>
              <a:avLst/>
              <a:gdLst/>
              <a:ahLst/>
              <a:cxnLst>
                <a:cxn ang="0">
                  <a:pos x="61" y="15"/>
                </a:cxn>
                <a:cxn ang="0">
                  <a:pos x="26" y="20"/>
                </a:cxn>
                <a:cxn ang="0">
                  <a:pos x="0" y="24"/>
                </a:cxn>
                <a:cxn ang="0">
                  <a:pos x="5" y="50"/>
                </a:cxn>
                <a:cxn ang="0">
                  <a:pos x="16" y="74"/>
                </a:cxn>
                <a:cxn ang="0">
                  <a:pos x="33" y="98"/>
                </a:cxn>
                <a:cxn ang="0">
                  <a:pos x="53" y="119"/>
                </a:cxn>
                <a:cxn ang="0">
                  <a:pos x="100" y="157"/>
                </a:cxn>
                <a:cxn ang="0">
                  <a:pos x="143" y="191"/>
                </a:cxn>
                <a:cxn ang="0">
                  <a:pos x="209" y="249"/>
                </a:cxn>
                <a:cxn ang="0">
                  <a:pos x="277" y="313"/>
                </a:cxn>
                <a:cxn ang="0">
                  <a:pos x="348" y="374"/>
                </a:cxn>
                <a:cxn ang="0">
                  <a:pos x="383" y="400"/>
                </a:cxn>
                <a:cxn ang="0">
                  <a:pos x="421" y="422"/>
                </a:cxn>
                <a:cxn ang="0">
                  <a:pos x="443" y="428"/>
                </a:cxn>
                <a:cxn ang="0">
                  <a:pos x="464" y="426"/>
                </a:cxn>
                <a:cxn ang="0">
                  <a:pos x="485" y="418"/>
                </a:cxn>
                <a:cxn ang="0">
                  <a:pos x="504" y="406"/>
                </a:cxn>
                <a:cxn ang="0">
                  <a:pos x="571" y="348"/>
                </a:cxn>
                <a:cxn ang="0">
                  <a:pos x="599" y="327"/>
                </a:cxn>
                <a:cxn ang="0">
                  <a:pos x="627" y="301"/>
                </a:cxn>
                <a:cxn ang="0">
                  <a:pos x="638" y="287"/>
                </a:cxn>
                <a:cxn ang="0">
                  <a:pos x="646" y="271"/>
                </a:cxn>
                <a:cxn ang="0">
                  <a:pos x="650" y="253"/>
                </a:cxn>
                <a:cxn ang="0">
                  <a:pos x="650" y="234"/>
                </a:cxn>
                <a:cxn ang="0">
                  <a:pos x="646" y="218"/>
                </a:cxn>
                <a:cxn ang="0">
                  <a:pos x="639" y="203"/>
                </a:cxn>
                <a:cxn ang="0">
                  <a:pos x="618" y="175"/>
                </a:cxn>
                <a:cxn ang="0">
                  <a:pos x="590" y="148"/>
                </a:cxn>
                <a:cxn ang="0">
                  <a:pos x="556" y="124"/>
                </a:cxn>
                <a:cxn ang="0">
                  <a:pos x="521" y="102"/>
                </a:cxn>
                <a:cxn ang="0">
                  <a:pos x="485" y="83"/>
                </a:cxn>
                <a:cxn ang="0">
                  <a:pos x="422" y="57"/>
                </a:cxn>
                <a:cxn ang="0">
                  <a:pos x="391" y="42"/>
                </a:cxn>
                <a:cxn ang="0">
                  <a:pos x="330" y="16"/>
                </a:cxn>
                <a:cxn ang="0">
                  <a:pos x="297" y="5"/>
                </a:cxn>
                <a:cxn ang="0">
                  <a:pos x="269" y="0"/>
                </a:cxn>
                <a:cxn ang="0">
                  <a:pos x="258" y="0"/>
                </a:cxn>
                <a:cxn ang="0">
                  <a:pos x="251" y="2"/>
                </a:cxn>
                <a:cxn ang="0">
                  <a:pos x="245" y="6"/>
                </a:cxn>
                <a:cxn ang="0">
                  <a:pos x="243" y="13"/>
                </a:cxn>
                <a:cxn ang="0">
                  <a:pos x="234" y="15"/>
                </a:cxn>
                <a:cxn ang="0">
                  <a:pos x="225" y="16"/>
                </a:cxn>
                <a:cxn ang="0">
                  <a:pos x="205" y="16"/>
                </a:cxn>
              </a:cxnLst>
              <a:rect l="0" t="0" r="r" b="b"/>
              <a:pathLst>
                <a:path w="650" h="428">
                  <a:moveTo>
                    <a:pt x="196" y="15"/>
                  </a:moveTo>
                  <a:lnTo>
                    <a:pt x="61" y="15"/>
                  </a:lnTo>
                  <a:lnTo>
                    <a:pt x="45" y="16"/>
                  </a:lnTo>
                  <a:lnTo>
                    <a:pt x="26" y="20"/>
                  </a:lnTo>
                  <a:lnTo>
                    <a:pt x="11" y="23"/>
                  </a:lnTo>
                  <a:lnTo>
                    <a:pt x="0" y="24"/>
                  </a:lnTo>
                  <a:lnTo>
                    <a:pt x="2" y="38"/>
                  </a:lnTo>
                  <a:lnTo>
                    <a:pt x="5" y="50"/>
                  </a:lnTo>
                  <a:lnTo>
                    <a:pt x="9" y="62"/>
                  </a:lnTo>
                  <a:lnTo>
                    <a:pt x="16" y="74"/>
                  </a:lnTo>
                  <a:lnTo>
                    <a:pt x="24" y="86"/>
                  </a:lnTo>
                  <a:lnTo>
                    <a:pt x="33" y="98"/>
                  </a:lnTo>
                  <a:lnTo>
                    <a:pt x="43" y="108"/>
                  </a:lnTo>
                  <a:lnTo>
                    <a:pt x="53" y="119"/>
                  </a:lnTo>
                  <a:lnTo>
                    <a:pt x="76" y="139"/>
                  </a:lnTo>
                  <a:lnTo>
                    <a:pt x="100" y="157"/>
                  </a:lnTo>
                  <a:lnTo>
                    <a:pt x="122" y="175"/>
                  </a:lnTo>
                  <a:lnTo>
                    <a:pt x="143" y="191"/>
                  </a:lnTo>
                  <a:lnTo>
                    <a:pt x="177" y="218"/>
                  </a:lnTo>
                  <a:lnTo>
                    <a:pt x="209" y="249"/>
                  </a:lnTo>
                  <a:lnTo>
                    <a:pt x="243" y="281"/>
                  </a:lnTo>
                  <a:lnTo>
                    <a:pt x="277" y="313"/>
                  </a:lnTo>
                  <a:lnTo>
                    <a:pt x="312" y="345"/>
                  </a:lnTo>
                  <a:lnTo>
                    <a:pt x="348" y="374"/>
                  </a:lnTo>
                  <a:lnTo>
                    <a:pt x="365" y="387"/>
                  </a:lnTo>
                  <a:lnTo>
                    <a:pt x="383" y="400"/>
                  </a:lnTo>
                  <a:lnTo>
                    <a:pt x="402" y="412"/>
                  </a:lnTo>
                  <a:lnTo>
                    <a:pt x="421" y="422"/>
                  </a:lnTo>
                  <a:lnTo>
                    <a:pt x="431" y="426"/>
                  </a:lnTo>
                  <a:lnTo>
                    <a:pt x="443" y="428"/>
                  </a:lnTo>
                  <a:lnTo>
                    <a:pt x="454" y="428"/>
                  </a:lnTo>
                  <a:lnTo>
                    <a:pt x="464" y="426"/>
                  </a:lnTo>
                  <a:lnTo>
                    <a:pt x="474" y="423"/>
                  </a:lnTo>
                  <a:lnTo>
                    <a:pt x="485" y="418"/>
                  </a:lnTo>
                  <a:lnTo>
                    <a:pt x="495" y="413"/>
                  </a:lnTo>
                  <a:lnTo>
                    <a:pt x="504" y="406"/>
                  </a:lnTo>
                  <a:lnTo>
                    <a:pt x="541" y="375"/>
                  </a:lnTo>
                  <a:lnTo>
                    <a:pt x="571" y="348"/>
                  </a:lnTo>
                  <a:lnTo>
                    <a:pt x="585" y="338"/>
                  </a:lnTo>
                  <a:lnTo>
                    <a:pt x="599" y="327"/>
                  </a:lnTo>
                  <a:lnTo>
                    <a:pt x="613" y="314"/>
                  </a:lnTo>
                  <a:lnTo>
                    <a:pt x="627" y="301"/>
                  </a:lnTo>
                  <a:lnTo>
                    <a:pt x="632" y="294"/>
                  </a:lnTo>
                  <a:lnTo>
                    <a:pt x="638" y="287"/>
                  </a:lnTo>
                  <a:lnTo>
                    <a:pt x="642" y="279"/>
                  </a:lnTo>
                  <a:lnTo>
                    <a:pt x="646" y="271"/>
                  </a:lnTo>
                  <a:lnTo>
                    <a:pt x="648" y="262"/>
                  </a:lnTo>
                  <a:lnTo>
                    <a:pt x="650" y="253"/>
                  </a:lnTo>
                  <a:lnTo>
                    <a:pt x="650" y="244"/>
                  </a:lnTo>
                  <a:lnTo>
                    <a:pt x="650" y="234"/>
                  </a:lnTo>
                  <a:lnTo>
                    <a:pt x="648" y="226"/>
                  </a:lnTo>
                  <a:lnTo>
                    <a:pt x="646" y="218"/>
                  </a:lnTo>
                  <a:lnTo>
                    <a:pt x="642" y="211"/>
                  </a:lnTo>
                  <a:lnTo>
                    <a:pt x="639" y="203"/>
                  </a:lnTo>
                  <a:lnTo>
                    <a:pt x="630" y="188"/>
                  </a:lnTo>
                  <a:lnTo>
                    <a:pt x="618" y="175"/>
                  </a:lnTo>
                  <a:lnTo>
                    <a:pt x="604" y="162"/>
                  </a:lnTo>
                  <a:lnTo>
                    <a:pt x="590" y="148"/>
                  </a:lnTo>
                  <a:lnTo>
                    <a:pt x="574" y="136"/>
                  </a:lnTo>
                  <a:lnTo>
                    <a:pt x="556" y="124"/>
                  </a:lnTo>
                  <a:lnTo>
                    <a:pt x="539" y="112"/>
                  </a:lnTo>
                  <a:lnTo>
                    <a:pt x="521" y="102"/>
                  </a:lnTo>
                  <a:lnTo>
                    <a:pt x="503" y="92"/>
                  </a:lnTo>
                  <a:lnTo>
                    <a:pt x="485" y="83"/>
                  </a:lnTo>
                  <a:lnTo>
                    <a:pt x="451" y="69"/>
                  </a:lnTo>
                  <a:lnTo>
                    <a:pt x="422" y="57"/>
                  </a:lnTo>
                  <a:lnTo>
                    <a:pt x="412" y="52"/>
                  </a:lnTo>
                  <a:lnTo>
                    <a:pt x="391" y="42"/>
                  </a:lnTo>
                  <a:lnTo>
                    <a:pt x="362" y="29"/>
                  </a:lnTo>
                  <a:lnTo>
                    <a:pt x="330" y="16"/>
                  </a:lnTo>
                  <a:lnTo>
                    <a:pt x="313" y="11"/>
                  </a:lnTo>
                  <a:lnTo>
                    <a:pt x="297" y="5"/>
                  </a:lnTo>
                  <a:lnTo>
                    <a:pt x="283" y="2"/>
                  </a:lnTo>
                  <a:lnTo>
                    <a:pt x="269" y="0"/>
                  </a:lnTo>
                  <a:lnTo>
                    <a:pt x="264" y="0"/>
                  </a:lnTo>
                  <a:lnTo>
                    <a:pt x="258" y="0"/>
                  </a:lnTo>
                  <a:lnTo>
                    <a:pt x="254" y="1"/>
                  </a:lnTo>
                  <a:lnTo>
                    <a:pt x="251" y="2"/>
                  </a:lnTo>
                  <a:lnTo>
                    <a:pt x="247" y="4"/>
                  </a:lnTo>
                  <a:lnTo>
                    <a:pt x="245" y="6"/>
                  </a:lnTo>
                  <a:lnTo>
                    <a:pt x="243" y="10"/>
                  </a:lnTo>
                  <a:lnTo>
                    <a:pt x="243" y="13"/>
                  </a:lnTo>
                  <a:lnTo>
                    <a:pt x="235" y="13"/>
                  </a:lnTo>
                  <a:lnTo>
                    <a:pt x="234" y="15"/>
                  </a:lnTo>
                  <a:lnTo>
                    <a:pt x="230" y="15"/>
                  </a:lnTo>
                  <a:lnTo>
                    <a:pt x="225" y="16"/>
                  </a:lnTo>
                  <a:lnTo>
                    <a:pt x="218" y="16"/>
                  </a:lnTo>
                  <a:lnTo>
                    <a:pt x="205" y="16"/>
                  </a:lnTo>
                  <a:lnTo>
                    <a:pt x="196" y="1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7" name="Freeform 94"/>
            <p:cNvSpPr>
              <a:spLocks noChangeAspect="1"/>
            </p:cNvSpPr>
            <p:nvPr/>
          </p:nvSpPr>
          <p:spPr bwMode="gray">
            <a:xfrm rot="355651">
              <a:off x="6802553" y="3994150"/>
              <a:ext cx="57129" cy="57489"/>
            </a:xfrm>
            <a:custGeom>
              <a:avLst/>
              <a:gdLst/>
              <a:ahLst/>
              <a:cxnLst>
                <a:cxn ang="0">
                  <a:pos x="111" y="43"/>
                </a:cxn>
                <a:cxn ang="0">
                  <a:pos x="97" y="56"/>
                </a:cxn>
                <a:cxn ang="0">
                  <a:pos x="87" y="75"/>
                </a:cxn>
                <a:cxn ang="0">
                  <a:pos x="77" y="85"/>
                </a:cxn>
                <a:cxn ang="0">
                  <a:pos x="59" y="112"/>
                </a:cxn>
                <a:cxn ang="0">
                  <a:pos x="46" y="125"/>
                </a:cxn>
                <a:cxn ang="0">
                  <a:pos x="40" y="138"/>
                </a:cxn>
                <a:cxn ang="0">
                  <a:pos x="34" y="148"/>
                </a:cxn>
                <a:cxn ang="0">
                  <a:pos x="20" y="158"/>
                </a:cxn>
                <a:cxn ang="0">
                  <a:pos x="20" y="171"/>
                </a:cxn>
                <a:cxn ang="0">
                  <a:pos x="11" y="197"/>
                </a:cxn>
                <a:cxn ang="0">
                  <a:pos x="8" y="201"/>
                </a:cxn>
                <a:cxn ang="0">
                  <a:pos x="7" y="217"/>
                </a:cxn>
                <a:cxn ang="0">
                  <a:pos x="0" y="236"/>
                </a:cxn>
                <a:cxn ang="0">
                  <a:pos x="0" y="249"/>
                </a:cxn>
                <a:cxn ang="0">
                  <a:pos x="5" y="276"/>
                </a:cxn>
                <a:cxn ang="0">
                  <a:pos x="7" y="278"/>
                </a:cxn>
                <a:cxn ang="0">
                  <a:pos x="10" y="282"/>
                </a:cxn>
                <a:cxn ang="0">
                  <a:pos x="16" y="296"/>
                </a:cxn>
                <a:cxn ang="0">
                  <a:pos x="23" y="306"/>
                </a:cxn>
                <a:cxn ang="0">
                  <a:pos x="33" y="323"/>
                </a:cxn>
                <a:cxn ang="0">
                  <a:pos x="45" y="332"/>
                </a:cxn>
                <a:cxn ang="0">
                  <a:pos x="59" y="341"/>
                </a:cxn>
                <a:cxn ang="0">
                  <a:pos x="62" y="348"/>
                </a:cxn>
                <a:cxn ang="0">
                  <a:pos x="65" y="349"/>
                </a:cxn>
                <a:cxn ang="0">
                  <a:pos x="73" y="354"/>
                </a:cxn>
                <a:cxn ang="0">
                  <a:pos x="89" y="354"/>
                </a:cxn>
                <a:cxn ang="0">
                  <a:pos x="119" y="354"/>
                </a:cxn>
                <a:cxn ang="0">
                  <a:pos x="129" y="339"/>
                </a:cxn>
                <a:cxn ang="0">
                  <a:pos x="137" y="327"/>
                </a:cxn>
                <a:cxn ang="0">
                  <a:pos x="148" y="309"/>
                </a:cxn>
                <a:cxn ang="0">
                  <a:pos x="168" y="283"/>
                </a:cxn>
                <a:cxn ang="0">
                  <a:pos x="183" y="269"/>
                </a:cxn>
                <a:cxn ang="0">
                  <a:pos x="210" y="236"/>
                </a:cxn>
                <a:cxn ang="0">
                  <a:pos x="222" y="229"/>
                </a:cxn>
                <a:cxn ang="0">
                  <a:pos x="223" y="225"/>
                </a:cxn>
                <a:cxn ang="0">
                  <a:pos x="229" y="224"/>
                </a:cxn>
                <a:cxn ang="0">
                  <a:pos x="242" y="204"/>
                </a:cxn>
                <a:cxn ang="0">
                  <a:pos x="275" y="171"/>
                </a:cxn>
                <a:cxn ang="0">
                  <a:pos x="287" y="156"/>
                </a:cxn>
                <a:cxn ang="0">
                  <a:pos x="295" y="151"/>
                </a:cxn>
                <a:cxn ang="0">
                  <a:pos x="300" y="137"/>
                </a:cxn>
                <a:cxn ang="0">
                  <a:pos x="302" y="133"/>
                </a:cxn>
                <a:cxn ang="0">
                  <a:pos x="308" y="132"/>
                </a:cxn>
                <a:cxn ang="0">
                  <a:pos x="314" y="117"/>
                </a:cxn>
                <a:cxn ang="0">
                  <a:pos x="322" y="112"/>
                </a:cxn>
                <a:cxn ang="0">
                  <a:pos x="322" y="92"/>
                </a:cxn>
                <a:cxn ang="0">
                  <a:pos x="322" y="76"/>
                </a:cxn>
                <a:cxn ang="0">
                  <a:pos x="322" y="50"/>
                </a:cxn>
                <a:cxn ang="0">
                  <a:pos x="316" y="32"/>
                </a:cxn>
                <a:cxn ang="0">
                  <a:pos x="309" y="19"/>
                </a:cxn>
                <a:cxn ang="0">
                  <a:pos x="302" y="9"/>
                </a:cxn>
                <a:cxn ang="0">
                  <a:pos x="296" y="4"/>
                </a:cxn>
                <a:cxn ang="0">
                  <a:pos x="269" y="0"/>
                </a:cxn>
                <a:cxn ang="0">
                  <a:pos x="242" y="0"/>
                </a:cxn>
                <a:cxn ang="0">
                  <a:pos x="223" y="0"/>
                </a:cxn>
                <a:cxn ang="0">
                  <a:pos x="210" y="0"/>
                </a:cxn>
                <a:cxn ang="0">
                  <a:pos x="187" y="4"/>
                </a:cxn>
                <a:cxn ang="0">
                  <a:pos x="175" y="12"/>
                </a:cxn>
                <a:cxn ang="0">
                  <a:pos x="163" y="14"/>
                </a:cxn>
                <a:cxn ang="0">
                  <a:pos x="156" y="18"/>
                </a:cxn>
                <a:cxn ang="0">
                  <a:pos x="141" y="23"/>
                </a:cxn>
              </a:cxnLst>
              <a:rect l="0" t="0" r="r" b="b"/>
              <a:pathLst>
                <a:path w="322" h="354">
                  <a:moveTo>
                    <a:pt x="125" y="27"/>
                  </a:moveTo>
                  <a:lnTo>
                    <a:pt x="119" y="34"/>
                  </a:lnTo>
                  <a:lnTo>
                    <a:pt x="111" y="43"/>
                  </a:lnTo>
                  <a:lnTo>
                    <a:pt x="106" y="48"/>
                  </a:lnTo>
                  <a:lnTo>
                    <a:pt x="102" y="53"/>
                  </a:lnTo>
                  <a:lnTo>
                    <a:pt x="97" y="56"/>
                  </a:lnTo>
                  <a:lnTo>
                    <a:pt x="92" y="60"/>
                  </a:lnTo>
                  <a:lnTo>
                    <a:pt x="91" y="66"/>
                  </a:lnTo>
                  <a:lnTo>
                    <a:pt x="87" y="75"/>
                  </a:lnTo>
                  <a:lnTo>
                    <a:pt x="85" y="80"/>
                  </a:lnTo>
                  <a:lnTo>
                    <a:pt x="82" y="83"/>
                  </a:lnTo>
                  <a:lnTo>
                    <a:pt x="77" y="85"/>
                  </a:lnTo>
                  <a:lnTo>
                    <a:pt x="73" y="86"/>
                  </a:lnTo>
                  <a:lnTo>
                    <a:pt x="66" y="99"/>
                  </a:lnTo>
                  <a:lnTo>
                    <a:pt x="59" y="112"/>
                  </a:lnTo>
                  <a:lnTo>
                    <a:pt x="56" y="115"/>
                  </a:lnTo>
                  <a:lnTo>
                    <a:pt x="53" y="119"/>
                  </a:lnTo>
                  <a:lnTo>
                    <a:pt x="46" y="125"/>
                  </a:lnTo>
                  <a:lnTo>
                    <a:pt x="44" y="129"/>
                  </a:lnTo>
                  <a:lnTo>
                    <a:pt x="40" y="132"/>
                  </a:lnTo>
                  <a:lnTo>
                    <a:pt x="40" y="138"/>
                  </a:lnTo>
                  <a:lnTo>
                    <a:pt x="39" y="141"/>
                  </a:lnTo>
                  <a:lnTo>
                    <a:pt x="37" y="144"/>
                  </a:lnTo>
                  <a:lnTo>
                    <a:pt x="34" y="148"/>
                  </a:lnTo>
                  <a:lnTo>
                    <a:pt x="30" y="150"/>
                  </a:lnTo>
                  <a:lnTo>
                    <a:pt x="24" y="156"/>
                  </a:lnTo>
                  <a:lnTo>
                    <a:pt x="20" y="158"/>
                  </a:lnTo>
                  <a:lnTo>
                    <a:pt x="20" y="165"/>
                  </a:lnTo>
                  <a:lnTo>
                    <a:pt x="20" y="168"/>
                  </a:lnTo>
                  <a:lnTo>
                    <a:pt x="20" y="171"/>
                  </a:lnTo>
                  <a:lnTo>
                    <a:pt x="17" y="181"/>
                  </a:lnTo>
                  <a:lnTo>
                    <a:pt x="14" y="197"/>
                  </a:lnTo>
                  <a:lnTo>
                    <a:pt x="11" y="197"/>
                  </a:lnTo>
                  <a:lnTo>
                    <a:pt x="10" y="198"/>
                  </a:lnTo>
                  <a:lnTo>
                    <a:pt x="9" y="199"/>
                  </a:lnTo>
                  <a:lnTo>
                    <a:pt x="8" y="201"/>
                  </a:lnTo>
                  <a:lnTo>
                    <a:pt x="7" y="206"/>
                  </a:lnTo>
                  <a:lnTo>
                    <a:pt x="7" y="210"/>
                  </a:lnTo>
                  <a:lnTo>
                    <a:pt x="7" y="217"/>
                  </a:lnTo>
                  <a:lnTo>
                    <a:pt x="7" y="224"/>
                  </a:lnTo>
                  <a:lnTo>
                    <a:pt x="4" y="229"/>
                  </a:lnTo>
                  <a:lnTo>
                    <a:pt x="0" y="236"/>
                  </a:lnTo>
                  <a:lnTo>
                    <a:pt x="0" y="243"/>
                  </a:lnTo>
                  <a:lnTo>
                    <a:pt x="0" y="246"/>
                  </a:lnTo>
                  <a:lnTo>
                    <a:pt x="0" y="249"/>
                  </a:lnTo>
                  <a:lnTo>
                    <a:pt x="0" y="263"/>
                  </a:lnTo>
                  <a:lnTo>
                    <a:pt x="0" y="275"/>
                  </a:lnTo>
                  <a:lnTo>
                    <a:pt x="5" y="276"/>
                  </a:lnTo>
                  <a:lnTo>
                    <a:pt x="7" y="276"/>
                  </a:lnTo>
                  <a:lnTo>
                    <a:pt x="7" y="277"/>
                  </a:lnTo>
                  <a:lnTo>
                    <a:pt x="7" y="278"/>
                  </a:lnTo>
                  <a:lnTo>
                    <a:pt x="7" y="279"/>
                  </a:lnTo>
                  <a:lnTo>
                    <a:pt x="8" y="281"/>
                  </a:lnTo>
                  <a:lnTo>
                    <a:pt x="10" y="282"/>
                  </a:lnTo>
                  <a:lnTo>
                    <a:pt x="14" y="282"/>
                  </a:lnTo>
                  <a:lnTo>
                    <a:pt x="14" y="295"/>
                  </a:lnTo>
                  <a:lnTo>
                    <a:pt x="16" y="296"/>
                  </a:lnTo>
                  <a:lnTo>
                    <a:pt x="18" y="298"/>
                  </a:lnTo>
                  <a:lnTo>
                    <a:pt x="20" y="302"/>
                  </a:lnTo>
                  <a:lnTo>
                    <a:pt x="23" y="306"/>
                  </a:lnTo>
                  <a:lnTo>
                    <a:pt x="26" y="314"/>
                  </a:lnTo>
                  <a:lnTo>
                    <a:pt x="27" y="321"/>
                  </a:lnTo>
                  <a:lnTo>
                    <a:pt x="33" y="323"/>
                  </a:lnTo>
                  <a:lnTo>
                    <a:pt x="39" y="326"/>
                  </a:lnTo>
                  <a:lnTo>
                    <a:pt x="41" y="329"/>
                  </a:lnTo>
                  <a:lnTo>
                    <a:pt x="45" y="332"/>
                  </a:lnTo>
                  <a:lnTo>
                    <a:pt x="46" y="336"/>
                  </a:lnTo>
                  <a:lnTo>
                    <a:pt x="46" y="341"/>
                  </a:lnTo>
                  <a:lnTo>
                    <a:pt x="59" y="341"/>
                  </a:lnTo>
                  <a:lnTo>
                    <a:pt x="59" y="344"/>
                  </a:lnTo>
                  <a:lnTo>
                    <a:pt x="60" y="346"/>
                  </a:lnTo>
                  <a:lnTo>
                    <a:pt x="62" y="348"/>
                  </a:lnTo>
                  <a:lnTo>
                    <a:pt x="63" y="348"/>
                  </a:lnTo>
                  <a:lnTo>
                    <a:pt x="64" y="348"/>
                  </a:lnTo>
                  <a:lnTo>
                    <a:pt x="65" y="349"/>
                  </a:lnTo>
                  <a:lnTo>
                    <a:pt x="66" y="350"/>
                  </a:lnTo>
                  <a:lnTo>
                    <a:pt x="66" y="354"/>
                  </a:lnTo>
                  <a:lnTo>
                    <a:pt x="73" y="354"/>
                  </a:lnTo>
                  <a:lnTo>
                    <a:pt x="79" y="354"/>
                  </a:lnTo>
                  <a:lnTo>
                    <a:pt x="86" y="354"/>
                  </a:lnTo>
                  <a:lnTo>
                    <a:pt x="89" y="354"/>
                  </a:lnTo>
                  <a:lnTo>
                    <a:pt x="92" y="354"/>
                  </a:lnTo>
                  <a:lnTo>
                    <a:pt x="105" y="354"/>
                  </a:lnTo>
                  <a:lnTo>
                    <a:pt x="119" y="354"/>
                  </a:lnTo>
                  <a:lnTo>
                    <a:pt x="125" y="348"/>
                  </a:lnTo>
                  <a:lnTo>
                    <a:pt x="126" y="343"/>
                  </a:lnTo>
                  <a:lnTo>
                    <a:pt x="129" y="339"/>
                  </a:lnTo>
                  <a:lnTo>
                    <a:pt x="133" y="335"/>
                  </a:lnTo>
                  <a:lnTo>
                    <a:pt x="137" y="334"/>
                  </a:lnTo>
                  <a:lnTo>
                    <a:pt x="137" y="327"/>
                  </a:lnTo>
                  <a:lnTo>
                    <a:pt x="141" y="324"/>
                  </a:lnTo>
                  <a:lnTo>
                    <a:pt x="144" y="321"/>
                  </a:lnTo>
                  <a:lnTo>
                    <a:pt x="148" y="309"/>
                  </a:lnTo>
                  <a:lnTo>
                    <a:pt x="151" y="295"/>
                  </a:lnTo>
                  <a:lnTo>
                    <a:pt x="158" y="290"/>
                  </a:lnTo>
                  <a:lnTo>
                    <a:pt x="168" y="283"/>
                  </a:lnTo>
                  <a:lnTo>
                    <a:pt x="177" y="277"/>
                  </a:lnTo>
                  <a:lnTo>
                    <a:pt x="183" y="275"/>
                  </a:lnTo>
                  <a:lnTo>
                    <a:pt x="183" y="269"/>
                  </a:lnTo>
                  <a:lnTo>
                    <a:pt x="197" y="259"/>
                  </a:lnTo>
                  <a:lnTo>
                    <a:pt x="210" y="249"/>
                  </a:lnTo>
                  <a:lnTo>
                    <a:pt x="210" y="236"/>
                  </a:lnTo>
                  <a:lnTo>
                    <a:pt x="217" y="229"/>
                  </a:lnTo>
                  <a:lnTo>
                    <a:pt x="220" y="229"/>
                  </a:lnTo>
                  <a:lnTo>
                    <a:pt x="222" y="229"/>
                  </a:lnTo>
                  <a:lnTo>
                    <a:pt x="223" y="228"/>
                  </a:lnTo>
                  <a:lnTo>
                    <a:pt x="223" y="226"/>
                  </a:lnTo>
                  <a:lnTo>
                    <a:pt x="223" y="225"/>
                  </a:lnTo>
                  <a:lnTo>
                    <a:pt x="223" y="224"/>
                  </a:lnTo>
                  <a:lnTo>
                    <a:pt x="226" y="224"/>
                  </a:lnTo>
                  <a:lnTo>
                    <a:pt x="229" y="224"/>
                  </a:lnTo>
                  <a:lnTo>
                    <a:pt x="232" y="214"/>
                  </a:lnTo>
                  <a:lnTo>
                    <a:pt x="236" y="204"/>
                  </a:lnTo>
                  <a:lnTo>
                    <a:pt x="242" y="204"/>
                  </a:lnTo>
                  <a:lnTo>
                    <a:pt x="249" y="190"/>
                  </a:lnTo>
                  <a:lnTo>
                    <a:pt x="256" y="178"/>
                  </a:lnTo>
                  <a:lnTo>
                    <a:pt x="275" y="171"/>
                  </a:lnTo>
                  <a:lnTo>
                    <a:pt x="280" y="165"/>
                  </a:lnTo>
                  <a:lnTo>
                    <a:pt x="285" y="159"/>
                  </a:lnTo>
                  <a:lnTo>
                    <a:pt x="287" y="156"/>
                  </a:lnTo>
                  <a:lnTo>
                    <a:pt x="290" y="153"/>
                  </a:lnTo>
                  <a:lnTo>
                    <a:pt x="293" y="152"/>
                  </a:lnTo>
                  <a:lnTo>
                    <a:pt x="295" y="151"/>
                  </a:lnTo>
                  <a:lnTo>
                    <a:pt x="295" y="138"/>
                  </a:lnTo>
                  <a:lnTo>
                    <a:pt x="298" y="138"/>
                  </a:lnTo>
                  <a:lnTo>
                    <a:pt x="300" y="137"/>
                  </a:lnTo>
                  <a:lnTo>
                    <a:pt x="302" y="137"/>
                  </a:lnTo>
                  <a:lnTo>
                    <a:pt x="302" y="134"/>
                  </a:lnTo>
                  <a:lnTo>
                    <a:pt x="302" y="133"/>
                  </a:lnTo>
                  <a:lnTo>
                    <a:pt x="303" y="132"/>
                  </a:lnTo>
                  <a:lnTo>
                    <a:pt x="304" y="132"/>
                  </a:lnTo>
                  <a:lnTo>
                    <a:pt x="308" y="132"/>
                  </a:lnTo>
                  <a:lnTo>
                    <a:pt x="309" y="125"/>
                  </a:lnTo>
                  <a:lnTo>
                    <a:pt x="312" y="120"/>
                  </a:lnTo>
                  <a:lnTo>
                    <a:pt x="314" y="117"/>
                  </a:lnTo>
                  <a:lnTo>
                    <a:pt x="316" y="114"/>
                  </a:lnTo>
                  <a:lnTo>
                    <a:pt x="318" y="112"/>
                  </a:lnTo>
                  <a:lnTo>
                    <a:pt x="322" y="112"/>
                  </a:lnTo>
                  <a:lnTo>
                    <a:pt x="322" y="105"/>
                  </a:lnTo>
                  <a:lnTo>
                    <a:pt x="322" y="99"/>
                  </a:lnTo>
                  <a:lnTo>
                    <a:pt x="322" y="92"/>
                  </a:lnTo>
                  <a:lnTo>
                    <a:pt x="322" y="86"/>
                  </a:lnTo>
                  <a:lnTo>
                    <a:pt x="322" y="80"/>
                  </a:lnTo>
                  <a:lnTo>
                    <a:pt x="322" y="76"/>
                  </a:lnTo>
                  <a:lnTo>
                    <a:pt x="322" y="73"/>
                  </a:lnTo>
                  <a:lnTo>
                    <a:pt x="322" y="66"/>
                  </a:lnTo>
                  <a:lnTo>
                    <a:pt x="322" y="50"/>
                  </a:lnTo>
                  <a:lnTo>
                    <a:pt x="322" y="34"/>
                  </a:lnTo>
                  <a:lnTo>
                    <a:pt x="318" y="33"/>
                  </a:lnTo>
                  <a:lnTo>
                    <a:pt x="316" y="32"/>
                  </a:lnTo>
                  <a:lnTo>
                    <a:pt x="314" y="29"/>
                  </a:lnTo>
                  <a:lnTo>
                    <a:pt x="312" y="26"/>
                  </a:lnTo>
                  <a:lnTo>
                    <a:pt x="309" y="19"/>
                  </a:lnTo>
                  <a:lnTo>
                    <a:pt x="308" y="14"/>
                  </a:lnTo>
                  <a:lnTo>
                    <a:pt x="306" y="13"/>
                  </a:lnTo>
                  <a:lnTo>
                    <a:pt x="302" y="9"/>
                  </a:lnTo>
                  <a:lnTo>
                    <a:pt x="299" y="8"/>
                  </a:lnTo>
                  <a:lnTo>
                    <a:pt x="297" y="6"/>
                  </a:lnTo>
                  <a:lnTo>
                    <a:pt x="296" y="4"/>
                  </a:lnTo>
                  <a:lnTo>
                    <a:pt x="295" y="0"/>
                  </a:lnTo>
                  <a:lnTo>
                    <a:pt x="281" y="0"/>
                  </a:lnTo>
                  <a:lnTo>
                    <a:pt x="269" y="0"/>
                  </a:lnTo>
                  <a:lnTo>
                    <a:pt x="259" y="0"/>
                  </a:lnTo>
                  <a:lnTo>
                    <a:pt x="249" y="0"/>
                  </a:lnTo>
                  <a:lnTo>
                    <a:pt x="242" y="0"/>
                  </a:lnTo>
                  <a:lnTo>
                    <a:pt x="236" y="0"/>
                  </a:lnTo>
                  <a:lnTo>
                    <a:pt x="229" y="0"/>
                  </a:lnTo>
                  <a:lnTo>
                    <a:pt x="223" y="0"/>
                  </a:lnTo>
                  <a:lnTo>
                    <a:pt x="217" y="0"/>
                  </a:lnTo>
                  <a:lnTo>
                    <a:pt x="213" y="0"/>
                  </a:lnTo>
                  <a:lnTo>
                    <a:pt x="210" y="0"/>
                  </a:lnTo>
                  <a:lnTo>
                    <a:pt x="203" y="0"/>
                  </a:lnTo>
                  <a:lnTo>
                    <a:pt x="197" y="0"/>
                  </a:lnTo>
                  <a:lnTo>
                    <a:pt x="187" y="4"/>
                  </a:lnTo>
                  <a:lnTo>
                    <a:pt x="178" y="7"/>
                  </a:lnTo>
                  <a:lnTo>
                    <a:pt x="177" y="9"/>
                  </a:lnTo>
                  <a:lnTo>
                    <a:pt x="175" y="12"/>
                  </a:lnTo>
                  <a:lnTo>
                    <a:pt x="173" y="13"/>
                  </a:lnTo>
                  <a:lnTo>
                    <a:pt x="170" y="13"/>
                  </a:lnTo>
                  <a:lnTo>
                    <a:pt x="163" y="14"/>
                  </a:lnTo>
                  <a:lnTo>
                    <a:pt x="158" y="14"/>
                  </a:lnTo>
                  <a:lnTo>
                    <a:pt x="158" y="16"/>
                  </a:lnTo>
                  <a:lnTo>
                    <a:pt x="156" y="18"/>
                  </a:lnTo>
                  <a:lnTo>
                    <a:pt x="154" y="19"/>
                  </a:lnTo>
                  <a:lnTo>
                    <a:pt x="151" y="21"/>
                  </a:lnTo>
                  <a:lnTo>
                    <a:pt x="141" y="23"/>
                  </a:lnTo>
                  <a:lnTo>
                    <a:pt x="125" y="2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8" name="Freeform 95"/>
            <p:cNvSpPr>
              <a:spLocks noChangeAspect="1"/>
            </p:cNvSpPr>
            <p:nvPr/>
          </p:nvSpPr>
          <p:spPr bwMode="gray">
            <a:xfrm rot="355651">
              <a:off x="6833232" y="4079875"/>
              <a:ext cx="38087" cy="59618"/>
            </a:xfrm>
            <a:custGeom>
              <a:avLst/>
              <a:gdLst/>
              <a:ahLst/>
              <a:cxnLst>
                <a:cxn ang="0">
                  <a:pos x="92" y="65"/>
                </a:cxn>
                <a:cxn ang="0">
                  <a:pos x="78" y="85"/>
                </a:cxn>
                <a:cxn ang="0">
                  <a:pos x="63" y="107"/>
                </a:cxn>
                <a:cxn ang="0">
                  <a:pos x="46" y="124"/>
                </a:cxn>
                <a:cxn ang="0">
                  <a:pos x="39" y="138"/>
                </a:cxn>
                <a:cxn ang="0">
                  <a:pos x="20" y="177"/>
                </a:cxn>
                <a:cxn ang="0">
                  <a:pos x="18" y="202"/>
                </a:cxn>
                <a:cxn ang="0">
                  <a:pos x="15" y="207"/>
                </a:cxn>
                <a:cxn ang="0">
                  <a:pos x="0" y="229"/>
                </a:cxn>
                <a:cxn ang="0">
                  <a:pos x="0" y="255"/>
                </a:cxn>
                <a:cxn ang="0">
                  <a:pos x="0" y="280"/>
                </a:cxn>
                <a:cxn ang="0">
                  <a:pos x="0" y="307"/>
                </a:cxn>
                <a:cxn ang="0">
                  <a:pos x="14" y="333"/>
                </a:cxn>
                <a:cxn ang="0">
                  <a:pos x="26" y="360"/>
                </a:cxn>
                <a:cxn ang="0">
                  <a:pos x="66" y="379"/>
                </a:cxn>
                <a:cxn ang="0">
                  <a:pos x="92" y="373"/>
                </a:cxn>
                <a:cxn ang="0">
                  <a:pos x="119" y="353"/>
                </a:cxn>
                <a:cxn ang="0">
                  <a:pos x="132" y="345"/>
                </a:cxn>
                <a:cxn ang="0">
                  <a:pos x="138" y="333"/>
                </a:cxn>
                <a:cxn ang="0">
                  <a:pos x="144" y="328"/>
                </a:cxn>
                <a:cxn ang="0">
                  <a:pos x="151" y="314"/>
                </a:cxn>
                <a:cxn ang="0">
                  <a:pos x="168" y="302"/>
                </a:cxn>
                <a:cxn ang="0">
                  <a:pos x="179" y="295"/>
                </a:cxn>
                <a:cxn ang="0">
                  <a:pos x="197" y="268"/>
                </a:cxn>
                <a:cxn ang="0">
                  <a:pos x="197" y="255"/>
                </a:cxn>
                <a:cxn ang="0">
                  <a:pos x="199" y="228"/>
                </a:cxn>
                <a:cxn ang="0">
                  <a:pos x="202" y="221"/>
                </a:cxn>
                <a:cxn ang="0">
                  <a:pos x="210" y="209"/>
                </a:cxn>
                <a:cxn ang="0">
                  <a:pos x="216" y="183"/>
                </a:cxn>
                <a:cxn ang="0">
                  <a:pos x="220" y="180"/>
                </a:cxn>
                <a:cxn ang="0">
                  <a:pos x="216" y="167"/>
                </a:cxn>
                <a:cxn ang="0">
                  <a:pos x="212" y="125"/>
                </a:cxn>
                <a:cxn ang="0">
                  <a:pos x="221" y="101"/>
                </a:cxn>
                <a:cxn ang="0">
                  <a:pos x="221" y="71"/>
                </a:cxn>
                <a:cxn ang="0">
                  <a:pos x="215" y="69"/>
                </a:cxn>
                <a:cxn ang="0">
                  <a:pos x="214" y="66"/>
                </a:cxn>
                <a:cxn ang="0">
                  <a:pos x="208" y="58"/>
                </a:cxn>
                <a:cxn ang="0">
                  <a:pos x="208" y="45"/>
                </a:cxn>
                <a:cxn ang="0">
                  <a:pos x="195" y="19"/>
                </a:cxn>
                <a:cxn ang="0">
                  <a:pos x="181" y="19"/>
                </a:cxn>
                <a:cxn ang="0">
                  <a:pos x="170" y="4"/>
                </a:cxn>
                <a:cxn ang="0">
                  <a:pos x="167" y="6"/>
                </a:cxn>
                <a:cxn ang="0">
                  <a:pos x="164" y="9"/>
                </a:cxn>
                <a:cxn ang="0">
                  <a:pos x="154" y="13"/>
                </a:cxn>
                <a:cxn ang="0">
                  <a:pos x="124" y="13"/>
                </a:cxn>
              </a:cxnLst>
              <a:rect l="0" t="0" r="r" b="b"/>
              <a:pathLst>
                <a:path w="221" h="379">
                  <a:moveTo>
                    <a:pt x="119" y="39"/>
                  </a:moveTo>
                  <a:lnTo>
                    <a:pt x="105" y="52"/>
                  </a:lnTo>
                  <a:lnTo>
                    <a:pt x="92" y="65"/>
                  </a:lnTo>
                  <a:lnTo>
                    <a:pt x="89" y="75"/>
                  </a:lnTo>
                  <a:lnTo>
                    <a:pt x="85" y="85"/>
                  </a:lnTo>
                  <a:lnTo>
                    <a:pt x="78" y="85"/>
                  </a:lnTo>
                  <a:lnTo>
                    <a:pt x="72" y="92"/>
                  </a:lnTo>
                  <a:lnTo>
                    <a:pt x="66" y="97"/>
                  </a:lnTo>
                  <a:lnTo>
                    <a:pt x="63" y="107"/>
                  </a:lnTo>
                  <a:lnTo>
                    <a:pt x="60" y="117"/>
                  </a:lnTo>
                  <a:lnTo>
                    <a:pt x="53" y="121"/>
                  </a:lnTo>
                  <a:lnTo>
                    <a:pt x="46" y="124"/>
                  </a:lnTo>
                  <a:lnTo>
                    <a:pt x="46" y="131"/>
                  </a:lnTo>
                  <a:lnTo>
                    <a:pt x="43" y="134"/>
                  </a:lnTo>
                  <a:lnTo>
                    <a:pt x="39" y="138"/>
                  </a:lnTo>
                  <a:lnTo>
                    <a:pt x="36" y="150"/>
                  </a:lnTo>
                  <a:lnTo>
                    <a:pt x="33" y="163"/>
                  </a:lnTo>
                  <a:lnTo>
                    <a:pt x="20" y="177"/>
                  </a:lnTo>
                  <a:lnTo>
                    <a:pt x="20" y="189"/>
                  </a:lnTo>
                  <a:lnTo>
                    <a:pt x="20" y="202"/>
                  </a:lnTo>
                  <a:lnTo>
                    <a:pt x="18" y="202"/>
                  </a:lnTo>
                  <a:lnTo>
                    <a:pt x="16" y="203"/>
                  </a:lnTo>
                  <a:lnTo>
                    <a:pt x="15" y="204"/>
                  </a:lnTo>
                  <a:lnTo>
                    <a:pt x="15" y="207"/>
                  </a:lnTo>
                  <a:lnTo>
                    <a:pt x="14" y="211"/>
                  </a:lnTo>
                  <a:lnTo>
                    <a:pt x="14" y="216"/>
                  </a:lnTo>
                  <a:lnTo>
                    <a:pt x="0" y="229"/>
                  </a:lnTo>
                  <a:lnTo>
                    <a:pt x="0" y="238"/>
                  </a:lnTo>
                  <a:lnTo>
                    <a:pt x="0" y="248"/>
                  </a:lnTo>
                  <a:lnTo>
                    <a:pt x="0" y="255"/>
                  </a:lnTo>
                  <a:lnTo>
                    <a:pt x="0" y="261"/>
                  </a:lnTo>
                  <a:lnTo>
                    <a:pt x="0" y="271"/>
                  </a:lnTo>
                  <a:lnTo>
                    <a:pt x="0" y="280"/>
                  </a:lnTo>
                  <a:lnTo>
                    <a:pt x="0" y="287"/>
                  </a:lnTo>
                  <a:lnTo>
                    <a:pt x="0" y="297"/>
                  </a:lnTo>
                  <a:lnTo>
                    <a:pt x="0" y="307"/>
                  </a:lnTo>
                  <a:lnTo>
                    <a:pt x="0" y="317"/>
                  </a:lnTo>
                  <a:lnTo>
                    <a:pt x="0" y="327"/>
                  </a:lnTo>
                  <a:lnTo>
                    <a:pt x="14" y="333"/>
                  </a:lnTo>
                  <a:lnTo>
                    <a:pt x="14" y="346"/>
                  </a:lnTo>
                  <a:lnTo>
                    <a:pt x="20" y="353"/>
                  </a:lnTo>
                  <a:lnTo>
                    <a:pt x="26" y="360"/>
                  </a:lnTo>
                  <a:lnTo>
                    <a:pt x="39" y="363"/>
                  </a:lnTo>
                  <a:lnTo>
                    <a:pt x="53" y="366"/>
                  </a:lnTo>
                  <a:lnTo>
                    <a:pt x="66" y="379"/>
                  </a:lnTo>
                  <a:lnTo>
                    <a:pt x="78" y="379"/>
                  </a:lnTo>
                  <a:lnTo>
                    <a:pt x="92" y="379"/>
                  </a:lnTo>
                  <a:lnTo>
                    <a:pt x="92" y="373"/>
                  </a:lnTo>
                  <a:lnTo>
                    <a:pt x="105" y="366"/>
                  </a:lnTo>
                  <a:lnTo>
                    <a:pt x="119" y="360"/>
                  </a:lnTo>
                  <a:lnTo>
                    <a:pt x="119" y="353"/>
                  </a:lnTo>
                  <a:lnTo>
                    <a:pt x="121" y="352"/>
                  </a:lnTo>
                  <a:lnTo>
                    <a:pt x="128" y="348"/>
                  </a:lnTo>
                  <a:lnTo>
                    <a:pt x="132" y="345"/>
                  </a:lnTo>
                  <a:lnTo>
                    <a:pt x="134" y="342"/>
                  </a:lnTo>
                  <a:lnTo>
                    <a:pt x="137" y="338"/>
                  </a:lnTo>
                  <a:lnTo>
                    <a:pt x="138" y="333"/>
                  </a:lnTo>
                  <a:lnTo>
                    <a:pt x="140" y="333"/>
                  </a:lnTo>
                  <a:lnTo>
                    <a:pt x="142" y="331"/>
                  </a:lnTo>
                  <a:lnTo>
                    <a:pt x="144" y="328"/>
                  </a:lnTo>
                  <a:lnTo>
                    <a:pt x="147" y="326"/>
                  </a:lnTo>
                  <a:lnTo>
                    <a:pt x="150" y="319"/>
                  </a:lnTo>
                  <a:lnTo>
                    <a:pt x="151" y="314"/>
                  </a:lnTo>
                  <a:lnTo>
                    <a:pt x="158" y="314"/>
                  </a:lnTo>
                  <a:lnTo>
                    <a:pt x="162" y="308"/>
                  </a:lnTo>
                  <a:lnTo>
                    <a:pt x="168" y="302"/>
                  </a:lnTo>
                  <a:lnTo>
                    <a:pt x="171" y="298"/>
                  </a:lnTo>
                  <a:lnTo>
                    <a:pt x="175" y="296"/>
                  </a:lnTo>
                  <a:lnTo>
                    <a:pt x="179" y="295"/>
                  </a:lnTo>
                  <a:lnTo>
                    <a:pt x="183" y="294"/>
                  </a:lnTo>
                  <a:lnTo>
                    <a:pt x="183" y="280"/>
                  </a:lnTo>
                  <a:lnTo>
                    <a:pt x="197" y="268"/>
                  </a:lnTo>
                  <a:lnTo>
                    <a:pt x="197" y="265"/>
                  </a:lnTo>
                  <a:lnTo>
                    <a:pt x="197" y="261"/>
                  </a:lnTo>
                  <a:lnTo>
                    <a:pt x="197" y="255"/>
                  </a:lnTo>
                  <a:lnTo>
                    <a:pt x="197" y="241"/>
                  </a:lnTo>
                  <a:lnTo>
                    <a:pt x="197" y="229"/>
                  </a:lnTo>
                  <a:lnTo>
                    <a:pt x="199" y="228"/>
                  </a:lnTo>
                  <a:lnTo>
                    <a:pt x="200" y="227"/>
                  </a:lnTo>
                  <a:lnTo>
                    <a:pt x="201" y="225"/>
                  </a:lnTo>
                  <a:lnTo>
                    <a:pt x="202" y="221"/>
                  </a:lnTo>
                  <a:lnTo>
                    <a:pt x="204" y="215"/>
                  </a:lnTo>
                  <a:lnTo>
                    <a:pt x="204" y="209"/>
                  </a:lnTo>
                  <a:lnTo>
                    <a:pt x="210" y="209"/>
                  </a:lnTo>
                  <a:lnTo>
                    <a:pt x="210" y="196"/>
                  </a:lnTo>
                  <a:lnTo>
                    <a:pt x="210" y="183"/>
                  </a:lnTo>
                  <a:lnTo>
                    <a:pt x="216" y="183"/>
                  </a:lnTo>
                  <a:lnTo>
                    <a:pt x="218" y="182"/>
                  </a:lnTo>
                  <a:lnTo>
                    <a:pt x="219" y="181"/>
                  </a:lnTo>
                  <a:lnTo>
                    <a:pt x="220" y="180"/>
                  </a:lnTo>
                  <a:lnTo>
                    <a:pt x="220" y="178"/>
                  </a:lnTo>
                  <a:lnTo>
                    <a:pt x="218" y="173"/>
                  </a:lnTo>
                  <a:lnTo>
                    <a:pt x="216" y="167"/>
                  </a:lnTo>
                  <a:lnTo>
                    <a:pt x="208" y="152"/>
                  </a:lnTo>
                  <a:lnTo>
                    <a:pt x="204" y="141"/>
                  </a:lnTo>
                  <a:lnTo>
                    <a:pt x="212" y="125"/>
                  </a:lnTo>
                  <a:lnTo>
                    <a:pt x="221" y="111"/>
                  </a:lnTo>
                  <a:lnTo>
                    <a:pt x="221" y="104"/>
                  </a:lnTo>
                  <a:lnTo>
                    <a:pt x="221" y="101"/>
                  </a:lnTo>
                  <a:lnTo>
                    <a:pt x="221" y="97"/>
                  </a:lnTo>
                  <a:lnTo>
                    <a:pt x="221" y="84"/>
                  </a:lnTo>
                  <a:lnTo>
                    <a:pt x="221" y="71"/>
                  </a:lnTo>
                  <a:lnTo>
                    <a:pt x="217" y="71"/>
                  </a:lnTo>
                  <a:lnTo>
                    <a:pt x="215" y="71"/>
                  </a:lnTo>
                  <a:lnTo>
                    <a:pt x="215" y="69"/>
                  </a:lnTo>
                  <a:lnTo>
                    <a:pt x="215" y="68"/>
                  </a:lnTo>
                  <a:lnTo>
                    <a:pt x="215" y="66"/>
                  </a:lnTo>
                  <a:lnTo>
                    <a:pt x="214" y="66"/>
                  </a:lnTo>
                  <a:lnTo>
                    <a:pt x="211" y="65"/>
                  </a:lnTo>
                  <a:lnTo>
                    <a:pt x="208" y="65"/>
                  </a:lnTo>
                  <a:lnTo>
                    <a:pt x="208" y="58"/>
                  </a:lnTo>
                  <a:lnTo>
                    <a:pt x="208" y="55"/>
                  </a:lnTo>
                  <a:lnTo>
                    <a:pt x="208" y="52"/>
                  </a:lnTo>
                  <a:lnTo>
                    <a:pt x="208" y="45"/>
                  </a:lnTo>
                  <a:lnTo>
                    <a:pt x="205" y="35"/>
                  </a:lnTo>
                  <a:lnTo>
                    <a:pt x="201" y="19"/>
                  </a:lnTo>
                  <a:lnTo>
                    <a:pt x="195" y="19"/>
                  </a:lnTo>
                  <a:lnTo>
                    <a:pt x="191" y="19"/>
                  </a:lnTo>
                  <a:lnTo>
                    <a:pt x="188" y="19"/>
                  </a:lnTo>
                  <a:lnTo>
                    <a:pt x="181" y="19"/>
                  </a:lnTo>
                  <a:lnTo>
                    <a:pt x="176" y="9"/>
                  </a:lnTo>
                  <a:lnTo>
                    <a:pt x="170" y="0"/>
                  </a:lnTo>
                  <a:lnTo>
                    <a:pt x="170" y="4"/>
                  </a:lnTo>
                  <a:lnTo>
                    <a:pt x="169" y="6"/>
                  </a:lnTo>
                  <a:lnTo>
                    <a:pt x="168" y="6"/>
                  </a:lnTo>
                  <a:lnTo>
                    <a:pt x="167" y="6"/>
                  </a:lnTo>
                  <a:lnTo>
                    <a:pt x="166" y="7"/>
                  </a:lnTo>
                  <a:lnTo>
                    <a:pt x="164" y="7"/>
                  </a:lnTo>
                  <a:lnTo>
                    <a:pt x="164" y="9"/>
                  </a:lnTo>
                  <a:lnTo>
                    <a:pt x="164" y="13"/>
                  </a:lnTo>
                  <a:lnTo>
                    <a:pt x="158" y="13"/>
                  </a:lnTo>
                  <a:lnTo>
                    <a:pt x="154" y="13"/>
                  </a:lnTo>
                  <a:lnTo>
                    <a:pt x="151" y="13"/>
                  </a:lnTo>
                  <a:lnTo>
                    <a:pt x="138" y="13"/>
                  </a:lnTo>
                  <a:lnTo>
                    <a:pt x="124" y="13"/>
                  </a:lnTo>
                  <a:lnTo>
                    <a:pt x="119" y="3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9" name="Freeform 96"/>
            <p:cNvSpPr>
              <a:spLocks noChangeAspect="1"/>
            </p:cNvSpPr>
            <p:nvPr/>
          </p:nvSpPr>
          <p:spPr bwMode="gray">
            <a:xfrm rot="355651">
              <a:off x="6934796" y="4030663"/>
              <a:ext cx="51839" cy="19163"/>
            </a:xfrm>
            <a:custGeom>
              <a:avLst/>
              <a:gdLst/>
              <a:ahLst/>
              <a:cxnLst>
                <a:cxn ang="0">
                  <a:pos x="178" y="0"/>
                </a:cxn>
                <a:cxn ang="0">
                  <a:pos x="166" y="0"/>
                </a:cxn>
                <a:cxn ang="0">
                  <a:pos x="139" y="5"/>
                </a:cxn>
                <a:cxn ang="0">
                  <a:pos x="122" y="7"/>
                </a:cxn>
                <a:cxn ang="0">
                  <a:pos x="105" y="11"/>
                </a:cxn>
                <a:cxn ang="0">
                  <a:pos x="77" y="11"/>
                </a:cxn>
                <a:cxn ang="0">
                  <a:pos x="60" y="16"/>
                </a:cxn>
                <a:cxn ang="0">
                  <a:pos x="53" y="22"/>
                </a:cxn>
                <a:cxn ang="0">
                  <a:pos x="38" y="27"/>
                </a:cxn>
                <a:cxn ang="0">
                  <a:pos x="34" y="31"/>
                </a:cxn>
                <a:cxn ang="0">
                  <a:pos x="28" y="39"/>
                </a:cxn>
                <a:cxn ang="0">
                  <a:pos x="22" y="55"/>
                </a:cxn>
                <a:cxn ang="0">
                  <a:pos x="17" y="55"/>
                </a:cxn>
                <a:cxn ang="0">
                  <a:pos x="17" y="58"/>
                </a:cxn>
                <a:cxn ang="0">
                  <a:pos x="16" y="60"/>
                </a:cxn>
                <a:cxn ang="0">
                  <a:pos x="11" y="61"/>
                </a:cxn>
                <a:cxn ang="0">
                  <a:pos x="0" y="78"/>
                </a:cxn>
                <a:cxn ang="0">
                  <a:pos x="0" y="94"/>
                </a:cxn>
                <a:cxn ang="0">
                  <a:pos x="8" y="98"/>
                </a:cxn>
                <a:cxn ang="0">
                  <a:pos x="14" y="101"/>
                </a:cxn>
                <a:cxn ang="0">
                  <a:pos x="17" y="106"/>
                </a:cxn>
                <a:cxn ang="0">
                  <a:pos x="38" y="106"/>
                </a:cxn>
                <a:cxn ang="0">
                  <a:pos x="55" y="106"/>
                </a:cxn>
                <a:cxn ang="0">
                  <a:pos x="66" y="106"/>
                </a:cxn>
                <a:cxn ang="0">
                  <a:pos x="75" y="106"/>
                </a:cxn>
                <a:cxn ang="0">
                  <a:pos x="88" y="106"/>
                </a:cxn>
                <a:cxn ang="0">
                  <a:pos x="101" y="108"/>
                </a:cxn>
                <a:cxn ang="0">
                  <a:pos x="107" y="110"/>
                </a:cxn>
                <a:cxn ang="0">
                  <a:pos x="122" y="128"/>
                </a:cxn>
                <a:cxn ang="0">
                  <a:pos x="133" y="128"/>
                </a:cxn>
                <a:cxn ang="0">
                  <a:pos x="142" y="128"/>
                </a:cxn>
                <a:cxn ang="0">
                  <a:pos x="150" y="128"/>
                </a:cxn>
                <a:cxn ang="0">
                  <a:pos x="178" y="128"/>
                </a:cxn>
                <a:cxn ang="0">
                  <a:pos x="179" y="117"/>
                </a:cxn>
                <a:cxn ang="0">
                  <a:pos x="181" y="114"/>
                </a:cxn>
                <a:cxn ang="0">
                  <a:pos x="182" y="114"/>
                </a:cxn>
                <a:cxn ang="0">
                  <a:pos x="183" y="111"/>
                </a:cxn>
                <a:cxn ang="0">
                  <a:pos x="191" y="107"/>
                </a:cxn>
                <a:cxn ang="0">
                  <a:pos x="194" y="100"/>
                </a:cxn>
                <a:cxn ang="0">
                  <a:pos x="206" y="89"/>
                </a:cxn>
                <a:cxn ang="0">
                  <a:pos x="217" y="85"/>
                </a:cxn>
                <a:cxn ang="0">
                  <a:pos x="219" y="83"/>
                </a:cxn>
                <a:cxn ang="0">
                  <a:pos x="221" y="83"/>
                </a:cxn>
                <a:cxn ang="0">
                  <a:pos x="222" y="80"/>
                </a:cxn>
                <a:cxn ang="0">
                  <a:pos x="228" y="78"/>
                </a:cxn>
                <a:cxn ang="0">
                  <a:pos x="239" y="78"/>
                </a:cxn>
                <a:cxn ang="0">
                  <a:pos x="259" y="69"/>
                </a:cxn>
                <a:cxn ang="0">
                  <a:pos x="274" y="64"/>
                </a:cxn>
                <a:cxn ang="0">
                  <a:pos x="276" y="62"/>
                </a:cxn>
                <a:cxn ang="0">
                  <a:pos x="285" y="61"/>
                </a:cxn>
                <a:cxn ang="0">
                  <a:pos x="289" y="50"/>
                </a:cxn>
                <a:cxn ang="0">
                  <a:pos x="295" y="50"/>
                </a:cxn>
                <a:cxn ang="0">
                  <a:pos x="295" y="27"/>
                </a:cxn>
                <a:cxn ang="0">
                  <a:pos x="278" y="27"/>
                </a:cxn>
                <a:cxn ang="0">
                  <a:pos x="276" y="24"/>
                </a:cxn>
                <a:cxn ang="0">
                  <a:pos x="271" y="22"/>
                </a:cxn>
                <a:cxn ang="0">
                  <a:pos x="261" y="22"/>
                </a:cxn>
                <a:cxn ang="0">
                  <a:pos x="256" y="16"/>
                </a:cxn>
                <a:cxn ang="0">
                  <a:pos x="245" y="11"/>
                </a:cxn>
                <a:cxn ang="0">
                  <a:pos x="237" y="11"/>
                </a:cxn>
                <a:cxn ang="0">
                  <a:pos x="229" y="10"/>
                </a:cxn>
                <a:cxn ang="0">
                  <a:pos x="214" y="5"/>
                </a:cxn>
              </a:cxnLst>
              <a:rect l="0" t="0" r="r" b="b"/>
              <a:pathLst>
                <a:path w="295" h="128">
                  <a:moveTo>
                    <a:pt x="200" y="5"/>
                  </a:moveTo>
                  <a:lnTo>
                    <a:pt x="178" y="0"/>
                  </a:lnTo>
                  <a:lnTo>
                    <a:pt x="172" y="0"/>
                  </a:lnTo>
                  <a:lnTo>
                    <a:pt x="166" y="0"/>
                  </a:lnTo>
                  <a:lnTo>
                    <a:pt x="151" y="2"/>
                  </a:lnTo>
                  <a:lnTo>
                    <a:pt x="139" y="5"/>
                  </a:lnTo>
                  <a:lnTo>
                    <a:pt x="134" y="5"/>
                  </a:lnTo>
                  <a:lnTo>
                    <a:pt x="122" y="7"/>
                  </a:lnTo>
                  <a:lnTo>
                    <a:pt x="111" y="10"/>
                  </a:lnTo>
                  <a:lnTo>
                    <a:pt x="105" y="11"/>
                  </a:lnTo>
                  <a:lnTo>
                    <a:pt x="92" y="11"/>
                  </a:lnTo>
                  <a:lnTo>
                    <a:pt x="77" y="11"/>
                  </a:lnTo>
                  <a:lnTo>
                    <a:pt x="67" y="13"/>
                  </a:lnTo>
                  <a:lnTo>
                    <a:pt x="60" y="16"/>
                  </a:lnTo>
                  <a:lnTo>
                    <a:pt x="55" y="22"/>
                  </a:lnTo>
                  <a:lnTo>
                    <a:pt x="53" y="22"/>
                  </a:lnTo>
                  <a:lnTo>
                    <a:pt x="49" y="22"/>
                  </a:lnTo>
                  <a:lnTo>
                    <a:pt x="38" y="27"/>
                  </a:lnTo>
                  <a:lnTo>
                    <a:pt x="36" y="29"/>
                  </a:lnTo>
                  <a:lnTo>
                    <a:pt x="34" y="31"/>
                  </a:lnTo>
                  <a:lnTo>
                    <a:pt x="31" y="34"/>
                  </a:lnTo>
                  <a:lnTo>
                    <a:pt x="28" y="39"/>
                  </a:lnTo>
                  <a:lnTo>
                    <a:pt x="24" y="49"/>
                  </a:lnTo>
                  <a:lnTo>
                    <a:pt x="22" y="55"/>
                  </a:lnTo>
                  <a:lnTo>
                    <a:pt x="19" y="55"/>
                  </a:lnTo>
                  <a:lnTo>
                    <a:pt x="17" y="55"/>
                  </a:lnTo>
                  <a:lnTo>
                    <a:pt x="17" y="56"/>
                  </a:lnTo>
                  <a:lnTo>
                    <a:pt x="17" y="58"/>
                  </a:lnTo>
                  <a:lnTo>
                    <a:pt x="16" y="59"/>
                  </a:lnTo>
                  <a:lnTo>
                    <a:pt x="16" y="60"/>
                  </a:lnTo>
                  <a:lnTo>
                    <a:pt x="14" y="60"/>
                  </a:lnTo>
                  <a:lnTo>
                    <a:pt x="11" y="61"/>
                  </a:lnTo>
                  <a:lnTo>
                    <a:pt x="11" y="72"/>
                  </a:lnTo>
                  <a:lnTo>
                    <a:pt x="0" y="78"/>
                  </a:lnTo>
                  <a:lnTo>
                    <a:pt x="0" y="85"/>
                  </a:lnTo>
                  <a:lnTo>
                    <a:pt x="0" y="94"/>
                  </a:lnTo>
                  <a:lnTo>
                    <a:pt x="2" y="94"/>
                  </a:lnTo>
                  <a:lnTo>
                    <a:pt x="8" y="98"/>
                  </a:lnTo>
                  <a:lnTo>
                    <a:pt x="11" y="99"/>
                  </a:lnTo>
                  <a:lnTo>
                    <a:pt x="14" y="101"/>
                  </a:lnTo>
                  <a:lnTo>
                    <a:pt x="16" y="103"/>
                  </a:lnTo>
                  <a:lnTo>
                    <a:pt x="17" y="106"/>
                  </a:lnTo>
                  <a:lnTo>
                    <a:pt x="28" y="106"/>
                  </a:lnTo>
                  <a:lnTo>
                    <a:pt x="38" y="106"/>
                  </a:lnTo>
                  <a:lnTo>
                    <a:pt x="47" y="106"/>
                  </a:lnTo>
                  <a:lnTo>
                    <a:pt x="55" y="106"/>
                  </a:lnTo>
                  <a:lnTo>
                    <a:pt x="60" y="106"/>
                  </a:lnTo>
                  <a:lnTo>
                    <a:pt x="66" y="106"/>
                  </a:lnTo>
                  <a:lnTo>
                    <a:pt x="72" y="106"/>
                  </a:lnTo>
                  <a:lnTo>
                    <a:pt x="75" y="106"/>
                  </a:lnTo>
                  <a:lnTo>
                    <a:pt x="77" y="106"/>
                  </a:lnTo>
                  <a:lnTo>
                    <a:pt x="88" y="106"/>
                  </a:lnTo>
                  <a:lnTo>
                    <a:pt x="99" y="106"/>
                  </a:lnTo>
                  <a:lnTo>
                    <a:pt x="101" y="108"/>
                  </a:lnTo>
                  <a:lnTo>
                    <a:pt x="103" y="110"/>
                  </a:lnTo>
                  <a:lnTo>
                    <a:pt x="107" y="110"/>
                  </a:lnTo>
                  <a:lnTo>
                    <a:pt x="111" y="111"/>
                  </a:lnTo>
                  <a:lnTo>
                    <a:pt x="122" y="128"/>
                  </a:lnTo>
                  <a:lnTo>
                    <a:pt x="127" y="128"/>
                  </a:lnTo>
                  <a:lnTo>
                    <a:pt x="133" y="128"/>
                  </a:lnTo>
                  <a:lnTo>
                    <a:pt x="139" y="128"/>
                  </a:lnTo>
                  <a:lnTo>
                    <a:pt x="142" y="128"/>
                  </a:lnTo>
                  <a:lnTo>
                    <a:pt x="144" y="128"/>
                  </a:lnTo>
                  <a:lnTo>
                    <a:pt x="150" y="128"/>
                  </a:lnTo>
                  <a:lnTo>
                    <a:pt x="164" y="128"/>
                  </a:lnTo>
                  <a:lnTo>
                    <a:pt x="178" y="128"/>
                  </a:lnTo>
                  <a:lnTo>
                    <a:pt x="178" y="121"/>
                  </a:lnTo>
                  <a:lnTo>
                    <a:pt x="179" y="117"/>
                  </a:lnTo>
                  <a:lnTo>
                    <a:pt x="180" y="116"/>
                  </a:lnTo>
                  <a:lnTo>
                    <a:pt x="181" y="114"/>
                  </a:lnTo>
                  <a:lnTo>
                    <a:pt x="182" y="114"/>
                  </a:lnTo>
                  <a:lnTo>
                    <a:pt x="182" y="114"/>
                  </a:lnTo>
                  <a:lnTo>
                    <a:pt x="183" y="113"/>
                  </a:lnTo>
                  <a:lnTo>
                    <a:pt x="183" y="111"/>
                  </a:lnTo>
                  <a:lnTo>
                    <a:pt x="188" y="110"/>
                  </a:lnTo>
                  <a:lnTo>
                    <a:pt x="191" y="107"/>
                  </a:lnTo>
                  <a:lnTo>
                    <a:pt x="193" y="103"/>
                  </a:lnTo>
                  <a:lnTo>
                    <a:pt x="194" y="100"/>
                  </a:lnTo>
                  <a:lnTo>
                    <a:pt x="200" y="94"/>
                  </a:lnTo>
                  <a:lnTo>
                    <a:pt x="206" y="89"/>
                  </a:lnTo>
                  <a:lnTo>
                    <a:pt x="217" y="89"/>
                  </a:lnTo>
                  <a:lnTo>
                    <a:pt x="217" y="85"/>
                  </a:lnTo>
                  <a:lnTo>
                    <a:pt x="218" y="83"/>
                  </a:lnTo>
                  <a:lnTo>
                    <a:pt x="219" y="83"/>
                  </a:lnTo>
                  <a:lnTo>
                    <a:pt x="220" y="83"/>
                  </a:lnTo>
                  <a:lnTo>
                    <a:pt x="221" y="83"/>
                  </a:lnTo>
                  <a:lnTo>
                    <a:pt x="221" y="82"/>
                  </a:lnTo>
                  <a:lnTo>
                    <a:pt x="222" y="80"/>
                  </a:lnTo>
                  <a:lnTo>
                    <a:pt x="222" y="78"/>
                  </a:lnTo>
                  <a:lnTo>
                    <a:pt x="228" y="78"/>
                  </a:lnTo>
                  <a:lnTo>
                    <a:pt x="233" y="78"/>
                  </a:lnTo>
                  <a:lnTo>
                    <a:pt x="239" y="78"/>
                  </a:lnTo>
                  <a:lnTo>
                    <a:pt x="245" y="72"/>
                  </a:lnTo>
                  <a:lnTo>
                    <a:pt x="259" y="69"/>
                  </a:lnTo>
                  <a:lnTo>
                    <a:pt x="273" y="66"/>
                  </a:lnTo>
                  <a:lnTo>
                    <a:pt x="274" y="64"/>
                  </a:lnTo>
                  <a:lnTo>
                    <a:pt x="275" y="63"/>
                  </a:lnTo>
                  <a:lnTo>
                    <a:pt x="276" y="62"/>
                  </a:lnTo>
                  <a:lnTo>
                    <a:pt x="279" y="61"/>
                  </a:lnTo>
                  <a:lnTo>
                    <a:pt x="285" y="61"/>
                  </a:lnTo>
                  <a:lnTo>
                    <a:pt x="289" y="61"/>
                  </a:lnTo>
                  <a:lnTo>
                    <a:pt x="289" y="50"/>
                  </a:lnTo>
                  <a:lnTo>
                    <a:pt x="293" y="50"/>
                  </a:lnTo>
                  <a:lnTo>
                    <a:pt x="295" y="50"/>
                  </a:lnTo>
                  <a:lnTo>
                    <a:pt x="295" y="39"/>
                  </a:lnTo>
                  <a:lnTo>
                    <a:pt x="295" y="27"/>
                  </a:lnTo>
                  <a:lnTo>
                    <a:pt x="287" y="27"/>
                  </a:lnTo>
                  <a:lnTo>
                    <a:pt x="278" y="27"/>
                  </a:lnTo>
                  <a:lnTo>
                    <a:pt x="278" y="25"/>
                  </a:lnTo>
                  <a:lnTo>
                    <a:pt x="276" y="24"/>
                  </a:lnTo>
                  <a:lnTo>
                    <a:pt x="275" y="23"/>
                  </a:lnTo>
                  <a:lnTo>
                    <a:pt x="271" y="22"/>
                  </a:lnTo>
                  <a:lnTo>
                    <a:pt x="267" y="22"/>
                  </a:lnTo>
                  <a:lnTo>
                    <a:pt x="261" y="22"/>
                  </a:lnTo>
                  <a:lnTo>
                    <a:pt x="259" y="18"/>
                  </a:lnTo>
                  <a:lnTo>
                    <a:pt x="256" y="16"/>
                  </a:lnTo>
                  <a:lnTo>
                    <a:pt x="250" y="13"/>
                  </a:lnTo>
                  <a:lnTo>
                    <a:pt x="245" y="11"/>
                  </a:lnTo>
                  <a:lnTo>
                    <a:pt x="239" y="11"/>
                  </a:lnTo>
                  <a:lnTo>
                    <a:pt x="237" y="11"/>
                  </a:lnTo>
                  <a:lnTo>
                    <a:pt x="233" y="11"/>
                  </a:lnTo>
                  <a:lnTo>
                    <a:pt x="229" y="10"/>
                  </a:lnTo>
                  <a:lnTo>
                    <a:pt x="223" y="7"/>
                  </a:lnTo>
                  <a:lnTo>
                    <a:pt x="214" y="5"/>
                  </a:lnTo>
                  <a:lnTo>
                    <a:pt x="200" y="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30" name="Freeform 97"/>
            <p:cNvSpPr>
              <a:spLocks noChangeAspect="1"/>
            </p:cNvSpPr>
            <p:nvPr/>
          </p:nvSpPr>
          <p:spPr bwMode="gray">
            <a:xfrm rot="355651">
              <a:off x="7366443" y="3665538"/>
              <a:ext cx="154462" cy="180983"/>
            </a:xfrm>
            <a:custGeom>
              <a:avLst/>
              <a:gdLst/>
              <a:ahLst/>
              <a:cxnLst>
                <a:cxn ang="0">
                  <a:pos x="336" y="79"/>
                </a:cxn>
                <a:cxn ang="0">
                  <a:pos x="155" y="95"/>
                </a:cxn>
                <a:cxn ang="0">
                  <a:pos x="63" y="115"/>
                </a:cxn>
                <a:cxn ang="0">
                  <a:pos x="23" y="128"/>
                </a:cxn>
                <a:cxn ang="0">
                  <a:pos x="12" y="158"/>
                </a:cxn>
                <a:cxn ang="0">
                  <a:pos x="43" y="177"/>
                </a:cxn>
                <a:cxn ang="0">
                  <a:pos x="73" y="201"/>
                </a:cxn>
                <a:cxn ang="0">
                  <a:pos x="96" y="225"/>
                </a:cxn>
                <a:cxn ang="0">
                  <a:pos x="116" y="257"/>
                </a:cxn>
                <a:cxn ang="0">
                  <a:pos x="142" y="295"/>
                </a:cxn>
                <a:cxn ang="0">
                  <a:pos x="167" y="330"/>
                </a:cxn>
                <a:cxn ang="0">
                  <a:pos x="175" y="352"/>
                </a:cxn>
                <a:cxn ang="0">
                  <a:pos x="232" y="421"/>
                </a:cxn>
                <a:cxn ang="0">
                  <a:pos x="273" y="446"/>
                </a:cxn>
                <a:cxn ang="0">
                  <a:pos x="338" y="478"/>
                </a:cxn>
                <a:cxn ang="0">
                  <a:pos x="377" y="497"/>
                </a:cxn>
                <a:cxn ang="0">
                  <a:pos x="400" y="511"/>
                </a:cxn>
                <a:cxn ang="0">
                  <a:pos x="423" y="529"/>
                </a:cxn>
                <a:cxn ang="0">
                  <a:pos x="447" y="551"/>
                </a:cxn>
                <a:cxn ang="0">
                  <a:pos x="457" y="586"/>
                </a:cxn>
                <a:cxn ang="0">
                  <a:pos x="447" y="679"/>
                </a:cxn>
                <a:cxn ang="0">
                  <a:pos x="442" y="734"/>
                </a:cxn>
                <a:cxn ang="0">
                  <a:pos x="408" y="742"/>
                </a:cxn>
                <a:cxn ang="0">
                  <a:pos x="332" y="755"/>
                </a:cxn>
                <a:cxn ang="0">
                  <a:pos x="292" y="777"/>
                </a:cxn>
                <a:cxn ang="0">
                  <a:pos x="271" y="808"/>
                </a:cxn>
                <a:cxn ang="0">
                  <a:pos x="267" y="912"/>
                </a:cxn>
                <a:cxn ang="0">
                  <a:pos x="286" y="955"/>
                </a:cxn>
                <a:cxn ang="0">
                  <a:pos x="304" y="979"/>
                </a:cxn>
                <a:cxn ang="0">
                  <a:pos x="329" y="1010"/>
                </a:cxn>
                <a:cxn ang="0">
                  <a:pos x="360" y="1006"/>
                </a:cxn>
                <a:cxn ang="0">
                  <a:pos x="411" y="1077"/>
                </a:cxn>
                <a:cxn ang="0">
                  <a:pos x="433" y="1122"/>
                </a:cxn>
                <a:cxn ang="0">
                  <a:pos x="514" y="1114"/>
                </a:cxn>
                <a:cxn ang="0">
                  <a:pos x="544" y="1074"/>
                </a:cxn>
                <a:cxn ang="0">
                  <a:pos x="574" y="1028"/>
                </a:cxn>
                <a:cxn ang="0">
                  <a:pos x="670" y="909"/>
                </a:cxn>
                <a:cxn ang="0">
                  <a:pos x="694" y="880"/>
                </a:cxn>
                <a:cxn ang="0">
                  <a:pos x="727" y="836"/>
                </a:cxn>
                <a:cxn ang="0">
                  <a:pos x="747" y="812"/>
                </a:cxn>
                <a:cxn ang="0">
                  <a:pos x="782" y="748"/>
                </a:cxn>
                <a:cxn ang="0">
                  <a:pos x="802" y="636"/>
                </a:cxn>
                <a:cxn ang="0">
                  <a:pos x="794" y="517"/>
                </a:cxn>
                <a:cxn ang="0">
                  <a:pos x="782" y="439"/>
                </a:cxn>
                <a:cxn ang="0">
                  <a:pos x="797" y="261"/>
                </a:cxn>
                <a:cxn ang="0">
                  <a:pos x="823" y="192"/>
                </a:cxn>
                <a:cxn ang="0">
                  <a:pos x="835" y="162"/>
                </a:cxn>
                <a:cxn ang="0">
                  <a:pos x="820" y="131"/>
                </a:cxn>
                <a:cxn ang="0">
                  <a:pos x="698" y="109"/>
                </a:cxn>
                <a:cxn ang="0">
                  <a:pos x="634" y="93"/>
                </a:cxn>
                <a:cxn ang="0">
                  <a:pos x="574" y="64"/>
                </a:cxn>
                <a:cxn ang="0">
                  <a:pos x="550" y="15"/>
                </a:cxn>
                <a:cxn ang="0">
                  <a:pos x="515" y="3"/>
                </a:cxn>
                <a:cxn ang="0">
                  <a:pos x="442" y="6"/>
                </a:cxn>
                <a:cxn ang="0">
                  <a:pos x="382" y="35"/>
                </a:cxn>
              </a:cxnLst>
              <a:rect l="0" t="0" r="r" b="b"/>
              <a:pathLst>
                <a:path w="840" h="1127">
                  <a:moveTo>
                    <a:pt x="382" y="35"/>
                  </a:moveTo>
                  <a:lnTo>
                    <a:pt x="374" y="47"/>
                  </a:lnTo>
                  <a:lnTo>
                    <a:pt x="363" y="64"/>
                  </a:lnTo>
                  <a:lnTo>
                    <a:pt x="357" y="66"/>
                  </a:lnTo>
                  <a:lnTo>
                    <a:pt x="346" y="72"/>
                  </a:lnTo>
                  <a:lnTo>
                    <a:pt x="336" y="79"/>
                  </a:lnTo>
                  <a:lnTo>
                    <a:pt x="329" y="84"/>
                  </a:lnTo>
                  <a:lnTo>
                    <a:pt x="289" y="85"/>
                  </a:lnTo>
                  <a:lnTo>
                    <a:pt x="247" y="89"/>
                  </a:lnTo>
                  <a:lnTo>
                    <a:pt x="207" y="92"/>
                  </a:lnTo>
                  <a:lnTo>
                    <a:pt x="167" y="93"/>
                  </a:lnTo>
                  <a:lnTo>
                    <a:pt x="155" y="95"/>
                  </a:lnTo>
                  <a:lnTo>
                    <a:pt x="142" y="99"/>
                  </a:lnTo>
                  <a:lnTo>
                    <a:pt x="131" y="102"/>
                  </a:lnTo>
                  <a:lnTo>
                    <a:pt x="122" y="103"/>
                  </a:lnTo>
                  <a:lnTo>
                    <a:pt x="109" y="105"/>
                  </a:lnTo>
                  <a:lnTo>
                    <a:pt x="86" y="111"/>
                  </a:lnTo>
                  <a:lnTo>
                    <a:pt x="63" y="115"/>
                  </a:lnTo>
                  <a:lnTo>
                    <a:pt x="53" y="119"/>
                  </a:lnTo>
                  <a:lnTo>
                    <a:pt x="39" y="119"/>
                  </a:lnTo>
                  <a:lnTo>
                    <a:pt x="38" y="120"/>
                  </a:lnTo>
                  <a:lnTo>
                    <a:pt x="34" y="122"/>
                  </a:lnTo>
                  <a:lnTo>
                    <a:pt x="29" y="125"/>
                  </a:lnTo>
                  <a:lnTo>
                    <a:pt x="23" y="128"/>
                  </a:lnTo>
                  <a:lnTo>
                    <a:pt x="12" y="131"/>
                  </a:lnTo>
                  <a:lnTo>
                    <a:pt x="4" y="133"/>
                  </a:lnTo>
                  <a:lnTo>
                    <a:pt x="2" y="144"/>
                  </a:lnTo>
                  <a:lnTo>
                    <a:pt x="0" y="152"/>
                  </a:lnTo>
                  <a:lnTo>
                    <a:pt x="8" y="152"/>
                  </a:lnTo>
                  <a:lnTo>
                    <a:pt x="12" y="158"/>
                  </a:lnTo>
                  <a:lnTo>
                    <a:pt x="14" y="162"/>
                  </a:lnTo>
                  <a:lnTo>
                    <a:pt x="24" y="162"/>
                  </a:lnTo>
                  <a:lnTo>
                    <a:pt x="26" y="168"/>
                  </a:lnTo>
                  <a:lnTo>
                    <a:pt x="29" y="172"/>
                  </a:lnTo>
                  <a:lnTo>
                    <a:pt x="36" y="175"/>
                  </a:lnTo>
                  <a:lnTo>
                    <a:pt x="43" y="177"/>
                  </a:lnTo>
                  <a:lnTo>
                    <a:pt x="46" y="181"/>
                  </a:lnTo>
                  <a:lnTo>
                    <a:pt x="54" y="189"/>
                  </a:lnTo>
                  <a:lnTo>
                    <a:pt x="60" y="195"/>
                  </a:lnTo>
                  <a:lnTo>
                    <a:pt x="64" y="198"/>
                  </a:lnTo>
                  <a:lnTo>
                    <a:pt x="69" y="201"/>
                  </a:lnTo>
                  <a:lnTo>
                    <a:pt x="73" y="201"/>
                  </a:lnTo>
                  <a:lnTo>
                    <a:pt x="75" y="207"/>
                  </a:lnTo>
                  <a:lnTo>
                    <a:pt x="78" y="211"/>
                  </a:lnTo>
                  <a:lnTo>
                    <a:pt x="88" y="211"/>
                  </a:lnTo>
                  <a:lnTo>
                    <a:pt x="88" y="221"/>
                  </a:lnTo>
                  <a:lnTo>
                    <a:pt x="91" y="223"/>
                  </a:lnTo>
                  <a:lnTo>
                    <a:pt x="96" y="225"/>
                  </a:lnTo>
                  <a:lnTo>
                    <a:pt x="99" y="228"/>
                  </a:lnTo>
                  <a:lnTo>
                    <a:pt x="102" y="231"/>
                  </a:lnTo>
                  <a:lnTo>
                    <a:pt x="108" y="240"/>
                  </a:lnTo>
                  <a:lnTo>
                    <a:pt x="112" y="246"/>
                  </a:lnTo>
                  <a:lnTo>
                    <a:pt x="112" y="256"/>
                  </a:lnTo>
                  <a:lnTo>
                    <a:pt x="116" y="257"/>
                  </a:lnTo>
                  <a:lnTo>
                    <a:pt x="120" y="259"/>
                  </a:lnTo>
                  <a:lnTo>
                    <a:pt x="123" y="264"/>
                  </a:lnTo>
                  <a:lnTo>
                    <a:pt x="127" y="269"/>
                  </a:lnTo>
                  <a:lnTo>
                    <a:pt x="135" y="278"/>
                  </a:lnTo>
                  <a:lnTo>
                    <a:pt x="142" y="285"/>
                  </a:lnTo>
                  <a:lnTo>
                    <a:pt x="142" y="295"/>
                  </a:lnTo>
                  <a:lnTo>
                    <a:pt x="145" y="297"/>
                  </a:lnTo>
                  <a:lnTo>
                    <a:pt x="148" y="301"/>
                  </a:lnTo>
                  <a:lnTo>
                    <a:pt x="151" y="306"/>
                  </a:lnTo>
                  <a:lnTo>
                    <a:pt x="156" y="313"/>
                  </a:lnTo>
                  <a:lnTo>
                    <a:pt x="164" y="324"/>
                  </a:lnTo>
                  <a:lnTo>
                    <a:pt x="167" y="330"/>
                  </a:lnTo>
                  <a:lnTo>
                    <a:pt x="167" y="340"/>
                  </a:lnTo>
                  <a:lnTo>
                    <a:pt x="169" y="341"/>
                  </a:lnTo>
                  <a:lnTo>
                    <a:pt x="170" y="343"/>
                  </a:lnTo>
                  <a:lnTo>
                    <a:pt x="171" y="345"/>
                  </a:lnTo>
                  <a:lnTo>
                    <a:pt x="171" y="350"/>
                  </a:lnTo>
                  <a:lnTo>
                    <a:pt x="175" y="352"/>
                  </a:lnTo>
                  <a:lnTo>
                    <a:pt x="182" y="360"/>
                  </a:lnTo>
                  <a:lnTo>
                    <a:pt x="189" y="370"/>
                  </a:lnTo>
                  <a:lnTo>
                    <a:pt x="198" y="382"/>
                  </a:lnTo>
                  <a:lnTo>
                    <a:pt x="216" y="406"/>
                  </a:lnTo>
                  <a:lnTo>
                    <a:pt x="225" y="418"/>
                  </a:lnTo>
                  <a:lnTo>
                    <a:pt x="232" y="421"/>
                  </a:lnTo>
                  <a:lnTo>
                    <a:pt x="240" y="427"/>
                  </a:lnTo>
                  <a:lnTo>
                    <a:pt x="247" y="432"/>
                  </a:lnTo>
                  <a:lnTo>
                    <a:pt x="250" y="438"/>
                  </a:lnTo>
                  <a:lnTo>
                    <a:pt x="260" y="440"/>
                  </a:lnTo>
                  <a:lnTo>
                    <a:pt x="270" y="442"/>
                  </a:lnTo>
                  <a:lnTo>
                    <a:pt x="273" y="446"/>
                  </a:lnTo>
                  <a:lnTo>
                    <a:pt x="280" y="450"/>
                  </a:lnTo>
                  <a:lnTo>
                    <a:pt x="291" y="455"/>
                  </a:lnTo>
                  <a:lnTo>
                    <a:pt x="303" y="460"/>
                  </a:lnTo>
                  <a:lnTo>
                    <a:pt x="315" y="467"/>
                  </a:lnTo>
                  <a:lnTo>
                    <a:pt x="328" y="473"/>
                  </a:lnTo>
                  <a:lnTo>
                    <a:pt x="338" y="478"/>
                  </a:lnTo>
                  <a:lnTo>
                    <a:pt x="343" y="483"/>
                  </a:lnTo>
                  <a:lnTo>
                    <a:pt x="348" y="483"/>
                  </a:lnTo>
                  <a:lnTo>
                    <a:pt x="355" y="486"/>
                  </a:lnTo>
                  <a:lnTo>
                    <a:pt x="362" y="489"/>
                  </a:lnTo>
                  <a:lnTo>
                    <a:pt x="369" y="493"/>
                  </a:lnTo>
                  <a:lnTo>
                    <a:pt x="377" y="497"/>
                  </a:lnTo>
                  <a:lnTo>
                    <a:pt x="382" y="500"/>
                  </a:lnTo>
                  <a:lnTo>
                    <a:pt x="387" y="505"/>
                  </a:lnTo>
                  <a:lnTo>
                    <a:pt x="388" y="507"/>
                  </a:lnTo>
                  <a:lnTo>
                    <a:pt x="391" y="507"/>
                  </a:lnTo>
                  <a:lnTo>
                    <a:pt x="396" y="508"/>
                  </a:lnTo>
                  <a:lnTo>
                    <a:pt x="400" y="511"/>
                  </a:lnTo>
                  <a:lnTo>
                    <a:pt x="404" y="513"/>
                  </a:lnTo>
                  <a:lnTo>
                    <a:pt x="407" y="516"/>
                  </a:lnTo>
                  <a:lnTo>
                    <a:pt x="410" y="519"/>
                  </a:lnTo>
                  <a:lnTo>
                    <a:pt x="411" y="523"/>
                  </a:lnTo>
                  <a:lnTo>
                    <a:pt x="413" y="526"/>
                  </a:lnTo>
                  <a:lnTo>
                    <a:pt x="423" y="529"/>
                  </a:lnTo>
                  <a:lnTo>
                    <a:pt x="437" y="532"/>
                  </a:lnTo>
                  <a:lnTo>
                    <a:pt x="437" y="542"/>
                  </a:lnTo>
                  <a:lnTo>
                    <a:pt x="440" y="542"/>
                  </a:lnTo>
                  <a:lnTo>
                    <a:pt x="444" y="544"/>
                  </a:lnTo>
                  <a:lnTo>
                    <a:pt x="446" y="547"/>
                  </a:lnTo>
                  <a:lnTo>
                    <a:pt x="447" y="551"/>
                  </a:lnTo>
                  <a:lnTo>
                    <a:pt x="449" y="552"/>
                  </a:lnTo>
                  <a:lnTo>
                    <a:pt x="452" y="554"/>
                  </a:lnTo>
                  <a:lnTo>
                    <a:pt x="453" y="557"/>
                  </a:lnTo>
                  <a:lnTo>
                    <a:pt x="455" y="562"/>
                  </a:lnTo>
                  <a:lnTo>
                    <a:pt x="456" y="573"/>
                  </a:lnTo>
                  <a:lnTo>
                    <a:pt x="457" y="586"/>
                  </a:lnTo>
                  <a:lnTo>
                    <a:pt x="457" y="613"/>
                  </a:lnTo>
                  <a:lnTo>
                    <a:pt x="457" y="630"/>
                  </a:lnTo>
                  <a:lnTo>
                    <a:pt x="455" y="640"/>
                  </a:lnTo>
                  <a:lnTo>
                    <a:pt x="452" y="652"/>
                  </a:lnTo>
                  <a:lnTo>
                    <a:pt x="448" y="667"/>
                  </a:lnTo>
                  <a:lnTo>
                    <a:pt x="447" y="679"/>
                  </a:lnTo>
                  <a:lnTo>
                    <a:pt x="448" y="689"/>
                  </a:lnTo>
                  <a:lnTo>
                    <a:pt x="452" y="701"/>
                  </a:lnTo>
                  <a:lnTo>
                    <a:pt x="455" y="716"/>
                  </a:lnTo>
                  <a:lnTo>
                    <a:pt x="457" y="728"/>
                  </a:lnTo>
                  <a:lnTo>
                    <a:pt x="452" y="734"/>
                  </a:lnTo>
                  <a:lnTo>
                    <a:pt x="442" y="734"/>
                  </a:lnTo>
                  <a:lnTo>
                    <a:pt x="442" y="735"/>
                  </a:lnTo>
                  <a:lnTo>
                    <a:pt x="439" y="736"/>
                  </a:lnTo>
                  <a:lnTo>
                    <a:pt x="436" y="738"/>
                  </a:lnTo>
                  <a:lnTo>
                    <a:pt x="432" y="739"/>
                  </a:lnTo>
                  <a:lnTo>
                    <a:pt x="422" y="740"/>
                  </a:lnTo>
                  <a:lnTo>
                    <a:pt x="408" y="742"/>
                  </a:lnTo>
                  <a:lnTo>
                    <a:pt x="381" y="743"/>
                  </a:lnTo>
                  <a:lnTo>
                    <a:pt x="363" y="743"/>
                  </a:lnTo>
                  <a:lnTo>
                    <a:pt x="353" y="748"/>
                  </a:lnTo>
                  <a:lnTo>
                    <a:pt x="343" y="753"/>
                  </a:lnTo>
                  <a:lnTo>
                    <a:pt x="338" y="754"/>
                  </a:lnTo>
                  <a:lnTo>
                    <a:pt x="332" y="755"/>
                  </a:lnTo>
                  <a:lnTo>
                    <a:pt x="326" y="757"/>
                  </a:lnTo>
                  <a:lnTo>
                    <a:pt x="320" y="761"/>
                  </a:lnTo>
                  <a:lnTo>
                    <a:pt x="309" y="765"/>
                  </a:lnTo>
                  <a:lnTo>
                    <a:pt x="300" y="767"/>
                  </a:lnTo>
                  <a:lnTo>
                    <a:pt x="294" y="773"/>
                  </a:lnTo>
                  <a:lnTo>
                    <a:pt x="292" y="777"/>
                  </a:lnTo>
                  <a:lnTo>
                    <a:pt x="290" y="783"/>
                  </a:lnTo>
                  <a:lnTo>
                    <a:pt x="280" y="783"/>
                  </a:lnTo>
                  <a:lnTo>
                    <a:pt x="280" y="797"/>
                  </a:lnTo>
                  <a:lnTo>
                    <a:pt x="276" y="798"/>
                  </a:lnTo>
                  <a:lnTo>
                    <a:pt x="273" y="802"/>
                  </a:lnTo>
                  <a:lnTo>
                    <a:pt x="271" y="808"/>
                  </a:lnTo>
                  <a:lnTo>
                    <a:pt x="269" y="816"/>
                  </a:lnTo>
                  <a:lnTo>
                    <a:pt x="265" y="835"/>
                  </a:lnTo>
                  <a:lnTo>
                    <a:pt x="264" y="858"/>
                  </a:lnTo>
                  <a:lnTo>
                    <a:pt x="264" y="881"/>
                  </a:lnTo>
                  <a:lnTo>
                    <a:pt x="266" y="903"/>
                  </a:lnTo>
                  <a:lnTo>
                    <a:pt x="267" y="912"/>
                  </a:lnTo>
                  <a:lnTo>
                    <a:pt x="270" y="920"/>
                  </a:lnTo>
                  <a:lnTo>
                    <a:pt x="272" y="926"/>
                  </a:lnTo>
                  <a:lnTo>
                    <a:pt x="275" y="930"/>
                  </a:lnTo>
                  <a:lnTo>
                    <a:pt x="275" y="940"/>
                  </a:lnTo>
                  <a:lnTo>
                    <a:pt x="280" y="946"/>
                  </a:lnTo>
                  <a:lnTo>
                    <a:pt x="286" y="955"/>
                  </a:lnTo>
                  <a:lnTo>
                    <a:pt x="290" y="960"/>
                  </a:lnTo>
                  <a:lnTo>
                    <a:pt x="292" y="966"/>
                  </a:lnTo>
                  <a:lnTo>
                    <a:pt x="294" y="970"/>
                  </a:lnTo>
                  <a:lnTo>
                    <a:pt x="294" y="975"/>
                  </a:lnTo>
                  <a:lnTo>
                    <a:pt x="300" y="977"/>
                  </a:lnTo>
                  <a:lnTo>
                    <a:pt x="304" y="979"/>
                  </a:lnTo>
                  <a:lnTo>
                    <a:pt x="307" y="987"/>
                  </a:lnTo>
                  <a:lnTo>
                    <a:pt x="309" y="994"/>
                  </a:lnTo>
                  <a:lnTo>
                    <a:pt x="314" y="999"/>
                  </a:lnTo>
                  <a:lnTo>
                    <a:pt x="323" y="1004"/>
                  </a:lnTo>
                  <a:lnTo>
                    <a:pt x="329" y="1008"/>
                  </a:lnTo>
                  <a:lnTo>
                    <a:pt x="329" y="1010"/>
                  </a:lnTo>
                  <a:lnTo>
                    <a:pt x="330" y="1012"/>
                  </a:lnTo>
                  <a:lnTo>
                    <a:pt x="332" y="1012"/>
                  </a:lnTo>
                  <a:lnTo>
                    <a:pt x="334" y="1012"/>
                  </a:lnTo>
                  <a:lnTo>
                    <a:pt x="340" y="1012"/>
                  </a:lnTo>
                  <a:lnTo>
                    <a:pt x="347" y="1009"/>
                  </a:lnTo>
                  <a:lnTo>
                    <a:pt x="360" y="1006"/>
                  </a:lnTo>
                  <a:lnTo>
                    <a:pt x="368" y="1004"/>
                  </a:lnTo>
                  <a:lnTo>
                    <a:pt x="380" y="1016"/>
                  </a:lnTo>
                  <a:lnTo>
                    <a:pt x="392" y="1028"/>
                  </a:lnTo>
                  <a:lnTo>
                    <a:pt x="408" y="1053"/>
                  </a:lnTo>
                  <a:lnTo>
                    <a:pt x="410" y="1063"/>
                  </a:lnTo>
                  <a:lnTo>
                    <a:pt x="411" y="1077"/>
                  </a:lnTo>
                  <a:lnTo>
                    <a:pt x="413" y="1093"/>
                  </a:lnTo>
                  <a:lnTo>
                    <a:pt x="413" y="1102"/>
                  </a:lnTo>
                  <a:lnTo>
                    <a:pt x="420" y="1104"/>
                  </a:lnTo>
                  <a:lnTo>
                    <a:pt x="427" y="1108"/>
                  </a:lnTo>
                  <a:lnTo>
                    <a:pt x="427" y="1117"/>
                  </a:lnTo>
                  <a:lnTo>
                    <a:pt x="433" y="1122"/>
                  </a:lnTo>
                  <a:lnTo>
                    <a:pt x="448" y="1122"/>
                  </a:lnTo>
                  <a:lnTo>
                    <a:pt x="467" y="1124"/>
                  </a:lnTo>
                  <a:lnTo>
                    <a:pt x="487" y="1125"/>
                  </a:lnTo>
                  <a:lnTo>
                    <a:pt x="506" y="1127"/>
                  </a:lnTo>
                  <a:lnTo>
                    <a:pt x="509" y="1121"/>
                  </a:lnTo>
                  <a:lnTo>
                    <a:pt x="514" y="1114"/>
                  </a:lnTo>
                  <a:lnTo>
                    <a:pt x="523" y="1108"/>
                  </a:lnTo>
                  <a:lnTo>
                    <a:pt x="531" y="1102"/>
                  </a:lnTo>
                  <a:lnTo>
                    <a:pt x="532" y="1098"/>
                  </a:lnTo>
                  <a:lnTo>
                    <a:pt x="534" y="1091"/>
                  </a:lnTo>
                  <a:lnTo>
                    <a:pt x="539" y="1082"/>
                  </a:lnTo>
                  <a:lnTo>
                    <a:pt x="544" y="1074"/>
                  </a:lnTo>
                  <a:lnTo>
                    <a:pt x="550" y="1066"/>
                  </a:lnTo>
                  <a:lnTo>
                    <a:pt x="555" y="1060"/>
                  </a:lnTo>
                  <a:lnTo>
                    <a:pt x="561" y="1055"/>
                  </a:lnTo>
                  <a:lnTo>
                    <a:pt x="566" y="1053"/>
                  </a:lnTo>
                  <a:lnTo>
                    <a:pt x="570" y="1041"/>
                  </a:lnTo>
                  <a:lnTo>
                    <a:pt x="574" y="1028"/>
                  </a:lnTo>
                  <a:lnTo>
                    <a:pt x="584" y="1021"/>
                  </a:lnTo>
                  <a:lnTo>
                    <a:pt x="595" y="1014"/>
                  </a:lnTo>
                  <a:lnTo>
                    <a:pt x="612" y="987"/>
                  </a:lnTo>
                  <a:lnTo>
                    <a:pt x="643" y="948"/>
                  </a:lnTo>
                  <a:lnTo>
                    <a:pt x="658" y="928"/>
                  </a:lnTo>
                  <a:lnTo>
                    <a:pt x="670" y="909"/>
                  </a:lnTo>
                  <a:lnTo>
                    <a:pt x="676" y="901"/>
                  </a:lnTo>
                  <a:lnTo>
                    <a:pt x="679" y="894"/>
                  </a:lnTo>
                  <a:lnTo>
                    <a:pt x="683" y="889"/>
                  </a:lnTo>
                  <a:lnTo>
                    <a:pt x="683" y="885"/>
                  </a:lnTo>
                  <a:lnTo>
                    <a:pt x="689" y="882"/>
                  </a:lnTo>
                  <a:lnTo>
                    <a:pt x="694" y="880"/>
                  </a:lnTo>
                  <a:lnTo>
                    <a:pt x="696" y="878"/>
                  </a:lnTo>
                  <a:lnTo>
                    <a:pt x="697" y="874"/>
                  </a:lnTo>
                  <a:lnTo>
                    <a:pt x="697" y="871"/>
                  </a:lnTo>
                  <a:lnTo>
                    <a:pt x="698" y="867"/>
                  </a:lnTo>
                  <a:lnTo>
                    <a:pt x="713" y="851"/>
                  </a:lnTo>
                  <a:lnTo>
                    <a:pt x="727" y="836"/>
                  </a:lnTo>
                  <a:lnTo>
                    <a:pt x="727" y="832"/>
                  </a:lnTo>
                  <a:lnTo>
                    <a:pt x="730" y="827"/>
                  </a:lnTo>
                  <a:lnTo>
                    <a:pt x="731" y="823"/>
                  </a:lnTo>
                  <a:lnTo>
                    <a:pt x="734" y="821"/>
                  </a:lnTo>
                  <a:lnTo>
                    <a:pt x="740" y="815"/>
                  </a:lnTo>
                  <a:lnTo>
                    <a:pt x="747" y="812"/>
                  </a:lnTo>
                  <a:lnTo>
                    <a:pt x="749" y="806"/>
                  </a:lnTo>
                  <a:lnTo>
                    <a:pt x="752" y="800"/>
                  </a:lnTo>
                  <a:lnTo>
                    <a:pt x="756" y="790"/>
                  </a:lnTo>
                  <a:lnTo>
                    <a:pt x="762" y="779"/>
                  </a:lnTo>
                  <a:lnTo>
                    <a:pt x="774" y="761"/>
                  </a:lnTo>
                  <a:lnTo>
                    <a:pt x="782" y="748"/>
                  </a:lnTo>
                  <a:lnTo>
                    <a:pt x="787" y="734"/>
                  </a:lnTo>
                  <a:lnTo>
                    <a:pt x="791" y="719"/>
                  </a:lnTo>
                  <a:lnTo>
                    <a:pt x="794" y="705"/>
                  </a:lnTo>
                  <a:lnTo>
                    <a:pt x="797" y="690"/>
                  </a:lnTo>
                  <a:lnTo>
                    <a:pt x="801" y="662"/>
                  </a:lnTo>
                  <a:lnTo>
                    <a:pt x="802" y="636"/>
                  </a:lnTo>
                  <a:lnTo>
                    <a:pt x="803" y="609"/>
                  </a:lnTo>
                  <a:lnTo>
                    <a:pt x="802" y="581"/>
                  </a:lnTo>
                  <a:lnTo>
                    <a:pt x="801" y="554"/>
                  </a:lnTo>
                  <a:lnTo>
                    <a:pt x="801" y="526"/>
                  </a:lnTo>
                  <a:lnTo>
                    <a:pt x="798" y="523"/>
                  </a:lnTo>
                  <a:lnTo>
                    <a:pt x="794" y="517"/>
                  </a:lnTo>
                  <a:lnTo>
                    <a:pt x="792" y="513"/>
                  </a:lnTo>
                  <a:lnTo>
                    <a:pt x="790" y="506"/>
                  </a:lnTo>
                  <a:lnTo>
                    <a:pt x="787" y="492"/>
                  </a:lnTo>
                  <a:lnTo>
                    <a:pt x="784" y="476"/>
                  </a:lnTo>
                  <a:lnTo>
                    <a:pt x="782" y="458"/>
                  </a:lnTo>
                  <a:lnTo>
                    <a:pt x="782" y="439"/>
                  </a:lnTo>
                  <a:lnTo>
                    <a:pt x="783" y="420"/>
                  </a:lnTo>
                  <a:lnTo>
                    <a:pt x="784" y="399"/>
                  </a:lnTo>
                  <a:lnTo>
                    <a:pt x="788" y="359"/>
                  </a:lnTo>
                  <a:lnTo>
                    <a:pt x="791" y="320"/>
                  </a:lnTo>
                  <a:lnTo>
                    <a:pt x="794" y="286"/>
                  </a:lnTo>
                  <a:lnTo>
                    <a:pt x="797" y="261"/>
                  </a:lnTo>
                  <a:lnTo>
                    <a:pt x="802" y="254"/>
                  </a:lnTo>
                  <a:lnTo>
                    <a:pt x="807" y="244"/>
                  </a:lnTo>
                  <a:lnTo>
                    <a:pt x="812" y="231"/>
                  </a:lnTo>
                  <a:lnTo>
                    <a:pt x="817" y="218"/>
                  </a:lnTo>
                  <a:lnTo>
                    <a:pt x="820" y="205"/>
                  </a:lnTo>
                  <a:lnTo>
                    <a:pt x="823" y="192"/>
                  </a:lnTo>
                  <a:lnTo>
                    <a:pt x="826" y="181"/>
                  </a:lnTo>
                  <a:lnTo>
                    <a:pt x="826" y="172"/>
                  </a:lnTo>
                  <a:lnTo>
                    <a:pt x="829" y="171"/>
                  </a:lnTo>
                  <a:lnTo>
                    <a:pt x="831" y="169"/>
                  </a:lnTo>
                  <a:lnTo>
                    <a:pt x="833" y="166"/>
                  </a:lnTo>
                  <a:lnTo>
                    <a:pt x="835" y="162"/>
                  </a:lnTo>
                  <a:lnTo>
                    <a:pt x="837" y="159"/>
                  </a:lnTo>
                  <a:lnTo>
                    <a:pt x="838" y="156"/>
                  </a:lnTo>
                  <a:lnTo>
                    <a:pt x="839" y="153"/>
                  </a:lnTo>
                  <a:lnTo>
                    <a:pt x="840" y="152"/>
                  </a:lnTo>
                  <a:lnTo>
                    <a:pt x="840" y="133"/>
                  </a:lnTo>
                  <a:lnTo>
                    <a:pt x="820" y="131"/>
                  </a:lnTo>
                  <a:lnTo>
                    <a:pt x="795" y="125"/>
                  </a:lnTo>
                  <a:lnTo>
                    <a:pt x="783" y="123"/>
                  </a:lnTo>
                  <a:lnTo>
                    <a:pt x="771" y="121"/>
                  </a:lnTo>
                  <a:lnTo>
                    <a:pt x="759" y="119"/>
                  </a:lnTo>
                  <a:lnTo>
                    <a:pt x="747" y="119"/>
                  </a:lnTo>
                  <a:lnTo>
                    <a:pt x="698" y="109"/>
                  </a:lnTo>
                  <a:lnTo>
                    <a:pt x="691" y="108"/>
                  </a:lnTo>
                  <a:lnTo>
                    <a:pt x="682" y="106"/>
                  </a:lnTo>
                  <a:lnTo>
                    <a:pt x="673" y="104"/>
                  </a:lnTo>
                  <a:lnTo>
                    <a:pt x="664" y="101"/>
                  </a:lnTo>
                  <a:lnTo>
                    <a:pt x="647" y="96"/>
                  </a:lnTo>
                  <a:lnTo>
                    <a:pt x="634" y="93"/>
                  </a:lnTo>
                  <a:lnTo>
                    <a:pt x="624" y="84"/>
                  </a:lnTo>
                  <a:lnTo>
                    <a:pt x="609" y="84"/>
                  </a:lnTo>
                  <a:lnTo>
                    <a:pt x="603" y="81"/>
                  </a:lnTo>
                  <a:lnTo>
                    <a:pt x="592" y="74"/>
                  </a:lnTo>
                  <a:lnTo>
                    <a:pt x="580" y="67"/>
                  </a:lnTo>
                  <a:lnTo>
                    <a:pt x="574" y="64"/>
                  </a:lnTo>
                  <a:lnTo>
                    <a:pt x="572" y="58"/>
                  </a:lnTo>
                  <a:lnTo>
                    <a:pt x="567" y="53"/>
                  </a:lnTo>
                  <a:lnTo>
                    <a:pt x="560" y="47"/>
                  </a:lnTo>
                  <a:lnTo>
                    <a:pt x="555" y="44"/>
                  </a:lnTo>
                  <a:lnTo>
                    <a:pt x="553" y="29"/>
                  </a:lnTo>
                  <a:lnTo>
                    <a:pt x="550" y="15"/>
                  </a:lnTo>
                  <a:lnTo>
                    <a:pt x="545" y="11"/>
                  </a:lnTo>
                  <a:lnTo>
                    <a:pt x="541" y="5"/>
                  </a:lnTo>
                  <a:lnTo>
                    <a:pt x="533" y="5"/>
                  </a:lnTo>
                  <a:lnTo>
                    <a:pt x="525" y="5"/>
                  </a:lnTo>
                  <a:lnTo>
                    <a:pt x="523" y="4"/>
                  </a:lnTo>
                  <a:lnTo>
                    <a:pt x="515" y="3"/>
                  </a:lnTo>
                  <a:lnTo>
                    <a:pt x="505" y="2"/>
                  </a:lnTo>
                  <a:lnTo>
                    <a:pt x="493" y="0"/>
                  </a:lnTo>
                  <a:lnTo>
                    <a:pt x="467" y="0"/>
                  </a:lnTo>
                  <a:lnTo>
                    <a:pt x="452" y="0"/>
                  </a:lnTo>
                  <a:lnTo>
                    <a:pt x="448" y="2"/>
                  </a:lnTo>
                  <a:lnTo>
                    <a:pt x="442" y="6"/>
                  </a:lnTo>
                  <a:lnTo>
                    <a:pt x="435" y="11"/>
                  </a:lnTo>
                  <a:lnTo>
                    <a:pt x="433" y="15"/>
                  </a:lnTo>
                  <a:lnTo>
                    <a:pt x="423" y="15"/>
                  </a:lnTo>
                  <a:lnTo>
                    <a:pt x="420" y="19"/>
                  </a:lnTo>
                  <a:lnTo>
                    <a:pt x="417" y="25"/>
                  </a:lnTo>
                  <a:lnTo>
                    <a:pt x="382" y="3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31" name="Freeform 98"/>
            <p:cNvSpPr>
              <a:spLocks noChangeAspect="1"/>
            </p:cNvSpPr>
            <p:nvPr/>
          </p:nvSpPr>
          <p:spPr bwMode="gray">
            <a:xfrm rot="355651">
              <a:off x="6962303" y="3892550"/>
              <a:ext cx="98390" cy="120300"/>
            </a:xfrm>
            <a:custGeom>
              <a:avLst/>
              <a:gdLst/>
              <a:ahLst/>
              <a:cxnLst>
                <a:cxn ang="0">
                  <a:pos x="114" y="78"/>
                </a:cxn>
                <a:cxn ang="0">
                  <a:pos x="57" y="98"/>
                </a:cxn>
                <a:cxn ang="0">
                  <a:pos x="23" y="108"/>
                </a:cxn>
                <a:cxn ang="0">
                  <a:pos x="12" y="128"/>
                </a:cxn>
                <a:cxn ang="0">
                  <a:pos x="5" y="132"/>
                </a:cxn>
                <a:cxn ang="0">
                  <a:pos x="12" y="175"/>
                </a:cxn>
                <a:cxn ang="0">
                  <a:pos x="31" y="189"/>
                </a:cxn>
                <a:cxn ang="0">
                  <a:pos x="56" y="205"/>
                </a:cxn>
                <a:cxn ang="0">
                  <a:pos x="79" y="223"/>
                </a:cxn>
                <a:cxn ang="0">
                  <a:pos x="90" y="235"/>
                </a:cxn>
                <a:cxn ang="0">
                  <a:pos x="115" y="252"/>
                </a:cxn>
                <a:cxn ang="0">
                  <a:pos x="136" y="272"/>
                </a:cxn>
                <a:cxn ang="0">
                  <a:pos x="161" y="308"/>
                </a:cxn>
                <a:cxn ang="0">
                  <a:pos x="173" y="322"/>
                </a:cxn>
                <a:cxn ang="0">
                  <a:pos x="183" y="343"/>
                </a:cxn>
                <a:cxn ang="0">
                  <a:pos x="192" y="367"/>
                </a:cxn>
                <a:cxn ang="0">
                  <a:pos x="199" y="375"/>
                </a:cxn>
                <a:cxn ang="0">
                  <a:pos x="248" y="390"/>
                </a:cxn>
                <a:cxn ang="0">
                  <a:pos x="271" y="406"/>
                </a:cxn>
                <a:cxn ang="0">
                  <a:pos x="297" y="434"/>
                </a:cxn>
                <a:cxn ang="0">
                  <a:pos x="321" y="466"/>
                </a:cxn>
                <a:cxn ang="0">
                  <a:pos x="348" y="511"/>
                </a:cxn>
                <a:cxn ang="0">
                  <a:pos x="359" y="552"/>
                </a:cxn>
                <a:cxn ang="0">
                  <a:pos x="377" y="595"/>
                </a:cxn>
                <a:cxn ang="0">
                  <a:pos x="388" y="632"/>
                </a:cxn>
                <a:cxn ang="0">
                  <a:pos x="403" y="644"/>
                </a:cxn>
                <a:cxn ang="0">
                  <a:pos x="427" y="672"/>
                </a:cxn>
                <a:cxn ang="0">
                  <a:pos x="432" y="675"/>
                </a:cxn>
                <a:cxn ang="0">
                  <a:pos x="446" y="685"/>
                </a:cxn>
                <a:cxn ang="0">
                  <a:pos x="469" y="698"/>
                </a:cxn>
                <a:cxn ang="0">
                  <a:pos x="473" y="704"/>
                </a:cxn>
                <a:cxn ang="0">
                  <a:pos x="493" y="716"/>
                </a:cxn>
                <a:cxn ang="0">
                  <a:pos x="511" y="736"/>
                </a:cxn>
                <a:cxn ang="0">
                  <a:pos x="529" y="746"/>
                </a:cxn>
                <a:cxn ang="0">
                  <a:pos x="542" y="706"/>
                </a:cxn>
                <a:cxn ang="0">
                  <a:pos x="541" y="619"/>
                </a:cxn>
                <a:cxn ang="0">
                  <a:pos x="523" y="518"/>
                </a:cxn>
                <a:cxn ang="0">
                  <a:pos x="519" y="409"/>
                </a:cxn>
                <a:cxn ang="0">
                  <a:pos x="506" y="331"/>
                </a:cxn>
                <a:cxn ang="0">
                  <a:pos x="475" y="307"/>
                </a:cxn>
                <a:cxn ang="0">
                  <a:pos x="463" y="163"/>
                </a:cxn>
                <a:cxn ang="0">
                  <a:pos x="446" y="144"/>
                </a:cxn>
                <a:cxn ang="0">
                  <a:pos x="415" y="120"/>
                </a:cxn>
                <a:cxn ang="0">
                  <a:pos x="357" y="115"/>
                </a:cxn>
                <a:cxn ang="0">
                  <a:pos x="312" y="97"/>
                </a:cxn>
                <a:cxn ang="0">
                  <a:pos x="300" y="82"/>
                </a:cxn>
                <a:cxn ang="0">
                  <a:pos x="277" y="72"/>
                </a:cxn>
                <a:cxn ang="0">
                  <a:pos x="259" y="61"/>
                </a:cxn>
                <a:cxn ang="0">
                  <a:pos x="229" y="33"/>
                </a:cxn>
                <a:cxn ang="0">
                  <a:pos x="192" y="6"/>
                </a:cxn>
                <a:cxn ang="0">
                  <a:pos x="160" y="1"/>
                </a:cxn>
                <a:cxn ang="0">
                  <a:pos x="125" y="18"/>
                </a:cxn>
                <a:cxn ang="0">
                  <a:pos x="120" y="21"/>
                </a:cxn>
              </a:cxnLst>
              <a:rect l="0" t="0" r="r" b="b"/>
              <a:pathLst>
                <a:path w="547" h="746">
                  <a:moveTo>
                    <a:pt x="114" y="24"/>
                  </a:moveTo>
                  <a:lnTo>
                    <a:pt x="114" y="38"/>
                  </a:lnTo>
                  <a:lnTo>
                    <a:pt x="114" y="51"/>
                  </a:lnTo>
                  <a:lnTo>
                    <a:pt x="114" y="64"/>
                  </a:lnTo>
                  <a:lnTo>
                    <a:pt x="114" y="78"/>
                  </a:lnTo>
                  <a:lnTo>
                    <a:pt x="104" y="82"/>
                  </a:lnTo>
                  <a:lnTo>
                    <a:pt x="93" y="87"/>
                  </a:lnTo>
                  <a:lnTo>
                    <a:pt x="79" y="89"/>
                  </a:lnTo>
                  <a:lnTo>
                    <a:pt x="66" y="90"/>
                  </a:lnTo>
                  <a:lnTo>
                    <a:pt x="57" y="98"/>
                  </a:lnTo>
                  <a:lnTo>
                    <a:pt x="47" y="103"/>
                  </a:lnTo>
                  <a:lnTo>
                    <a:pt x="42" y="106"/>
                  </a:lnTo>
                  <a:lnTo>
                    <a:pt x="37" y="107"/>
                  </a:lnTo>
                  <a:lnTo>
                    <a:pt x="30" y="108"/>
                  </a:lnTo>
                  <a:lnTo>
                    <a:pt x="23" y="108"/>
                  </a:lnTo>
                  <a:lnTo>
                    <a:pt x="18" y="115"/>
                  </a:lnTo>
                  <a:lnTo>
                    <a:pt x="18" y="127"/>
                  </a:lnTo>
                  <a:lnTo>
                    <a:pt x="14" y="127"/>
                  </a:lnTo>
                  <a:lnTo>
                    <a:pt x="12" y="127"/>
                  </a:lnTo>
                  <a:lnTo>
                    <a:pt x="12" y="128"/>
                  </a:lnTo>
                  <a:lnTo>
                    <a:pt x="12" y="129"/>
                  </a:lnTo>
                  <a:lnTo>
                    <a:pt x="12" y="130"/>
                  </a:lnTo>
                  <a:lnTo>
                    <a:pt x="11" y="131"/>
                  </a:lnTo>
                  <a:lnTo>
                    <a:pt x="9" y="132"/>
                  </a:lnTo>
                  <a:lnTo>
                    <a:pt x="5" y="132"/>
                  </a:lnTo>
                  <a:lnTo>
                    <a:pt x="4" y="139"/>
                  </a:lnTo>
                  <a:lnTo>
                    <a:pt x="3" y="148"/>
                  </a:lnTo>
                  <a:lnTo>
                    <a:pt x="1" y="158"/>
                  </a:lnTo>
                  <a:lnTo>
                    <a:pt x="0" y="168"/>
                  </a:lnTo>
                  <a:lnTo>
                    <a:pt x="12" y="175"/>
                  </a:lnTo>
                  <a:lnTo>
                    <a:pt x="23" y="180"/>
                  </a:lnTo>
                  <a:lnTo>
                    <a:pt x="24" y="183"/>
                  </a:lnTo>
                  <a:lnTo>
                    <a:pt x="26" y="185"/>
                  </a:lnTo>
                  <a:lnTo>
                    <a:pt x="28" y="187"/>
                  </a:lnTo>
                  <a:lnTo>
                    <a:pt x="31" y="189"/>
                  </a:lnTo>
                  <a:lnTo>
                    <a:pt x="37" y="192"/>
                  </a:lnTo>
                  <a:lnTo>
                    <a:pt x="42" y="193"/>
                  </a:lnTo>
                  <a:lnTo>
                    <a:pt x="53" y="198"/>
                  </a:lnTo>
                  <a:lnTo>
                    <a:pt x="55" y="202"/>
                  </a:lnTo>
                  <a:lnTo>
                    <a:pt x="56" y="205"/>
                  </a:lnTo>
                  <a:lnTo>
                    <a:pt x="57" y="207"/>
                  </a:lnTo>
                  <a:lnTo>
                    <a:pt x="59" y="211"/>
                  </a:lnTo>
                  <a:lnTo>
                    <a:pt x="66" y="215"/>
                  </a:lnTo>
                  <a:lnTo>
                    <a:pt x="72" y="218"/>
                  </a:lnTo>
                  <a:lnTo>
                    <a:pt x="79" y="223"/>
                  </a:lnTo>
                  <a:lnTo>
                    <a:pt x="85" y="226"/>
                  </a:lnTo>
                  <a:lnTo>
                    <a:pt x="87" y="228"/>
                  </a:lnTo>
                  <a:lnTo>
                    <a:pt x="88" y="231"/>
                  </a:lnTo>
                  <a:lnTo>
                    <a:pt x="89" y="233"/>
                  </a:lnTo>
                  <a:lnTo>
                    <a:pt x="90" y="235"/>
                  </a:lnTo>
                  <a:lnTo>
                    <a:pt x="103" y="235"/>
                  </a:lnTo>
                  <a:lnTo>
                    <a:pt x="103" y="237"/>
                  </a:lnTo>
                  <a:lnTo>
                    <a:pt x="106" y="242"/>
                  </a:lnTo>
                  <a:lnTo>
                    <a:pt x="110" y="247"/>
                  </a:lnTo>
                  <a:lnTo>
                    <a:pt x="115" y="252"/>
                  </a:lnTo>
                  <a:lnTo>
                    <a:pt x="120" y="256"/>
                  </a:lnTo>
                  <a:lnTo>
                    <a:pt x="125" y="261"/>
                  </a:lnTo>
                  <a:lnTo>
                    <a:pt x="129" y="264"/>
                  </a:lnTo>
                  <a:lnTo>
                    <a:pt x="132" y="265"/>
                  </a:lnTo>
                  <a:lnTo>
                    <a:pt x="136" y="272"/>
                  </a:lnTo>
                  <a:lnTo>
                    <a:pt x="144" y="282"/>
                  </a:lnTo>
                  <a:lnTo>
                    <a:pt x="153" y="291"/>
                  </a:lnTo>
                  <a:lnTo>
                    <a:pt x="156" y="294"/>
                  </a:lnTo>
                  <a:lnTo>
                    <a:pt x="156" y="307"/>
                  </a:lnTo>
                  <a:lnTo>
                    <a:pt x="161" y="308"/>
                  </a:lnTo>
                  <a:lnTo>
                    <a:pt x="164" y="311"/>
                  </a:lnTo>
                  <a:lnTo>
                    <a:pt x="167" y="314"/>
                  </a:lnTo>
                  <a:lnTo>
                    <a:pt x="168" y="319"/>
                  </a:lnTo>
                  <a:lnTo>
                    <a:pt x="171" y="320"/>
                  </a:lnTo>
                  <a:lnTo>
                    <a:pt x="173" y="322"/>
                  </a:lnTo>
                  <a:lnTo>
                    <a:pt x="175" y="324"/>
                  </a:lnTo>
                  <a:lnTo>
                    <a:pt x="176" y="329"/>
                  </a:lnTo>
                  <a:lnTo>
                    <a:pt x="180" y="337"/>
                  </a:lnTo>
                  <a:lnTo>
                    <a:pt x="181" y="343"/>
                  </a:lnTo>
                  <a:lnTo>
                    <a:pt x="183" y="343"/>
                  </a:lnTo>
                  <a:lnTo>
                    <a:pt x="185" y="346"/>
                  </a:lnTo>
                  <a:lnTo>
                    <a:pt x="186" y="349"/>
                  </a:lnTo>
                  <a:lnTo>
                    <a:pt x="189" y="352"/>
                  </a:lnTo>
                  <a:lnTo>
                    <a:pt x="191" y="361"/>
                  </a:lnTo>
                  <a:lnTo>
                    <a:pt x="192" y="367"/>
                  </a:lnTo>
                  <a:lnTo>
                    <a:pt x="194" y="367"/>
                  </a:lnTo>
                  <a:lnTo>
                    <a:pt x="195" y="368"/>
                  </a:lnTo>
                  <a:lnTo>
                    <a:pt x="196" y="369"/>
                  </a:lnTo>
                  <a:lnTo>
                    <a:pt x="197" y="371"/>
                  </a:lnTo>
                  <a:lnTo>
                    <a:pt x="199" y="375"/>
                  </a:lnTo>
                  <a:lnTo>
                    <a:pt x="199" y="379"/>
                  </a:lnTo>
                  <a:lnTo>
                    <a:pt x="204" y="385"/>
                  </a:lnTo>
                  <a:lnTo>
                    <a:pt x="219" y="386"/>
                  </a:lnTo>
                  <a:lnTo>
                    <a:pt x="233" y="388"/>
                  </a:lnTo>
                  <a:lnTo>
                    <a:pt x="248" y="390"/>
                  </a:lnTo>
                  <a:lnTo>
                    <a:pt x="259" y="391"/>
                  </a:lnTo>
                  <a:lnTo>
                    <a:pt x="260" y="394"/>
                  </a:lnTo>
                  <a:lnTo>
                    <a:pt x="262" y="397"/>
                  </a:lnTo>
                  <a:lnTo>
                    <a:pt x="267" y="401"/>
                  </a:lnTo>
                  <a:lnTo>
                    <a:pt x="271" y="406"/>
                  </a:lnTo>
                  <a:lnTo>
                    <a:pt x="281" y="413"/>
                  </a:lnTo>
                  <a:lnTo>
                    <a:pt x="289" y="415"/>
                  </a:lnTo>
                  <a:lnTo>
                    <a:pt x="291" y="424"/>
                  </a:lnTo>
                  <a:lnTo>
                    <a:pt x="295" y="433"/>
                  </a:lnTo>
                  <a:lnTo>
                    <a:pt x="297" y="434"/>
                  </a:lnTo>
                  <a:lnTo>
                    <a:pt x="300" y="436"/>
                  </a:lnTo>
                  <a:lnTo>
                    <a:pt x="302" y="439"/>
                  </a:lnTo>
                  <a:lnTo>
                    <a:pt x="306" y="444"/>
                  </a:lnTo>
                  <a:lnTo>
                    <a:pt x="314" y="454"/>
                  </a:lnTo>
                  <a:lnTo>
                    <a:pt x="321" y="466"/>
                  </a:lnTo>
                  <a:lnTo>
                    <a:pt x="328" y="478"/>
                  </a:lnTo>
                  <a:lnTo>
                    <a:pt x="335" y="489"/>
                  </a:lnTo>
                  <a:lnTo>
                    <a:pt x="339" y="496"/>
                  </a:lnTo>
                  <a:lnTo>
                    <a:pt x="343" y="500"/>
                  </a:lnTo>
                  <a:lnTo>
                    <a:pt x="348" y="511"/>
                  </a:lnTo>
                  <a:lnTo>
                    <a:pt x="349" y="519"/>
                  </a:lnTo>
                  <a:lnTo>
                    <a:pt x="350" y="525"/>
                  </a:lnTo>
                  <a:lnTo>
                    <a:pt x="353" y="532"/>
                  </a:lnTo>
                  <a:lnTo>
                    <a:pt x="355" y="539"/>
                  </a:lnTo>
                  <a:lnTo>
                    <a:pt x="359" y="552"/>
                  </a:lnTo>
                  <a:lnTo>
                    <a:pt x="360" y="566"/>
                  </a:lnTo>
                  <a:lnTo>
                    <a:pt x="365" y="569"/>
                  </a:lnTo>
                  <a:lnTo>
                    <a:pt x="369" y="576"/>
                  </a:lnTo>
                  <a:lnTo>
                    <a:pt x="374" y="584"/>
                  </a:lnTo>
                  <a:lnTo>
                    <a:pt x="377" y="595"/>
                  </a:lnTo>
                  <a:lnTo>
                    <a:pt x="381" y="605"/>
                  </a:lnTo>
                  <a:lnTo>
                    <a:pt x="383" y="615"/>
                  </a:lnTo>
                  <a:lnTo>
                    <a:pt x="384" y="624"/>
                  </a:lnTo>
                  <a:lnTo>
                    <a:pt x="385" y="631"/>
                  </a:lnTo>
                  <a:lnTo>
                    <a:pt x="388" y="632"/>
                  </a:lnTo>
                  <a:lnTo>
                    <a:pt x="392" y="634"/>
                  </a:lnTo>
                  <a:lnTo>
                    <a:pt x="394" y="636"/>
                  </a:lnTo>
                  <a:lnTo>
                    <a:pt x="396" y="638"/>
                  </a:lnTo>
                  <a:lnTo>
                    <a:pt x="400" y="641"/>
                  </a:lnTo>
                  <a:lnTo>
                    <a:pt x="403" y="644"/>
                  </a:lnTo>
                  <a:lnTo>
                    <a:pt x="403" y="656"/>
                  </a:lnTo>
                  <a:lnTo>
                    <a:pt x="408" y="661"/>
                  </a:lnTo>
                  <a:lnTo>
                    <a:pt x="421" y="661"/>
                  </a:lnTo>
                  <a:lnTo>
                    <a:pt x="427" y="668"/>
                  </a:lnTo>
                  <a:lnTo>
                    <a:pt x="427" y="672"/>
                  </a:lnTo>
                  <a:lnTo>
                    <a:pt x="427" y="673"/>
                  </a:lnTo>
                  <a:lnTo>
                    <a:pt x="429" y="674"/>
                  </a:lnTo>
                  <a:lnTo>
                    <a:pt x="430" y="674"/>
                  </a:lnTo>
                  <a:lnTo>
                    <a:pt x="431" y="674"/>
                  </a:lnTo>
                  <a:lnTo>
                    <a:pt x="432" y="675"/>
                  </a:lnTo>
                  <a:lnTo>
                    <a:pt x="433" y="676"/>
                  </a:lnTo>
                  <a:lnTo>
                    <a:pt x="433" y="679"/>
                  </a:lnTo>
                  <a:lnTo>
                    <a:pt x="439" y="680"/>
                  </a:lnTo>
                  <a:lnTo>
                    <a:pt x="444" y="684"/>
                  </a:lnTo>
                  <a:lnTo>
                    <a:pt x="446" y="685"/>
                  </a:lnTo>
                  <a:lnTo>
                    <a:pt x="449" y="687"/>
                  </a:lnTo>
                  <a:lnTo>
                    <a:pt x="451" y="689"/>
                  </a:lnTo>
                  <a:lnTo>
                    <a:pt x="451" y="692"/>
                  </a:lnTo>
                  <a:lnTo>
                    <a:pt x="463" y="692"/>
                  </a:lnTo>
                  <a:lnTo>
                    <a:pt x="469" y="698"/>
                  </a:lnTo>
                  <a:lnTo>
                    <a:pt x="469" y="702"/>
                  </a:lnTo>
                  <a:lnTo>
                    <a:pt x="470" y="703"/>
                  </a:lnTo>
                  <a:lnTo>
                    <a:pt x="471" y="704"/>
                  </a:lnTo>
                  <a:lnTo>
                    <a:pt x="472" y="704"/>
                  </a:lnTo>
                  <a:lnTo>
                    <a:pt x="473" y="704"/>
                  </a:lnTo>
                  <a:lnTo>
                    <a:pt x="474" y="705"/>
                  </a:lnTo>
                  <a:lnTo>
                    <a:pt x="474" y="706"/>
                  </a:lnTo>
                  <a:lnTo>
                    <a:pt x="475" y="709"/>
                  </a:lnTo>
                  <a:lnTo>
                    <a:pt x="487" y="709"/>
                  </a:lnTo>
                  <a:lnTo>
                    <a:pt x="493" y="716"/>
                  </a:lnTo>
                  <a:lnTo>
                    <a:pt x="496" y="722"/>
                  </a:lnTo>
                  <a:lnTo>
                    <a:pt x="500" y="727"/>
                  </a:lnTo>
                  <a:lnTo>
                    <a:pt x="506" y="732"/>
                  </a:lnTo>
                  <a:lnTo>
                    <a:pt x="511" y="734"/>
                  </a:lnTo>
                  <a:lnTo>
                    <a:pt x="511" y="736"/>
                  </a:lnTo>
                  <a:lnTo>
                    <a:pt x="513" y="739"/>
                  </a:lnTo>
                  <a:lnTo>
                    <a:pt x="516" y="741"/>
                  </a:lnTo>
                  <a:lnTo>
                    <a:pt x="518" y="742"/>
                  </a:lnTo>
                  <a:lnTo>
                    <a:pt x="523" y="745"/>
                  </a:lnTo>
                  <a:lnTo>
                    <a:pt x="529" y="746"/>
                  </a:lnTo>
                  <a:lnTo>
                    <a:pt x="531" y="742"/>
                  </a:lnTo>
                  <a:lnTo>
                    <a:pt x="536" y="737"/>
                  </a:lnTo>
                  <a:lnTo>
                    <a:pt x="539" y="735"/>
                  </a:lnTo>
                  <a:lnTo>
                    <a:pt x="541" y="734"/>
                  </a:lnTo>
                  <a:lnTo>
                    <a:pt x="542" y="706"/>
                  </a:lnTo>
                  <a:lnTo>
                    <a:pt x="546" y="677"/>
                  </a:lnTo>
                  <a:lnTo>
                    <a:pt x="547" y="663"/>
                  </a:lnTo>
                  <a:lnTo>
                    <a:pt x="546" y="648"/>
                  </a:lnTo>
                  <a:lnTo>
                    <a:pt x="545" y="634"/>
                  </a:lnTo>
                  <a:lnTo>
                    <a:pt x="541" y="619"/>
                  </a:lnTo>
                  <a:lnTo>
                    <a:pt x="538" y="599"/>
                  </a:lnTo>
                  <a:lnTo>
                    <a:pt x="536" y="574"/>
                  </a:lnTo>
                  <a:lnTo>
                    <a:pt x="536" y="550"/>
                  </a:lnTo>
                  <a:lnTo>
                    <a:pt x="536" y="530"/>
                  </a:lnTo>
                  <a:lnTo>
                    <a:pt x="523" y="518"/>
                  </a:lnTo>
                  <a:lnTo>
                    <a:pt x="523" y="499"/>
                  </a:lnTo>
                  <a:lnTo>
                    <a:pt x="522" y="477"/>
                  </a:lnTo>
                  <a:lnTo>
                    <a:pt x="521" y="455"/>
                  </a:lnTo>
                  <a:lnTo>
                    <a:pt x="520" y="433"/>
                  </a:lnTo>
                  <a:lnTo>
                    <a:pt x="519" y="409"/>
                  </a:lnTo>
                  <a:lnTo>
                    <a:pt x="518" y="386"/>
                  </a:lnTo>
                  <a:lnTo>
                    <a:pt x="518" y="364"/>
                  </a:lnTo>
                  <a:lnTo>
                    <a:pt x="517" y="343"/>
                  </a:lnTo>
                  <a:lnTo>
                    <a:pt x="512" y="338"/>
                  </a:lnTo>
                  <a:lnTo>
                    <a:pt x="506" y="331"/>
                  </a:lnTo>
                  <a:lnTo>
                    <a:pt x="501" y="324"/>
                  </a:lnTo>
                  <a:lnTo>
                    <a:pt x="499" y="319"/>
                  </a:lnTo>
                  <a:lnTo>
                    <a:pt x="493" y="313"/>
                  </a:lnTo>
                  <a:lnTo>
                    <a:pt x="484" y="310"/>
                  </a:lnTo>
                  <a:lnTo>
                    <a:pt x="475" y="307"/>
                  </a:lnTo>
                  <a:lnTo>
                    <a:pt x="469" y="301"/>
                  </a:lnTo>
                  <a:lnTo>
                    <a:pt x="468" y="270"/>
                  </a:lnTo>
                  <a:lnTo>
                    <a:pt x="467" y="234"/>
                  </a:lnTo>
                  <a:lnTo>
                    <a:pt x="464" y="197"/>
                  </a:lnTo>
                  <a:lnTo>
                    <a:pt x="463" y="163"/>
                  </a:lnTo>
                  <a:lnTo>
                    <a:pt x="459" y="158"/>
                  </a:lnTo>
                  <a:lnTo>
                    <a:pt x="454" y="154"/>
                  </a:lnTo>
                  <a:lnTo>
                    <a:pt x="452" y="149"/>
                  </a:lnTo>
                  <a:lnTo>
                    <a:pt x="451" y="145"/>
                  </a:lnTo>
                  <a:lnTo>
                    <a:pt x="446" y="144"/>
                  </a:lnTo>
                  <a:lnTo>
                    <a:pt x="441" y="141"/>
                  </a:lnTo>
                  <a:lnTo>
                    <a:pt x="436" y="138"/>
                  </a:lnTo>
                  <a:lnTo>
                    <a:pt x="431" y="135"/>
                  </a:lnTo>
                  <a:lnTo>
                    <a:pt x="422" y="127"/>
                  </a:lnTo>
                  <a:lnTo>
                    <a:pt x="415" y="120"/>
                  </a:lnTo>
                  <a:lnTo>
                    <a:pt x="404" y="120"/>
                  </a:lnTo>
                  <a:lnTo>
                    <a:pt x="391" y="120"/>
                  </a:lnTo>
                  <a:lnTo>
                    <a:pt x="377" y="120"/>
                  </a:lnTo>
                  <a:lnTo>
                    <a:pt x="367" y="120"/>
                  </a:lnTo>
                  <a:lnTo>
                    <a:pt x="357" y="115"/>
                  </a:lnTo>
                  <a:lnTo>
                    <a:pt x="341" y="106"/>
                  </a:lnTo>
                  <a:lnTo>
                    <a:pt x="334" y="102"/>
                  </a:lnTo>
                  <a:lnTo>
                    <a:pt x="326" y="99"/>
                  </a:lnTo>
                  <a:lnTo>
                    <a:pt x="318" y="97"/>
                  </a:lnTo>
                  <a:lnTo>
                    <a:pt x="312" y="97"/>
                  </a:lnTo>
                  <a:lnTo>
                    <a:pt x="311" y="92"/>
                  </a:lnTo>
                  <a:lnTo>
                    <a:pt x="309" y="88"/>
                  </a:lnTo>
                  <a:lnTo>
                    <a:pt x="305" y="86"/>
                  </a:lnTo>
                  <a:lnTo>
                    <a:pt x="300" y="84"/>
                  </a:lnTo>
                  <a:lnTo>
                    <a:pt x="300" y="82"/>
                  </a:lnTo>
                  <a:lnTo>
                    <a:pt x="298" y="80"/>
                  </a:lnTo>
                  <a:lnTo>
                    <a:pt x="295" y="78"/>
                  </a:lnTo>
                  <a:lnTo>
                    <a:pt x="291" y="76"/>
                  </a:lnTo>
                  <a:lnTo>
                    <a:pt x="282" y="73"/>
                  </a:lnTo>
                  <a:lnTo>
                    <a:pt x="277" y="72"/>
                  </a:lnTo>
                  <a:lnTo>
                    <a:pt x="276" y="70"/>
                  </a:lnTo>
                  <a:lnTo>
                    <a:pt x="273" y="68"/>
                  </a:lnTo>
                  <a:lnTo>
                    <a:pt x="270" y="66"/>
                  </a:lnTo>
                  <a:lnTo>
                    <a:pt x="267" y="64"/>
                  </a:lnTo>
                  <a:lnTo>
                    <a:pt x="259" y="61"/>
                  </a:lnTo>
                  <a:lnTo>
                    <a:pt x="252" y="60"/>
                  </a:lnTo>
                  <a:lnTo>
                    <a:pt x="250" y="57"/>
                  </a:lnTo>
                  <a:lnTo>
                    <a:pt x="245" y="50"/>
                  </a:lnTo>
                  <a:lnTo>
                    <a:pt x="238" y="42"/>
                  </a:lnTo>
                  <a:lnTo>
                    <a:pt x="229" y="33"/>
                  </a:lnTo>
                  <a:lnTo>
                    <a:pt x="220" y="24"/>
                  </a:lnTo>
                  <a:lnTo>
                    <a:pt x="212" y="16"/>
                  </a:lnTo>
                  <a:lnTo>
                    <a:pt x="206" y="10"/>
                  </a:lnTo>
                  <a:lnTo>
                    <a:pt x="204" y="6"/>
                  </a:lnTo>
                  <a:lnTo>
                    <a:pt x="192" y="6"/>
                  </a:lnTo>
                  <a:lnTo>
                    <a:pt x="191" y="4"/>
                  </a:lnTo>
                  <a:lnTo>
                    <a:pt x="186" y="3"/>
                  </a:lnTo>
                  <a:lnTo>
                    <a:pt x="181" y="2"/>
                  </a:lnTo>
                  <a:lnTo>
                    <a:pt x="174" y="1"/>
                  </a:lnTo>
                  <a:lnTo>
                    <a:pt x="160" y="1"/>
                  </a:lnTo>
                  <a:lnTo>
                    <a:pt x="151" y="0"/>
                  </a:lnTo>
                  <a:lnTo>
                    <a:pt x="141" y="6"/>
                  </a:lnTo>
                  <a:lnTo>
                    <a:pt x="126" y="12"/>
                  </a:lnTo>
                  <a:lnTo>
                    <a:pt x="126" y="15"/>
                  </a:lnTo>
                  <a:lnTo>
                    <a:pt x="125" y="18"/>
                  </a:lnTo>
                  <a:lnTo>
                    <a:pt x="124" y="19"/>
                  </a:lnTo>
                  <a:lnTo>
                    <a:pt x="123" y="19"/>
                  </a:lnTo>
                  <a:lnTo>
                    <a:pt x="122" y="19"/>
                  </a:lnTo>
                  <a:lnTo>
                    <a:pt x="122" y="19"/>
                  </a:lnTo>
                  <a:lnTo>
                    <a:pt x="120" y="21"/>
                  </a:lnTo>
                  <a:lnTo>
                    <a:pt x="120" y="24"/>
                  </a:lnTo>
                  <a:lnTo>
                    <a:pt x="114" y="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32" name="Freeform 99"/>
            <p:cNvSpPr>
              <a:spLocks noChangeAspect="1"/>
            </p:cNvSpPr>
            <p:nvPr/>
          </p:nvSpPr>
          <p:spPr bwMode="gray">
            <a:xfrm rot="355651">
              <a:off x="7409819" y="3238500"/>
              <a:ext cx="261314" cy="186307"/>
            </a:xfrm>
            <a:custGeom>
              <a:avLst/>
              <a:gdLst/>
              <a:ahLst/>
              <a:cxnLst>
                <a:cxn ang="0">
                  <a:pos x="591" y="112"/>
                </a:cxn>
                <a:cxn ang="0">
                  <a:pos x="535" y="179"/>
                </a:cxn>
                <a:cxn ang="0">
                  <a:pos x="430" y="257"/>
                </a:cxn>
                <a:cxn ang="0">
                  <a:pos x="228" y="350"/>
                </a:cxn>
                <a:cxn ang="0">
                  <a:pos x="66" y="407"/>
                </a:cxn>
                <a:cxn ang="0">
                  <a:pos x="10" y="445"/>
                </a:cxn>
                <a:cxn ang="0">
                  <a:pos x="0" y="477"/>
                </a:cxn>
                <a:cxn ang="0">
                  <a:pos x="13" y="516"/>
                </a:cxn>
                <a:cxn ang="0">
                  <a:pos x="110" y="648"/>
                </a:cxn>
                <a:cxn ang="0">
                  <a:pos x="192" y="730"/>
                </a:cxn>
                <a:cxn ang="0">
                  <a:pos x="294" y="807"/>
                </a:cxn>
                <a:cxn ang="0">
                  <a:pos x="389" y="829"/>
                </a:cxn>
                <a:cxn ang="0">
                  <a:pos x="475" y="781"/>
                </a:cxn>
                <a:cxn ang="0">
                  <a:pos x="596" y="639"/>
                </a:cxn>
                <a:cxn ang="0">
                  <a:pos x="681" y="548"/>
                </a:cxn>
                <a:cxn ang="0">
                  <a:pos x="749" y="526"/>
                </a:cxn>
                <a:cxn ang="0">
                  <a:pos x="802" y="564"/>
                </a:cxn>
                <a:cxn ang="0">
                  <a:pos x="813" y="602"/>
                </a:cxn>
                <a:cxn ang="0">
                  <a:pos x="803" y="638"/>
                </a:cxn>
                <a:cxn ang="0">
                  <a:pos x="746" y="705"/>
                </a:cxn>
                <a:cxn ang="0">
                  <a:pos x="679" y="743"/>
                </a:cxn>
                <a:cxn ang="0">
                  <a:pos x="593" y="791"/>
                </a:cxn>
                <a:cxn ang="0">
                  <a:pos x="553" y="844"/>
                </a:cxn>
                <a:cxn ang="0">
                  <a:pos x="556" y="915"/>
                </a:cxn>
                <a:cxn ang="0">
                  <a:pos x="575" y="945"/>
                </a:cxn>
                <a:cxn ang="0">
                  <a:pos x="629" y="1004"/>
                </a:cxn>
                <a:cxn ang="0">
                  <a:pos x="650" y="1049"/>
                </a:cxn>
                <a:cxn ang="0">
                  <a:pos x="681" y="1055"/>
                </a:cxn>
                <a:cxn ang="0">
                  <a:pos x="752" y="1026"/>
                </a:cxn>
                <a:cxn ang="0">
                  <a:pos x="829" y="1001"/>
                </a:cxn>
                <a:cxn ang="0">
                  <a:pos x="878" y="1016"/>
                </a:cxn>
                <a:cxn ang="0">
                  <a:pos x="910" y="1075"/>
                </a:cxn>
                <a:cxn ang="0">
                  <a:pos x="947" y="1119"/>
                </a:cxn>
                <a:cxn ang="0">
                  <a:pos x="1005" y="1145"/>
                </a:cxn>
                <a:cxn ang="0">
                  <a:pos x="1139" y="1160"/>
                </a:cxn>
                <a:cxn ang="0">
                  <a:pos x="1338" y="1139"/>
                </a:cxn>
                <a:cxn ang="0">
                  <a:pos x="1373" y="1123"/>
                </a:cxn>
                <a:cxn ang="0">
                  <a:pos x="1395" y="1117"/>
                </a:cxn>
                <a:cxn ang="0">
                  <a:pos x="1384" y="1038"/>
                </a:cxn>
                <a:cxn ang="0">
                  <a:pos x="1359" y="978"/>
                </a:cxn>
                <a:cxn ang="0">
                  <a:pos x="1305" y="922"/>
                </a:cxn>
                <a:cxn ang="0">
                  <a:pos x="1178" y="850"/>
                </a:cxn>
                <a:cxn ang="0">
                  <a:pos x="1136" y="823"/>
                </a:cxn>
                <a:cxn ang="0">
                  <a:pos x="1115" y="796"/>
                </a:cxn>
                <a:cxn ang="0">
                  <a:pos x="1195" y="778"/>
                </a:cxn>
                <a:cxn ang="0">
                  <a:pos x="1420" y="768"/>
                </a:cxn>
                <a:cxn ang="0">
                  <a:pos x="1389" y="718"/>
                </a:cxn>
                <a:cxn ang="0">
                  <a:pos x="1273" y="624"/>
                </a:cxn>
                <a:cxn ang="0">
                  <a:pos x="1188" y="543"/>
                </a:cxn>
                <a:cxn ang="0">
                  <a:pos x="1144" y="444"/>
                </a:cxn>
                <a:cxn ang="0">
                  <a:pos x="1101" y="368"/>
                </a:cxn>
                <a:cxn ang="0">
                  <a:pos x="1041" y="325"/>
                </a:cxn>
                <a:cxn ang="0">
                  <a:pos x="1019" y="287"/>
                </a:cxn>
                <a:cxn ang="0">
                  <a:pos x="1002" y="138"/>
                </a:cxn>
                <a:cxn ang="0">
                  <a:pos x="979" y="70"/>
                </a:cxn>
                <a:cxn ang="0">
                  <a:pos x="937" y="35"/>
                </a:cxn>
                <a:cxn ang="0">
                  <a:pos x="811" y="30"/>
                </a:cxn>
                <a:cxn ang="0">
                  <a:pos x="740" y="19"/>
                </a:cxn>
                <a:cxn ang="0">
                  <a:pos x="691" y="0"/>
                </a:cxn>
                <a:cxn ang="0">
                  <a:pos x="658" y="18"/>
                </a:cxn>
                <a:cxn ang="0">
                  <a:pos x="626" y="37"/>
                </a:cxn>
              </a:cxnLst>
              <a:rect l="0" t="0" r="r" b="b"/>
              <a:pathLst>
                <a:path w="1421" h="1160">
                  <a:moveTo>
                    <a:pt x="619" y="50"/>
                  </a:moveTo>
                  <a:lnTo>
                    <a:pt x="613" y="66"/>
                  </a:lnTo>
                  <a:lnTo>
                    <a:pt x="608" y="81"/>
                  </a:lnTo>
                  <a:lnTo>
                    <a:pt x="600" y="97"/>
                  </a:lnTo>
                  <a:lnTo>
                    <a:pt x="591" y="112"/>
                  </a:lnTo>
                  <a:lnTo>
                    <a:pt x="582" y="126"/>
                  </a:lnTo>
                  <a:lnTo>
                    <a:pt x="572" y="139"/>
                  </a:lnTo>
                  <a:lnTo>
                    <a:pt x="561" y="153"/>
                  </a:lnTo>
                  <a:lnTo>
                    <a:pt x="548" y="166"/>
                  </a:lnTo>
                  <a:lnTo>
                    <a:pt x="535" y="179"/>
                  </a:lnTo>
                  <a:lnTo>
                    <a:pt x="522" y="191"/>
                  </a:lnTo>
                  <a:lnTo>
                    <a:pt x="508" y="203"/>
                  </a:lnTo>
                  <a:lnTo>
                    <a:pt x="494" y="214"/>
                  </a:lnTo>
                  <a:lnTo>
                    <a:pt x="462" y="237"/>
                  </a:lnTo>
                  <a:lnTo>
                    <a:pt x="430" y="257"/>
                  </a:lnTo>
                  <a:lnTo>
                    <a:pt x="397" y="276"/>
                  </a:lnTo>
                  <a:lnTo>
                    <a:pt x="362" y="293"/>
                  </a:lnTo>
                  <a:lnTo>
                    <a:pt x="328" y="309"/>
                  </a:lnTo>
                  <a:lnTo>
                    <a:pt x="294" y="325"/>
                  </a:lnTo>
                  <a:lnTo>
                    <a:pt x="228" y="350"/>
                  </a:lnTo>
                  <a:lnTo>
                    <a:pt x="168" y="373"/>
                  </a:lnTo>
                  <a:lnTo>
                    <a:pt x="134" y="384"/>
                  </a:lnTo>
                  <a:lnTo>
                    <a:pt x="100" y="395"/>
                  </a:lnTo>
                  <a:lnTo>
                    <a:pt x="83" y="401"/>
                  </a:lnTo>
                  <a:lnTo>
                    <a:pt x="66" y="407"/>
                  </a:lnTo>
                  <a:lnTo>
                    <a:pt x="50" y="414"/>
                  </a:lnTo>
                  <a:lnTo>
                    <a:pt x="37" y="422"/>
                  </a:lnTo>
                  <a:lnTo>
                    <a:pt x="25" y="431"/>
                  </a:lnTo>
                  <a:lnTo>
                    <a:pt x="15" y="441"/>
                  </a:lnTo>
                  <a:lnTo>
                    <a:pt x="10" y="445"/>
                  </a:lnTo>
                  <a:lnTo>
                    <a:pt x="7" y="451"/>
                  </a:lnTo>
                  <a:lnTo>
                    <a:pt x="4" y="456"/>
                  </a:lnTo>
                  <a:lnTo>
                    <a:pt x="1" y="463"/>
                  </a:lnTo>
                  <a:lnTo>
                    <a:pt x="0" y="470"/>
                  </a:lnTo>
                  <a:lnTo>
                    <a:pt x="0" y="477"/>
                  </a:lnTo>
                  <a:lnTo>
                    <a:pt x="0" y="483"/>
                  </a:lnTo>
                  <a:lnTo>
                    <a:pt x="2" y="491"/>
                  </a:lnTo>
                  <a:lnTo>
                    <a:pt x="5" y="499"/>
                  </a:lnTo>
                  <a:lnTo>
                    <a:pt x="8" y="508"/>
                  </a:lnTo>
                  <a:lnTo>
                    <a:pt x="13" y="516"/>
                  </a:lnTo>
                  <a:lnTo>
                    <a:pt x="18" y="526"/>
                  </a:lnTo>
                  <a:lnTo>
                    <a:pt x="49" y="570"/>
                  </a:lnTo>
                  <a:lnTo>
                    <a:pt x="80" y="610"/>
                  </a:lnTo>
                  <a:lnTo>
                    <a:pt x="95" y="629"/>
                  </a:lnTo>
                  <a:lnTo>
                    <a:pt x="110" y="648"/>
                  </a:lnTo>
                  <a:lnTo>
                    <a:pt x="125" y="665"/>
                  </a:lnTo>
                  <a:lnTo>
                    <a:pt x="142" y="682"/>
                  </a:lnTo>
                  <a:lnTo>
                    <a:pt x="158" y="699"/>
                  </a:lnTo>
                  <a:lnTo>
                    <a:pt x="174" y="714"/>
                  </a:lnTo>
                  <a:lnTo>
                    <a:pt x="192" y="730"/>
                  </a:lnTo>
                  <a:lnTo>
                    <a:pt x="210" y="745"/>
                  </a:lnTo>
                  <a:lnTo>
                    <a:pt x="230" y="761"/>
                  </a:lnTo>
                  <a:lnTo>
                    <a:pt x="250" y="776"/>
                  </a:lnTo>
                  <a:lnTo>
                    <a:pt x="272" y="791"/>
                  </a:lnTo>
                  <a:lnTo>
                    <a:pt x="294" y="807"/>
                  </a:lnTo>
                  <a:lnTo>
                    <a:pt x="314" y="818"/>
                  </a:lnTo>
                  <a:lnTo>
                    <a:pt x="333" y="826"/>
                  </a:lnTo>
                  <a:lnTo>
                    <a:pt x="352" y="830"/>
                  </a:lnTo>
                  <a:lnTo>
                    <a:pt x="371" y="831"/>
                  </a:lnTo>
                  <a:lnTo>
                    <a:pt x="389" y="829"/>
                  </a:lnTo>
                  <a:lnTo>
                    <a:pt x="407" y="824"/>
                  </a:lnTo>
                  <a:lnTo>
                    <a:pt x="424" y="817"/>
                  </a:lnTo>
                  <a:lnTo>
                    <a:pt x="441" y="807"/>
                  </a:lnTo>
                  <a:lnTo>
                    <a:pt x="458" y="795"/>
                  </a:lnTo>
                  <a:lnTo>
                    <a:pt x="475" y="781"/>
                  </a:lnTo>
                  <a:lnTo>
                    <a:pt x="491" y="767"/>
                  </a:lnTo>
                  <a:lnTo>
                    <a:pt x="507" y="750"/>
                  </a:lnTo>
                  <a:lnTo>
                    <a:pt x="537" y="714"/>
                  </a:lnTo>
                  <a:lnTo>
                    <a:pt x="567" y="677"/>
                  </a:lnTo>
                  <a:lnTo>
                    <a:pt x="596" y="639"/>
                  </a:lnTo>
                  <a:lnTo>
                    <a:pt x="625" y="605"/>
                  </a:lnTo>
                  <a:lnTo>
                    <a:pt x="640" y="588"/>
                  </a:lnTo>
                  <a:lnTo>
                    <a:pt x="653" y="574"/>
                  </a:lnTo>
                  <a:lnTo>
                    <a:pt x="668" y="560"/>
                  </a:lnTo>
                  <a:lnTo>
                    <a:pt x="681" y="548"/>
                  </a:lnTo>
                  <a:lnTo>
                    <a:pt x="695" y="539"/>
                  </a:lnTo>
                  <a:lnTo>
                    <a:pt x="708" y="531"/>
                  </a:lnTo>
                  <a:lnTo>
                    <a:pt x="723" y="527"/>
                  </a:lnTo>
                  <a:lnTo>
                    <a:pt x="736" y="525"/>
                  </a:lnTo>
                  <a:lnTo>
                    <a:pt x="749" y="526"/>
                  </a:lnTo>
                  <a:lnTo>
                    <a:pt x="763" y="530"/>
                  </a:lnTo>
                  <a:lnTo>
                    <a:pt x="777" y="538"/>
                  </a:lnTo>
                  <a:lnTo>
                    <a:pt x="791" y="550"/>
                  </a:lnTo>
                  <a:lnTo>
                    <a:pt x="797" y="557"/>
                  </a:lnTo>
                  <a:lnTo>
                    <a:pt x="802" y="564"/>
                  </a:lnTo>
                  <a:lnTo>
                    <a:pt x="806" y="571"/>
                  </a:lnTo>
                  <a:lnTo>
                    <a:pt x="810" y="578"/>
                  </a:lnTo>
                  <a:lnTo>
                    <a:pt x="812" y="586"/>
                  </a:lnTo>
                  <a:lnTo>
                    <a:pt x="813" y="594"/>
                  </a:lnTo>
                  <a:lnTo>
                    <a:pt x="813" y="602"/>
                  </a:lnTo>
                  <a:lnTo>
                    <a:pt x="813" y="608"/>
                  </a:lnTo>
                  <a:lnTo>
                    <a:pt x="812" y="616"/>
                  </a:lnTo>
                  <a:lnTo>
                    <a:pt x="810" y="624"/>
                  </a:lnTo>
                  <a:lnTo>
                    <a:pt x="806" y="632"/>
                  </a:lnTo>
                  <a:lnTo>
                    <a:pt x="803" y="638"/>
                  </a:lnTo>
                  <a:lnTo>
                    <a:pt x="795" y="653"/>
                  </a:lnTo>
                  <a:lnTo>
                    <a:pt x="785" y="667"/>
                  </a:lnTo>
                  <a:lnTo>
                    <a:pt x="773" y="681"/>
                  </a:lnTo>
                  <a:lnTo>
                    <a:pt x="759" y="693"/>
                  </a:lnTo>
                  <a:lnTo>
                    <a:pt x="746" y="705"/>
                  </a:lnTo>
                  <a:lnTo>
                    <a:pt x="731" y="715"/>
                  </a:lnTo>
                  <a:lnTo>
                    <a:pt x="718" y="725"/>
                  </a:lnTo>
                  <a:lnTo>
                    <a:pt x="704" y="733"/>
                  </a:lnTo>
                  <a:lnTo>
                    <a:pt x="690" y="739"/>
                  </a:lnTo>
                  <a:lnTo>
                    <a:pt x="679" y="743"/>
                  </a:lnTo>
                  <a:lnTo>
                    <a:pt x="660" y="751"/>
                  </a:lnTo>
                  <a:lnTo>
                    <a:pt x="641" y="759"/>
                  </a:lnTo>
                  <a:lnTo>
                    <a:pt x="624" y="769"/>
                  </a:lnTo>
                  <a:lnTo>
                    <a:pt x="608" y="779"/>
                  </a:lnTo>
                  <a:lnTo>
                    <a:pt x="593" y="791"/>
                  </a:lnTo>
                  <a:lnTo>
                    <a:pt x="580" y="805"/>
                  </a:lnTo>
                  <a:lnTo>
                    <a:pt x="566" y="819"/>
                  </a:lnTo>
                  <a:lnTo>
                    <a:pt x="556" y="834"/>
                  </a:lnTo>
                  <a:lnTo>
                    <a:pt x="554" y="838"/>
                  </a:lnTo>
                  <a:lnTo>
                    <a:pt x="553" y="844"/>
                  </a:lnTo>
                  <a:lnTo>
                    <a:pt x="552" y="850"/>
                  </a:lnTo>
                  <a:lnTo>
                    <a:pt x="551" y="858"/>
                  </a:lnTo>
                  <a:lnTo>
                    <a:pt x="552" y="876"/>
                  </a:lnTo>
                  <a:lnTo>
                    <a:pt x="553" y="896"/>
                  </a:lnTo>
                  <a:lnTo>
                    <a:pt x="556" y="915"/>
                  </a:lnTo>
                  <a:lnTo>
                    <a:pt x="561" y="931"/>
                  </a:lnTo>
                  <a:lnTo>
                    <a:pt x="564" y="936"/>
                  </a:lnTo>
                  <a:lnTo>
                    <a:pt x="567" y="942"/>
                  </a:lnTo>
                  <a:lnTo>
                    <a:pt x="571" y="944"/>
                  </a:lnTo>
                  <a:lnTo>
                    <a:pt x="575" y="945"/>
                  </a:lnTo>
                  <a:lnTo>
                    <a:pt x="577" y="950"/>
                  </a:lnTo>
                  <a:lnTo>
                    <a:pt x="585" y="959"/>
                  </a:lnTo>
                  <a:lnTo>
                    <a:pt x="595" y="970"/>
                  </a:lnTo>
                  <a:lnTo>
                    <a:pt x="606" y="982"/>
                  </a:lnTo>
                  <a:lnTo>
                    <a:pt x="629" y="1004"/>
                  </a:lnTo>
                  <a:lnTo>
                    <a:pt x="640" y="1014"/>
                  </a:lnTo>
                  <a:lnTo>
                    <a:pt x="641" y="1026"/>
                  </a:lnTo>
                  <a:lnTo>
                    <a:pt x="643" y="1036"/>
                  </a:lnTo>
                  <a:lnTo>
                    <a:pt x="645" y="1043"/>
                  </a:lnTo>
                  <a:lnTo>
                    <a:pt x="650" y="1049"/>
                  </a:lnTo>
                  <a:lnTo>
                    <a:pt x="654" y="1054"/>
                  </a:lnTo>
                  <a:lnTo>
                    <a:pt x="660" y="1056"/>
                  </a:lnTo>
                  <a:lnTo>
                    <a:pt x="667" y="1057"/>
                  </a:lnTo>
                  <a:lnTo>
                    <a:pt x="673" y="1057"/>
                  </a:lnTo>
                  <a:lnTo>
                    <a:pt x="681" y="1055"/>
                  </a:lnTo>
                  <a:lnTo>
                    <a:pt x="690" y="1052"/>
                  </a:lnTo>
                  <a:lnTo>
                    <a:pt x="699" y="1049"/>
                  </a:lnTo>
                  <a:lnTo>
                    <a:pt x="709" y="1045"/>
                  </a:lnTo>
                  <a:lnTo>
                    <a:pt x="729" y="1036"/>
                  </a:lnTo>
                  <a:lnTo>
                    <a:pt x="752" y="1026"/>
                  </a:lnTo>
                  <a:lnTo>
                    <a:pt x="774" y="1016"/>
                  </a:lnTo>
                  <a:lnTo>
                    <a:pt x="796" y="1007"/>
                  </a:lnTo>
                  <a:lnTo>
                    <a:pt x="807" y="1004"/>
                  </a:lnTo>
                  <a:lnTo>
                    <a:pt x="819" y="1002"/>
                  </a:lnTo>
                  <a:lnTo>
                    <a:pt x="829" y="1001"/>
                  </a:lnTo>
                  <a:lnTo>
                    <a:pt x="840" y="1001"/>
                  </a:lnTo>
                  <a:lnTo>
                    <a:pt x="850" y="1002"/>
                  </a:lnTo>
                  <a:lnTo>
                    <a:pt x="859" y="1004"/>
                  </a:lnTo>
                  <a:lnTo>
                    <a:pt x="869" y="1010"/>
                  </a:lnTo>
                  <a:lnTo>
                    <a:pt x="878" y="1016"/>
                  </a:lnTo>
                  <a:lnTo>
                    <a:pt x="885" y="1025"/>
                  </a:lnTo>
                  <a:lnTo>
                    <a:pt x="892" y="1035"/>
                  </a:lnTo>
                  <a:lnTo>
                    <a:pt x="899" y="1048"/>
                  </a:lnTo>
                  <a:lnTo>
                    <a:pt x="906" y="1064"/>
                  </a:lnTo>
                  <a:lnTo>
                    <a:pt x="910" y="1075"/>
                  </a:lnTo>
                  <a:lnTo>
                    <a:pt x="916" y="1085"/>
                  </a:lnTo>
                  <a:lnTo>
                    <a:pt x="921" y="1095"/>
                  </a:lnTo>
                  <a:lnTo>
                    <a:pt x="929" y="1104"/>
                  </a:lnTo>
                  <a:lnTo>
                    <a:pt x="938" y="1112"/>
                  </a:lnTo>
                  <a:lnTo>
                    <a:pt x="947" y="1119"/>
                  </a:lnTo>
                  <a:lnTo>
                    <a:pt x="957" y="1126"/>
                  </a:lnTo>
                  <a:lnTo>
                    <a:pt x="968" y="1132"/>
                  </a:lnTo>
                  <a:lnTo>
                    <a:pt x="979" y="1137"/>
                  </a:lnTo>
                  <a:lnTo>
                    <a:pt x="992" y="1142"/>
                  </a:lnTo>
                  <a:lnTo>
                    <a:pt x="1005" y="1145"/>
                  </a:lnTo>
                  <a:lnTo>
                    <a:pt x="1018" y="1148"/>
                  </a:lnTo>
                  <a:lnTo>
                    <a:pt x="1046" y="1154"/>
                  </a:lnTo>
                  <a:lnTo>
                    <a:pt x="1076" y="1157"/>
                  </a:lnTo>
                  <a:lnTo>
                    <a:pt x="1108" y="1160"/>
                  </a:lnTo>
                  <a:lnTo>
                    <a:pt x="1139" y="1160"/>
                  </a:lnTo>
                  <a:lnTo>
                    <a:pt x="1171" y="1158"/>
                  </a:lnTo>
                  <a:lnTo>
                    <a:pt x="1204" y="1156"/>
                  </a:lnTo>
                  <a:lnTo>
                    <a:pt x="1267" y="1150"/>
                  </a:lnTo>
                  <a:lnTo>
                    <a:pt x="1326" y="1142"/>
                  </a:lnTo>
                  <a:lnTo>
                    <a:pt x="1338" y="1139"/>
                  </a:lnTo>
                  <a:lnTo>
                    <a:pt x="1347" y="1137"/>
                  </a:lnTo>
                  <a:lnTo>
                    <a:pt x="1354" y="1133"/>
                  </a:lnTo>
                  <a:lnTo>
                    <a:pt x="1361" y="1129"/>
                  </a:lnTo>
                  <a:lnTo>
                    <a:pt x="1367" y="1126"/>
                  </a:lnTo>
                  <a:lnTo>
                    <a:pt x="1373" y="1123"/>
                  </a:lnTo>
                  <a:lnTo>
                    <a:pt x="1380" y="1122"/>
                  </a:lnTo>
                  <a:lnTo>
                    <a:pt x="1389" y="1120"/>
                  </a:lnTo>
                  <a:lnTo>
                    <a:pt x="1389" y="1118"/>
                  </a:lnTo>
                  <a:lnTo>
                    <a:pt x="1391" y="1118"/>
                  </a:lnTo>
                  <a:lnTo>
                    <a:pt x="1395" y="1117"/>
                  </a:lnTo>
                  <a:lnTo>
                    <a:pt x="1397" y="1117"/>
                  </a:lnTo>
                  <a:lnTo>
                    <a:pt x="1396" y="1103"/>
                  </a:lnTo>
                  <a:lnTo>
                    <a:pt x="1395" y="1084"/>
                  </a:lnTo>
                  <a:lnTo>
                    <a:pt x="1390" y="1061"/>
                  </a:lnTo>
                  <a:lnTo>
                    <a:pt x="1384" y="1038"/>
                  </a:lnTo>
                  <a:lnTo>
                    <a:pt x="1381" y="1026"/>
                  </a:lnTo>
                  <a:lnTo>
                    <a:pt x="1377" y="1013"/>
                  </a:lnTo>
                  <a:lnTo>
                    <a:pt x="1371" y="1001"/>
                  </a:lnTo>
                  <a:lnTo>
                    <a:pt x="1365" y="989"/>
                  </a:lnTo>
                  <a:lnTo>
                    <a:pt x="1359" y="978"/>
                  </a:lnTo>
                  <a:lnTo>
                    <a:pt x="1352" y="966"/>
                  </a:lnTo>
                  <a:lnTo>
                    <a:pt x="1344" y="956"/>
                  </a:lnTo>
                  <a:lnTo>
                    <a:pt x="1335" y="946"/>
                  </a:lnTo>
                  <a:lnTo>
                    <a:pt x="1320" y="934"/>
                  </a:lnTo>
                  <a:lnTo>
                    <a:pt x="1305" y="922"/>
                  </a:lnTo>
                  <a:lnTo>
                    <a:pt x="1288" y="910"/>
                  </a:lnTo>
                  <a:lnTo>
                    <a:pt x="1272" y="900"/>
                  </a:lnTo>
                  <a:lnTo>
                    <a:pt x="1238" y="881"/>
                  </a:lnTo>
                  <a:lnTo>
                    <a:pt x="1207" y="864"/>
                  </a:lnTo>
                  <a:lnTo>
                    <a:pt x="1178" y="850"/>
                  </a:lnTo>
                  <a:lnTo>
                    <a:pt x="1156" y="838"/>
                  </a:lnTo>
                  <a:lnTo>
                    <a:pt x="1147" y="833"/>
                  </a:lnTo>
                  <a:lnTo>
                    <a:pt x="1140" y="827"/>
                  </a:lnTo>
                  <a:lnTo>
                    <a:pt x="1138" y="825"/>
                  </a:lnTo>
                  <a:lnTo>
                    <a:pt x="1136" y="823"/>
                  </a:lnTo>
                  <a:lnTo>
                    <a:pt x="1134" y="820"/>
                  </a:lnTo>
                  <a:lnTo>
                    <a:pt x="1134" y="817"/>
                  </a:lnTo>
                  <a:lnTo>
                    <a:pt x="1124" y="810"/>
                  </a:lnTo>
                  <a:lnTo>
                    <a:pt x="1115" y="804"/>
                  </a:lnTo>
                  <a:lnTo>
                    <a:pt x="1115" y="796"/>
                  </a:lnTo>
                  <a:lnTo>
                    <a:pt x="1130" y="795"/>
                  </a:lnTo>
                  <a:lnTo>
                    <a:pt x="1146" y="791"/>
                  </a:lnTo>
                  <a:lnTo>
                    <a:pt x="1161" y="787"/>
                  </a:lnTo>
                  <a:lnTo>
                    <a:pt x="1178" y="782"/>
                  </a:lnTo>
                  <a:lnTo>
                    <a:pt x="1195" y="778"/>
                  </a:lnTo>
                  <a:lnTo>
                    <a:pt x="1211" y="773"/>
                  </a:lnTo>
                  <a:lnTo>
                    <a:pt x="1229" y="771"/>
                  </a:lnTo>
                  <a:lnTo>
                    <a:pt x="1246" y="771"/>
                  </a:lnTo>
                  <a:lnTo>
                    <a:pt x="1421" y="773"/>
                  </a:lnTo>
                  <a:lnTo>
                    <a:pt x="1420" y="768"/>
                  </a:lnTo>
                  <a:lnTo>
                    <a:pt x="1419" y="761"/>
                  </a:lnTo>
                  <a:lnTo>
                    <a:pt x="1416" y="753"/>
                  </a:lnTo>
                  <a:lnTo>
                    <a:pt x="1412" y="747"/>
                  </a:lnTo>
                  <a:lnTo>
                    <a:pt x="1402" y="733"/>
                  </a:lnTo>
                  <a:lnTo>
                    <a:pt x="1389" y="718"/>
                  </a:lnTo>
                  <a:lnTo>
                    <a:pt x="1373" y="703"/>
                  </a:lnTo>
                  <a:lnTo>
                    <a:pt x="1355" y="687"/>
                  </a:lnTo>
                  <a:lnTo>
                    <a:pt x="1335" y="672"/>
                  </a:lnTo>
                  <a:lnTo>
                    <a:pt x="1315" y="656"/>
                  </a:lnTo>
                  <a:lnTo>
                    <a:pt x="1273" y="624"/>
                  </a:lnTo>
                  <a:lnTo>
                    <a:pt x="1234" y="591"/>
                  </a:lnTo>
                  <a:lnTo>
                    <a:pt x="1216" y="576"/>
                  </a:lnTo>
                  <a:lnTo>
                    <a:pt x="1200" y="559"/>
                  </a:lnTo>
                  <a:lnTo>
                    <a:pt x="1194" y="551"/>
                  </a:lnTo>
                  <a:lnTo>
                    <a:pt x="1188" y="543"/>
                  </a:lnTo>
                  <a:lnTo>
                    <a:pt x="1182" y="536"/>
                  </a:lnTo>
                  <a:lnTo>
                    <a:pt x="1178" y="528"/>
                  </a:lnTo>
                  <a:lnTo>
                    <a:pt x="1166" y="500"/>
                  </a:lnTo>
                  <a:lnTo>
                    <a:pt x="1155" y="471"/>
                  </a:lnTo>
                  <a:lnTo>
                    <a:pt x="1144" y="444"/>
                  </a:lnTo>
                  <a:lnTo>
                    <a:pt x="1133" y="417"/>
                  </a:lnTo>
                  <a:lnTo>
                    <a:pt x="1127" y="404"/>
                  </a:lnTo>
                  <a:lnTo>
                    <a:pt x="1120" y="392"/>
                  </a:lnTo>
                  <a:lnTo>
                    <a:pt x="1111" y="381"/>
                  </a:lnTo>
                  <a:lnTo>
                    <a:pt x="1101" y="368"/>
                  </a:lnTo>
                  <a:lnTo>
                    <a:pt x="1091" y="358"/>
                  </a:lnTo>
                  <a:lnTo>
                    <a:pt x="1077" y="347"/>
                  </a:lnTo>
                  <a:lnTo>
                    <a:pt x="1063" y="338"/>
                  </a:lnTo>
                  <a:lnTo>
                    <a:pt x="1047" y="329"/>
                  </a:lnTo>
                  <a:lnTo>
                    <a:pt x="1041" y="325"/>
                  </a:lnTo>
                  <a:lnTo>
                    <a:pt x="1035" y="319"/>
                  </a:lnTo>
                  <a:lnTo>
                    <a:pt x="1029" y="312"/>
                  </a:lnTo>
                  <a:lnTo>
                    <a:pt x="1025" y="305"/>
                  </a:lnTo>
                  <a:lnTo>
                    <a:pt x="1022" y="297"/>
                  </a:lnTo>
                  <a:lnTo>
                    <a:pt x="1019" y="287"/>
                  </a:lnTo>
                  <a:lnTo>
                    <a:pt x="1016" y="277"/>
                  </a:lnTo>
                  <a:lnTo>
                    <a:pt x="1015" y="266"/>
                  </a:lnTo>
                  <a:lnTo>
                    <a:pt x="1009" y="216"/>
                  </a:lnTo>
                  <a:lnTo>
                    <a:pt x="1005" y="164"/>
                  </a:lnTo>
                  <a:lnTo>
                    <a:pt x="1002" y="138"/>
                  </a:lnTo>
                  <a:lnTo>
                    <a:pt x="996" y="114"/>
                  </a:lnTo>
                  <a:lnTo>
                    <a:pt x="993" y="102"/>
                  </a:lnTo>
                  <a:lnTo>
                    <a:pt x="989" y="90"/>
                  </a:lnTo>
                  <a:lnTo>
                    <a:pt x="985" y="80"/>
                  </a:lnTo>
                  <a:lnTo>
                    <a:pt x="979" y="70"/>
                  </a:lnTo>
                  <a:lnTo>
                    <a:pt x="973" y="61"/>
                  </a:lnTo>
                  <a:lnTo>
                    <a:pt x="965" y="54"/>
                  </a:lnTo>
                  <a:lnTo>
                    <a:pt x="957" y="46"/>
                  </a:lnTo>
                  <a:lnTo>
                    <a:pt x="947" y="40"/>
                  </a:lnTo>
                  <a:lnTo>
                    <a:pt x="937" y="35"/>
                  </a:lnTo>
                  <a:lnTo>
                    <a:pt x="925" y="31"/>
                  </a:lnTo>
                  <a:lnTo>
                    <a:pt x="911" y="29"/>
                  </a:lnTo>
                  <a:lnTo>
                    <a:pt x="897" y="29"/>
                  </a:lnTo>
                  <a:lnTo>
                    <a:pt x="856" y="29"/>
                  </a:lnTo>
                  <a:lnTo>
                    <a:pt x="811" y="30"/>
                  </a:lnTo>
                  <a:lnTo>
                    <a:pt x="788" y="29"/>
                  </a:lnTo>
                  <a:lnTo>
                    <a:pt x="767" y="27"/>
                  </a:lnTo>
                  <a:lnTo>
                    <a:pt x="757" y="25"/>
                  </a:lnTo>
                  <a:lnTo>
                    <a:pt x="748" y="22"/>
                  </a:lnTo>
                  <a:lnTo>
                    <a:pt x="740" y="19"/>
                  </a:lnTo>
                  <a:lnTo>
                    <a:pt x="734" y="14"/>
                  </a:lnTo>
                  <a:lnTo>
                    <a:pt x="720" y="8"/>
                  </a:lnTo>
                  <a:lnTo>
                    <a:pt x="709" y="3"/>
                  </a:lnTo>
                  <a:lnTo>
                    <a:pt x="699" y="1"/>
                  </a:lnTo>
                  <a:lnTo>
                    <a:pt x="691" y="0"/>
                  </a:lnTo>
                  <a:lnTo>
                    <a:pt x="683" y="1"/>
                  </a:lnTo>
                  <a:lnTo>
                    <a:pt x="677" y="2"/>
                  </a:lnTo>
                  <a:lnTo>
                    <a:pt x="671" y="6"/>
                  </a:lnTo>
                  <a:lnTo>
                    <a:pt x="667" y="9"/>
                  </a:lnTo>
                  <a:lnTo>
                    <a:pt x="658" y="18"/>
                  </a:lnTo>
                  <a:lnTo>
                    <a:pt x="649" y="27"/>
                  </a:lnTo>
                  <a:lnTo>
                    <a:pt x="644" y="31"/>
                  </a:lnTo>
                  <a:lnTo>
                    <a:pt x="639" y="35"/>
                  </a:lnTo>
                  <a:lnTo>
                    <a:pt x="633" y="36"/>
                  </a:lnTo>
                  <a:lnTo>
                    <a:pt x="626" y="37"/>
                  </a:lnTo>
                  <a:lnTo>
                    <a:pt x="626" y="42"/>
                  </a:lnTo>
                  <a:lnTo>
                    <a:pt x="619" y="5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33" name="Freeform 100"/>
            <p:cNvSpPr>
              <a:spLocks noChangeAspect="1"/>
            </p:cNvSpPr>
            <p:nvPr/>
          </p:nvSpPr>
          <p:spPr bwMode="gray">
            <a:xfrm rot="355651">
              <a:off x="6897768" y="3489325"/>
              <a:ext cx="116375" cy="80909"/>
            </a:xfrm>
            <a:custGeom>
              <a:avLst/>
              <a:gdLst/>
              <a:ahLst/>
              <a:cxnLst>
                <a:cxn ang="0">
                  <a:pos x="32" y="25"/>
                </a:cxn>
                <a:cxn ang="0">
                  <a:pos x="27" y="30"/>
                </a:cxn>
                <a:cxn ang="0">
                  <a:pos x="12" y="54"/>
                </a:cxn>
                <a:cxn ang="0">
                  <a:pos x="8" y="68"/>
                </a:cxn>
                <a:cxn ang="0">
                  <a:pos x="3" y="82"/>
                </a:cxn>
                <a:cxn ang="0">
                  <a:pos x="0" y="136"/>
                </a:cxn>
                <a:cxn ang="0">
                  <a:pos x="9" y="156"/>
                </a:cxn>
                <a:cxn ang="0">
                  <a:pos x="15" y="192"/>
                </a:cxn>
                <a:cxn ang="0">
                  <a:pos x="20" y="211"/>
                </a:cxn>
                <a:cxn ang="0">
                  <a:pos x="32" y="265"/>
                </a:cxn>
                <a:cxn ang="0">
                  <a:pos x="63" y="337"/>
                </a:cxn>
                <a:cxn ang="0">
                  <a:pos x="75" y="352"/>
                </a:cxn>
                <a:cxn ang="0">
                  <a:pos x="86" y="362"/>
                </a:cxn>
                <a:cxn ang="0">
                  <a:pos x="113" y="401"/>
                </a:cxn>
                <a:cxn ang="0">
                  <a:pos x="152" y="417"/>
                </a:cxn>
                <a:cxn ang="0">
                  <a:pos x="171" y="421"/>
                </a:cxn>
                <a:cxn ang="0">
                  <a:pos x="227" y="415"/>
                </a:cxn>
                <a:cxn ang="0">
                  <a:pos x="256" y="406"/>
                </a:cxn>
                <a:cxn ang="0">
                  <a:pos x="314" y="411"/>
                </a:cxn>
                <a:cxn ang="0">
                  <a:pos x="323" y="404"/>
                </a:cxn>
                <a:cxn ang="0">
                  <a:pos x="345" y="414"/>
                </a:cxn>
                <a:cxn ang="0">
                  <a:pos x="362" y="429"/>
                </a:cxn>
                <a:cxn ang="0">
                  <a:pos x="375" y="437"/>
                </a:cxn>
                <a:cxn ang="0">
                  <a:pos x="386" y="439"/>
                </a:cxn>
                <a:cxn ang="0">
                  <a:pos x="397" y="444"/>
                </a:cxn>
                <a:cxn ang="0">
                  <a:pos x="407" y="456"/>
                </a:cxn>
                <a:cxn ang="0">
                  <a:pos x="453" y="491"/>
                </a:cxn>
                <a:cxn ang="0">
                  <a:pos x="491" y="498"/>
                </a:cxn>
                <a:cxn ang="0">
                  <a:pos x="570" y="507"/>
                </a:cxn>
                <a:cxn ang="0">
                  <a:pos x="629" y="500"/>
                </a:cxn>
                <a:cxn ang="0">
                  <a:pos x="642" y="472"/>
                </a:cxn>
                <a:cxn ang="0">
                  <a:pos x="636" y="452"/>
                </a:cxn>
                <a:cxn ang="0">
                  <a:pos x="588" y="404"/>
                </a:cxn>
                <a:cxn ang="0">
                  <a:pos x="549" y="366"/>
                </a:cxn>
                <a:cxn ang="0">
                  <a:pos x="526" y="313"/>
                </a:cxn>
                <a:cxn ang="0">
                  <a:pos x="514" y="233"/>
                </a:cxn>
                <a:cxn ang="0">
                  <a:pos x="496" y="219"/>
                </a:cxn>
                <a:cxn ang="0">
                  <a:pos x="483" y="199"/>
                </a:cxn>
                <a:cxn ang="0">
                  <a:pos x="462" y="182"/>
                </a:cxn>
                <a:cxn ang="0">
                  <a:pos x="454" y="174"/>
                </a:cxn>
                <a:cxn ang="0">
                  <a:pos x="423" y="161"/>
                </a:cxn>
                <a:cxn ang="0">
                  <a:pos x="419" y="153"/>
                </a:cxn>
                <a:cxn ang="0">
                  <a:pos x="415" y="145"/>
                </a:cxn>
                <a:cxn ang="0">
                  <a:pos x="392" y="132"/>
                </a:cxn>
                <a:cxn ang="0">
                  <a:pos x="386" y="130"/>
                </a:cxn>
                <a:cxn ang="0">
                  <a:pos x="363" y="115"/>
                </a:cxn>
                <a:cxn ang="0">
                  <a:pos x="353" y="101"/>
                </a:cxn>
                <a:cxn ang="0">
                  <a:pos x="347" y="97"/>
                </a:cxn>
                <a:cxn ang="0">
                  <a:pos x="327" y="82"/>
                </a:cxn>
                <a:cxn ang="0">
                  <a:pos x="304" y="65"/>
                </a:cxn>
                <a:cxn ang="0">
                  <a:pos x="294" y="56"/>
                </a:cxn>
                <a:cxn ang="0">
                  <a:pos x="288" y="54"/>
                </a:cxn>
                <a:cxn ang="0">
                  <a:pos x="272" y="43"/>
                </a:cxn>
                <a:cxn ang="0">
                  <a:pos x="265" y="33"/>
                </a:cxn>
                <a:cxn ang="0">
                  <a:pos x="239" y="31"/>
                </a:cxn>
                <a:cxn ang="0">
                  <a:pos x="176" y="44"/>
                </a:cxn>
                <a:cxn ang="0">
                  <a:pos x="146" y="43"/>
                </a:cxn>
                <a:cxn ang="0">
                  <a:pos x="128" y="38"/>
                </a:cxn>
                <a:cxn ang="0">
                  <a:pos x="121" y="18"/>
                </a:cxn>
                <a:cxn ang="0">
                  <a:pos x="98" y="8"/>
                </a:cxn>
                <a:cxn ang="0">
                  <a:pos x="94" y="1"/>
                </a:cxn>
              </a:cxnLst>
              <a:rect l="0" t="0" r="r" b="b"/>
              <a:pathLst>
                <a:path w="642" h="507">
                  <a:moveTo>
                    <a:pt x="60" y="8"/>
                  </a:moveTo>
                  <a:lnTo>
                    <a:pt x="46" y="15"/>
                  </a:lnTo>
                  <a:lnTo>
                    <a:pt x="37" y="20"/>
                  </a:lnTo>
                  <a:lnTo>
                    <a:pt x="32" y="25"/>
                  </a:lnTo>
                  <a:lnTo>
                    <a:pt x="30" y="27"/>
                  </a:lnTo>
                  <a:lnTo>
                    <a:pt x="29" y="29"/>
                  </a:lnTo>
                  <a:lnTo>
                    <a:pt x="28" y="30"/>
                  </a:lnTo>
                  <a:lnTo>
                    <a:pt x="27" y="30"/>
                  </a:lnTo>
                  <a:lnTo>
                    <a:pt x="22" y="30"/>
                  </a:lnTo>
                  <a:lnTo>
                    <a:pt x="15" y="38"/>
                  </a:lnTo>
                  <a:lnTo>
                    <a:pt x="15" y="53"/>
                  </a:lnTo>
                  <a:lnTo>
                    <a:pt x="12" y="54"/>
                  </a:lnTo>
                  <a:lnTo>
                    <a:pt x="10" y="55"/>
                  </a:lnTo>
                  <a:lnTo>
                    <a:pt x="9" y="58"/>
                  </a:lnTo>
                  <a:lnTo>
                    <a:pt x="8" y="62"/>
                  </a:lnTo>
                  <a:lnTo>
                    <a:pt x="8" y="68"/>
                  </a:lnTo>
                  <a:lnTo>
                    <a:pt x="8" y="75"/>
                  </a:lnTo>
                  <a:lnTo>
                    <a:pt x="6" y="76"/>
                  </a:lnTo>
                  <a:lnTo>
                    <a:pt x="4" y="78"/>
                  </a:lnTo>
                  <a:lnTo>
                    <a:pt x="3" y="82"/>
                  </a:lnTo>
                  <a:lnTo>
                    <a:pt x="3" y="86"/>
                  </a:lnTo>
                  <a:lnTo>
                    <a:pt x="1" y="97"/>
                  </a:lnTo>
                  <a:lnTo>
                    <a:pt x="1" y="111"/>
                  </a:lnTo>
                  <a:lnTo>
                    <a:pt x="0" y="136"/>
                  </a:lnTo>
                  <a:lnTo>
                    <a:pt x="0" y="151"/>
                  </a:lnTo>
                  <a:lnTo>
                    <a:pt x="3" y="152"/>
                  </a:lnTo>
                  <a:lnTo>
                    <a:pt x="7" y="153"/>
                  </a:lnTo>
                  <a:lnTo>
                    <a:pt x="9" y="156"/>
                  </a:lnTo>
                  <a:lnTo>
                    <a:pt x="11" y="161"/>
                  </a:lnTo>
                  <a:lnTo>
                    <a:pt x="13" y="170"/>
                  </a:lnTo>
                  <a:lnTo>
                    <a:pt x="13" y="181"/>
                  </a:lnTo>
                  <a:lnTo>
                    <a:pt x="15" y="192"/>
                  </a:lnTo>
                  <a:lnTo>
                    <a:pt x="16" y="202"/>
                  </a:lnTo>
                  <a:lnTo>
                    <a:pt x="17" y="206"/>
                  </a:lnTo>
                  <a:lnTo>
                    <a:pt x="18" y="209"/>
                  </a:lnTo>
                  <a:lnTo>
                    <a:pt x="20" y="211"/>
                  </a:lnTo>
                  <a:lnTo>
                    <a:pt x="22" y="211"/>
                  </a:lnTo>
                  <a:lnTo>
                    <a:pt x="23" y="227"/>
                  </a:lnTo>
                  <a:lnTo>
                    <a:pt x="27" y="246"/>
                  </a:lnTo>
                  <a:lnTo>
                    <a:pt x="32" y="265"/>
                  </a:lnTo>
                  <a:lnTo>
                    <a:pt x="38" y="279"/>
                  </a:lnTo>
                  <a:lnTo>
                    <a:pt x="42" y="290"/>
                  </a:lnTo>
                  <a:lnTo>
                    <a:pt x="52" y="314"/>
                  </a:lnTo>
                  <a:lnTo>
                    <a:pt x="63" y="337"/>
                  </a:lnTo>
                  <a:lnTo>
                    <a:pt x="68" y="347"/>
                  </a:lnTo>
                  <a:lnTo>
                    <a:pt x="70" y="348"/>
                  </a:lnTo>
                  <a:lnTo>
                    <a:pt x="73" y="350"/>
                  </a:lnTo>
                  <a:lnTo>
                    <a:pt x="75" y="352"/>
                  </a:lnTo>
                  <a:lnTo>
                    <a:pt x="76" y="355"/>
                  </a:lnTo>
                  <a:lnTo>
                    <a:pt x="78" y="357"/>
                  </a:lnTo>
                  <a:lnTo>
                    <a:pt x="82" y="361"/>
                  </a:lnTo>
                  <a:lnTo>
                    <a:pt x="86" y="362"/>
                  </a:lnTo>
                  <a:lnTo>
                    <a:pt x="90" y="363"/>
                  </a:lnTo>
                  <a:lnTo>
                    <a:pt x="90" y="377"/>
                  </a:lnTo>
                  <a:lnTo>
                    <a:pt x="98" y="385"/>
                  </a:lnTo>
                  <a:lnTo>
                    <a:pt x="113" y="401"/>
                  </a:lnTo>
                  <a:lnTo>
                    <a:pt x="128" y="415"/>
                  </a:lnTo>
                  <a:lnTo>
                    <a:pt x="140" y="415"/>
                  </a:lnTo>
                  <a:lnTo>
                    <a:pt x="151" y="415"/>
                  </a:lnTo>
                  <a:lnTo>
                    <a:pt x="152" y="417"/>
                  </a:lnTo>
                  <a:lnTo>
                    <a:pt x="154" y="418"/>
                  </a:lnTo>
                  <a:lnTo>
                    <a:pt x="156" y="419"/>
                  </a:lnTo>
                  <a:lnTo>
                    <a:pt x="161" y="420"/>
                  </a:lnTo>
                  <a:lnTo>
                    <a:pt x="171" y="421"/>
                  </a:lnTo>
                  <a:lnTo>
                    <a:pt x="182" y="422"/>
                  </a:lnTo>
                  <a:lnTo>
                    <a:pt x="205" y="423"/>
                  </a:lnTo>
                  <a:lnTo>
                    <a:pt x="219" y="423"/>
                  </a:lnTo>
                  <a:lnTo>
                    <a:pt x="227" y="415"/>
                  </a:lnTo>
                  <a:lnTo>
                    <a:pt x="234" y="408"/>
                  </a:lnTo>
                  <a:lnTo>
                    <a:pt x="240" y="422"/>
                  </a:lnTo>
                  <a:lnTo>
                    <a:pt x="248" y="414"/>
                  </a:lnTo>
                  <a:lnTo>
                    <a:pt x="256" y="406"/>
                  </a:lnTo>
                  <a:lnTo>
                    <a:pt x="263" y="400"/>
                  </a:lnTo>
                  <a:lnTo>
                    <a:pt x="284" y="411"/>
                  </a:lnTo>
                  <a:lnTo>
                    <a:pt x="299" y="411"/>
                  </a:lnTo>
                  <a:lnTo>
                    <a:pt x="314" y="411"/>
                  </a:lnTo>
                  <a:lnTo>
                    <a:pt x="315" y="409"/>
                  </a:lnTo>
                  <a:lnTo>
                    <a:pt x="316" y="406"/>
                  </a:lnTo>
                  <a:lnTo>
                    <a:pt x="319" y="405"/>
                  </a:lnTo>
                  <a:lnTo>
                    <a:pt x="323" y="404"/>
                  </a:lnTo>
                  <a:lnTo>
                    <a:pt x="329" y="404"/>
                  </a:lnTo>
                  <a:lnTo>
                    <a:pt x="336" y="403"/>
                  </a:lnTo>
                  <a:lnTo>
                    <a:pt x="344" y="411"/>
                  </a:lnTo>
                  <a:lnTo>
                    <a:pt x="345" y="414"/>
                  </a:lnTo>
                  <a:lnTo>
                    <a:pt x="348" y="418"/>
                  </a:lnTo>
                  <a:lnTo>
                    <a:pt x="352" y="422"/>
                  </a:lnTo>
                  <a:lnTo>
                    <a:pt x="356" y="425"/>
                  </a:lnTo>
                  <a:lnTo>
                    <a:pt x="362" y="429"/>
                  </a:lnTo>
                  <a:lnTo>
                    <a:pt x="366" y="431"/>
                  </a:lnTo>
                  <a:lnTo>
                    <a:pt x="371" y="433"/>
                  </a:lnTo>
                  <a:lnTo>
                    <a:pt x="374" y="433"/>
                  </a:lnTo>
                  <a:lnTo>
                    <a:pt x="375" y="437"/>
                  </a:lnTo>
                  <a:lnTo>
                    <a:pt x="376" y="438"/>
                  </a:lnTo>
                  <a:lnTo>
                    <a:pt x="378" y="439"/>
                  </a:lnTo>
                  <a:lnTo>
                    <a:pt x="381" y="439"/>
                  </a:lnTo>
                  <a:lnTo>
                    <a:pt x="386" y="439"/>
                  </a:lnTo>
                  <a:lnTo>
                    <a:pt x="393" y="438"/>
                  </a:lnTo>
                  <a:lnTo>
                    <a:pt x="393" y="441"/>
                  </a:lnTo>
                  <a:lnTo>
                    <a:pt x="395" y="442"/>
                  </a:lnTo>
                  <a:lnTo>
                    <a:pt x="397" y="444"/>
                  </a:lnTo>
                  <a:lnTo>
                    <a:pt x="401" y="447"/>
                  </a:lnTo>
                  <a:lnTo>
                    <a:pt x="403" y="449"/>
                  </a:lnTo>
                  <a:lnTo>
                    <a:pt x="405" y="452"/>
                  </a:lnTo>
                  <a:lnTo>
                    <a:pt x="407" y="456"/>
                  </a:lnTo>
                  <a:lnTo>
                    <a:pt x="407" y="461"/>
                  </a:lnTo>
                  <a:lnTo>
                    <a:pt x="423" y="461"/>
                  </a:lnTo>
                  <a:lnTo>
                    <a:pt x="438" y="476"/>
                  </a:lnTo>
                  <a:lnTo>
                    <a:pt x="453" y="491"/>
                  </a:lnTo>
                  <a:lnTo>
                    <a:pt x="463" y="492"/>
                  </a:lnTo>
                  <a:lnTo>
                    <a:pt x="472" y="495"/>
                  </a:lnTo>
                  <a:lnTo>
                    <a:pt x="481" y="497"/>
                  </a:lnTo>
                  <a:lnTo>
                    <a:pt x="491" y="498"/>
                  </a:lnTo>
                  <a:lnTo>
                    <a:pt x="512" y="502"/>
                  </a:lnTo>
                  <a:lnTo>
                    <a:pt x="533" y="505"/>
                  </a:lnTo>
                  <a:lnTo>
                    <a:pt x="551" y="506"/>
                  </a:lnTo>
                  <a:lnTo>
                    <a:pt x="570" y="507"/>
                  </a:lnTo>
                  <a:lnTo>
                    <a:pt x="601" y="507"/>
                  </a:lnTo>
                  <a:lnTo>
                    <a:pt x="622" y="505"/>
                  </a:lnTo>
                  <a:lnTo>
                    <a:pt x="624" y="504"/>
                  </a:lnTo>
                  <a:lnTo>
                    <a:pt x="629" y="500"/>
                  </a:lnTo>
                  <a:lnTo>
                    <a:pt x="633" y="496"/>
                  </a:lnTo>
                  <a:lnTo>
                    <a:pt x="637" y="489"/>
                  </a:lnTo>
                  <a:lnTo>
                    <a:pt x="641" y="481"/>
                  </a:lnTo>
                  <a:lnTo>
                    <a:pt x="642" y="472"/>
                  </a:lnTo>
                  <a:lnTo>
                    <a:pt x="642" y="468"/>
                  </a:lnTo>
                  <a:lnTo>
                    <a:pt x="641" y="462"/>
                  </a:lnTo>
                  <a:lnTo>
                    <a:pt x="640" y="457"/>
                  </a:lnTo>
                  <a:lnTo>
                    <a:pt x="636" y="452"/>
                  </a:lnTo>
                  <a:lnTo>
                    <a:pt x="629" y="441"/>
                  </a:lnTo>
                  <a:lnTo>
                    <a:pt x="616" y="429"/>
                  </a:lnTo>
                  <a:lnTo>
                    <a:pt x="603" y="418"/>
                  </a:lnTo>
                  <a:lnTo>
                    <a:pt x="588" y="404"/>
                  </a:lnTo>
                  <a:lnTo>
                    <a:pt x="574" y="392"/>
                  </a:lnTo>
                  <a:lnTo>
                    <a:pt x="560" y="380"/>
                  </a:lnTo>
                  <a:lnTo>
                    <a:pt x="555" y="373"/>
                  </a:lnTo>
                  <a:lnTo>
                    <a:pt x="549" y="366"/>
                  </a:lnTo>
                  <a:lnTo>
                    <a:pt x="545" y="360"/>
                  </a:lnTo>
                  <a:lnTo>
                    <a:pt x="540" y="353"/>
                  </a:lnTo>
                  <a:lnTo>
                    <a:pt x="533" y="333"/>
                  </a:lnTo>
                  <a:lnTo>
                    <a:pt x="526" y="313"/>
                  </a:lnTo>
                  <a:lnTo>
                    <a:pt x="521" y="295"/>
                  </a:lnTo>
                  <a:lnTo>
                    <a:pt x="518" y="278"/>
                  </a:lnTo>
                  <a:lnTo>
                    <a:pt x="515" y="251"/>
                  </a:lnTo>
                  <a:lnTo>
                    <a:pt x="514" y="233"/>
                  </a:lnTo>
                  <a:lnTo>
                    <a:pt x="510" y="232"/>
                  </a:lnTo>
                  <a:lnTo>
                    <a:pt x="506" y="229"/>
                  </a:lnTo>
                  <a:lnTo>
                    <a:pt x="500" y="225"/>
                  </a:lnTo>
                  <a:lnTo>
                    <a:pt x="496" y="219"/>
                  </a:lnTo>
                  <a:lnTo>
                    <a:pt x="491" y="212"/>
                  </a:lnTo>
                  <a:lnTo>
                    <a:pt x="487" y="207"/>
                  </a:lnTo>
                  <a:lnTo>
                    <a:pt x="485" y="202"/>
                  </a:lnTo>
                  <a:lnTo>
                    <a:pt x="483" y="199"/>
                  </a:lnTo>
                  <a:lnTo>
                    <a:pt x="476" y="191"/>
                  </a:lnTo>
                  <a:lnTo>
                    <a:pt x="468" y="183"/>
                  </a:lnTo>
                  <a:lnTo>
                    <a:pt x="466" y="183"/>
                  </a:lnTo>
                  <a:lnTo>
                    <a:pt x="462" y="182"/>
                  </a:lnTo>
                  <a:lnTo>
                    <a:pt x="460" y="181"/>
                  </a:lnTo>
                  <a:lnTo>
                    <a:pt x="458" y="179"/>
                  </a:lnTo>
                  <a:lnTo>
                    <a:pt x="455" y="177"/>
                  </a:lnTo>
                  <a:lnTo>
                    <a:pt x="454" y="174"/>
                  </a:lnTo>
                  <a:lnTo>
                    <a:pt x="453" y="171"/>
                  </a:lnTo>
                  <a:lnTo>
                    <a:pt x="453" y="169"/>
                  </a:lnTo>
                  <a:lnTo>
                    <a:pt x="438" y="164"/>
                  </a:lnTo>
                  <a:lnTo>
                    <a:pt x="423" y="161"/>
                  </a:lnTo>
                  <a:lnTo>
                    <a:pt x="423" y="156"/>
                  </a:lnTo>
                  <a:lnTo>
                    <a:pt x="422" y="154"/>
                  </a:lnTo>
                  <a:lnTo>
                    <a:pt x="421" y="153"/>
                  </a:lnTo>
                  <a:lnTo>
                    <a:pt x="419" y="153"/>
                  </a:lnTo>
                  <a:lnTo>
                    <a:pt x="418" y="153"/>
                  </a:lnTo>
                  <a:lnTo>
                    <a:pt x="416" y="152"/>
                  </a:lnTo>
                  <a:lnTo>
                    <a:pt x="415" y="150"/>
                  </a:lnTo>
                  <a:lnTo>
                    <a:pt x="415" y="145"/>
                  </a:lnTo>
                  <a:lnTo>
                    <a:pt x="404" y="142"/>
                  </a:lnTo>
                  <a:lnTo>
                    <a:pt x="393" y="139"/>
                  </a:lnTo>
                  <a:lnTo>
                    <a:pt x="392" y="134"/>
                  </a:lnTo>
                  <a:lnTo>
                    <a:pt x="392" y="132"/>
                  </a:lnTo>
                  <a:lnTo>
                    <a:pt x="391" y="131"/>
                  </a:lnTo>
                  <a:lnTo>
                    <a:pt x="389" y="131"/>
                  </a:lnTo>
                  <a:lnTo>
                    <a:pt x="387" y="131"/>
                  </a:lnTo>
                  <a:lnTo>
                    <a:pt x="386" y="130"/>
                  </a:lnTo>
                  <a:lnTo>
                    <a:pt x="385" y="127"/>
                  </a:lnTo>
                  <a:lnTo>
                    <a:pt x="385" y="123"/>
                  </a:lnTo>
                  <a:lnTo>
                    <a:pt x="370" y="123"/>
                  </a:lnTo>
                  <a:lnTo>
                    <a:pt x="363" y="115"/>
                  </a:lnTo>
                  <a:lnTo>
                    <a:pt x="355" y="107"/>
                  </a:lnTo>
                  <a:lnTo>
                    <a:pt x="355" y="104"/>
                  </a:lnTo>
                  <a:lnTo>
                    <a:pt x="354" y="102"/>
                  </a:lnTo>
                  <a:lnTo>
                    <a:pt x="353" y="101"/>
                  </a:lnTo>
                  <a:lnTo>
                    <a:pt x="352" y="101"/>
                  </a:lnTo>
                  <a:lnTo>
                    <a:pt x="349" y="101"/>
                  </a:lnTo>
                  <a:lnTo>
                    <a:pt x="348" y="100"/>
                  </a:lnTo>
                  <a:lnTo>
                    <a:pt x="347" y="97"/>
                  </a:lnTo>
                  <a:lnTo>
                    <a:pt x="347" y="93"/>
                  </a:lnTo>
                  <a:lnTo>
                    <a:pt x="333" y="93"/>
                  </a:lnTo>
                  <a:lnTo>
                    <a:pt x="330" y="87"/>
                  </a:lnTo>
                  <a:lnTo>
                    <a:pt x="327" y="82"/>
                  </a:lnTo>
                  <a:lnTo>
                    <a:pt x="323" y="76"/>
                  </a:lnTo>
                  <a:lnTo>
                    <a:pt x="316" y="72"/>
                  </a:lnTo>
                  <a:lnTo>
                    <a:pt x="309" y="68"/>
                  </a:lnTo>
                  <a:lnTo>
                    <a:pt x="304" y="65"/>
                  </a:lnTo>
                  <a:lnTo>
                    <a:pt x="298" y="63"/>
                  </a:lnTo>
                  <a:lnTo>
                    <a:pt x="295" y="63"/>
                  </a:lnTo>
                  <a:lnTo>
                    <a:pt x="294" y="58"/>
                  </a:lnTo>
                  <a:lnTo>
                    <a:pt x="294" y="56"/>
                  </a:lnTo>
                  <a:lnTo>
                    <a:pt x="293" y="55"/>
                  </a:lnTo>
                  <a:lnTo>
                    <a:pt x="290" y="55"/>
                  </a:lnTo>
                  <a:lnTo>
                    <a:pt x="289" y="55"/>
                  </a:lnTo>
                  <a:lnTo>
                    <a:pt x="288" y="54"/>
                  </a:lnTo>
                  <a:lnTo>
                    <a:pt x="287" y="52"/>
                  </a:lnTo>
                  <a:lnTo>
                    <a:pt x="287" y="47"/>
                  </a:lnTo>
                  <a:lnTo>
                    <a:pt x="280" y="46"/>
                  </a:lnTo>
                  <a:lnTo>
                    <a:pt x="272" y="43"/>
                  </a:lnTo>
                  <a:lnTo>
                    <a:pt x="269" y="40"/>
                  </a:lnTo>
                  <a:lnTo>
                    <a:pt x="267" y="38"/>
                  </a:lnTo>
                  <a:lnTo>
                    <a:pt x="265" y="35"/>
                  </a:lnTo>
                  <a:lnTo>
                    <a:pt x="265" y="33"/>
                  </a:lnTo>
                  <a:lnTo>
                    <a:pt x="249" y="33"/>
                  </a:lnTo>
                  <a:lnTo>
                    <a:pt x="248" y="31"/>
                  </a:lnTo>
                  <a:lnTo>
                    <a:pt x="245" y="31"/>
                  </a:lnTo>
                  <a:lnTo>
                    <a:pt x="239" y="31"/>
                  </a:lnTo>
                  <a:lnTo>
                    <a:pt x="232" y="34"/>
                  </a:lnTo>
                  <a:lnTo>
                    <a:pt x="215" y="37"/>
                  </a:lnTo>
                  <a:lnTo>
                    <a:pt x="197" y="40"/>
                  </a:lnTo>
                  <a:lnTo>
                    <a:pt x="176" y="44"/>
                  </a:lnTo>
                  <a:lnTo>
                    <a:pt x="160" y="46"/>
                  </a:lnTo>
                  <a:lnTo>
                    <a:pt x="153" y="45"/>
                  </a:lnTo>
                  <a:lnTo>
                    <a:pt x="147" y="44"/>
                  </a:lnTo>
                  <a:lnTo>
                    <a:pt x="146" y="43"/>
                  </a:lnTo>
                  <a:lnTo>
                    <a:pt x="144" y="42"/>
                  </a:lnTo>
                  <a:lnTo>
                    <a:pt x="144" y="39"/>
                  </a:lnTo>
                  <a:lnTo>
                    <a:pt x="143" y="38"/>
                  </a:lnTo>
                  <a:lnTo>
                    <a:pt x="128" y="38"/>
                  </a:lnTo>
                  <a:lnTo>
                    <a:pt x="128" y="23"/>
                  </a:lnTo>
                  <a:lnTo>
                    <a:pt x="125" y="23"/>
                  </a:lnTo>
                  <a:lnTo>
                    <a:pt x="123" y="20"/>
                  </a:lnTo>
                  <a:lnTo>
                    <a:pt x="121" y="18"/>
                  </a:lnTo>
                  <a:lnTo>
                    <a:pt x="118" y="15"/>
                  </a:lnTo>
                  <a:lnTo>
                    <a:pt x="114" y="10"/>
                  </a:lnTo>
                  <a:lnTo>
                    <a:pt x="113" y="8"/>
                  </a:lnTo>
                  <a:lnTo>
                    <a:pt x="98" y="8"/>
                  </a:lnTo>
                  <a:lnTo>
                    <a:pt x="97" y="5"/>
                  </a:lnTo>
                  <a:lnTo>
                    <a:pt x="97" y="4"/>
                  </a:lnTo>
                  <a:lnTo>
                    <a:pt x="95" y="1"/>
                  </a:lnTo>
                  <a:lnTo>
                    <a:pt x="94" y="1"/>
                  </a:lnTo>
                  <a:lnTo>
                    <a:pt x="88" y="0"/>
                  </a:lnTo>
                  <a:lnTo>
                    <a:pt x="83" y="0"/>
                  </a:lnTo>
                  <a:lnTo>
                    <a:pt x="6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34" name="Freeform 101"/>
            <p:cNvSpPr>
              <a:spLocks noChangeAspect="1"/>
            </p:cNvSpPr>
            <p:nvPr/>
          </p:nvSpPr>
          <p:spPr bwMode="gray">
            <a:xfrm rot="355651">
              <a:off x="7158026" y="3092450"/>
              <a:ext cx="155520" cy="102203"/>
            </a:xfrm>
            <a:custGeom>
              <a:avLst/>
              <a:gdLst/>
              <a:ahLst/>
              <a:cxnLst>
                <a:cxn ang="0">
                  <a:pos x="445" y="130"/>
                </a:cxn>
                <a:cxn ang="0">
                  <a:pos x="422" y="82"/>
                </a:cxn>
                <a:cxn ang="0">
                  <a:pos x="403" y="61"/>
                </a:cxn>
                <a:cxn ang="0">
                  <a:pos x="380" y="48"/>
                </a:cxn>
                <a:cxn ang="0">
                  <a:pos x="268" y="36"/>
                </a:cxn>
                <a:cxn ang="0">
                  <a:pos x="167" y="35"/>
                </a:cxn>
                <a:cxn ang="0">
                  <a:pos x="81" y="44"/>
                </a:cxn>
                <a:cxn ang="0">
                  <a:pos x="29" y="63"/>
                </a:cxn>
                <a:cxn ang="0">
                  <a:pos x="25" y="121"/>
                </a:cxn>
                <a:cxn ang="0">
                  <a:pos x="10" y="190"/>
                </a:cxn>
                <a:cxn ang="0">
                  <a:pos x="8" y="309"/>
                </a:cxn>
                <a:cxn ang="0">
                  <a:pos x="20" y="384"/>
                </a:cxn>
                <a:cxn ang="0">
                  <a:pos x="29" y="404"/>
                </a:cxn>
                <a:cxn ang="0">
                  <a:pos x="42" y="427"/>
                </a:cxn>
                <a:cxn ang="0">
                  <a:pos x="72" y="443"/>
                </a:cxn>
                <a:cxn ang="0">
                  <a:pos x="108" y="459"/>
                </a:cxn>
                <a:cxn ang="0">
                  <a:pos x="163" y="498"/>
                </a:cxn>
                <a:cxn ang="0">
                  <a:pos x="197" y="524"/>
                </a:cxn>
                <a:cxn ang="0">
                  <a:pos x="229" y="544"/>
                </a:cxn>
                <a:cxn ang="0">
                  <a:pos x="283" y="546"/>
                </a:cxn>
                <a:cxn ang="0">
                  <a:pos x="314" y="507"/>
                </a:cxn>
                <a:cxn ang="0">
                  <a:pos x="318" y="427"/>
                </a:cxn>
                <a:cxn ang="0">
                  <a:pos x="348" y="393"/>
                </a:cxn>
                <a:cxn ang="0">
                  <a:pos x="364" y="390"/>
                </a:cxn>
                <a:cxn ang="0">
                  <a:pos x="448" y="431"/>
                </a:cxn>
                <a:cxn ang="0">
                  <a:pos x="459" y="451"/>
                </a:cxn>
                <a:cxn ang="0">
                  <a:pos x="474" y="486"/>
                </a:cxn>
                <a:cxn ang="0">
                  <a:pos x="512" y="528"/>
                </a:cxn>
                <a:cxn ang="0">
                  <a:pos x="543" y="564"/>
                </a:cxn>
                <a:cxn ang="0">
                  <a:pos x="562" y="585"/>
                </a:cxn>
                <a:cxn ang="0">
                  <a:pos x="573" y="600"/>
                </a:cxn>
                <a:cxn ang="0">
                  <a:pos x="600" y="621"/>
                </a:cxn>
                <a:cxn ang="0">
                  <a:pos x="620" y="632"/>
                </a:cxn>
                <a:cxn ang="0">
                  <a:pos x="651" y="532"/>
                </a:cxn>
                <a:cxn ang="0">
                  <a:pos x="666" y="440"/>
                </a:cxn>
                <a:cxn ang="0">
                  <a:pos x="685" y="388"/>
                </a:cxn>
                <a:cxn ang="0">
                  <a:pos x="704" y="331"/>
                </a:cxn>
                <a:cxn ang="0">
                  <a:pos x="726" y="282"/>
                </a:cxn>
                <a:cxn ang="0">
                  <a:pos x="775" y="211"/>
                </a:cxn>
                <a:cxn ang="0">
                  <a:pos x="792" y="192"/>
                </a:cxn>
                <a:cxn ang="0">
                  <a:pos x="832" y="151"/>
                </a:cxn>
                <a:cxn ang="0">
                  <a:pos x="857" y="126"/>
                </a:cxn>
                <a:cxn ang="0">
                  <a:pos x="851" y="96"/>
                </a:cxn>
                <a:cxn ang="0">
                  <a:pos x="791" y="77"/>
                </a:cxn>
                <a:cxn ang="0">
                  <a:pos x="713" y="46"/>
                </a:cxn>
                <a:cxn ang="0">
                  <a:pos x="700" y="17"/>
                </a:cxn>
                <a:cxn ang="0">
                  <a:pos x="658" y="0"/>
                </a:cxn>
                <a:cxn ang="0">
                  <a:pos x="614" y="15"/>
                </a:cxn>
                <a:cxn ang="0">
                  <a:pos x="586" y="25"/>
                </a:cxn>
                <a:cxn ang="0">
                  <a:pos x="544" y="54"/>
                </a:cxn>
                <a:cxn ang="0">
                  <a:pos x="516" y="84"/>
                </a:cxn>
                <a:cxn ang="0">
                  <a:pos x="512" y="112"/>
                </a:cxn>
                <a:cxn ang="0">
                  <a:pos x="506" y="124"/>
                </a:cxn>
              </a:cxnLst>
              <a:rect l="0" t="0" r="r" b="b"/>
              <a:pathLst>
                <a:path w="859" h="632">
                  <a:moveTo>
                    <a:pt x="495" y="134"/>
                  </a:moveTo>
                  <a:lnTo>
                    <a:pt x="485" y="134"/>
                  </a:lnTo>
                  <a:lnTo>
                    <a:pt x="476" y="136"/>
                  </a:lnTo>
                  <a:lnTo>
                    <a:pt x="466" y="138"/>
                  </a:lnTo>
                  <a:lnTo>
                    <a:pt x="457" y="138"/>
                  </a:lnTo>
                  <a:lnTo>
                    <a:pt x="445" y="130"/>
                  </a:lnTo>
                  <a:lnTo>
                    <a:pt x="440" y="121"/>
                  </a:lnTo>
                  <a:lnTo>
                    <a:pt x="436" y="109"/>
                  </a:lnTo>
                  <a:lnTo>
                    <a:pt x="431" y="96"/>
                  </a:lnTo>
                  <a:lnTo>
                    <a:pt x="428" y="87"/>
                  </a:lnTo>
                  <a:lnTo>
                    <a:pt x="425" y="85"/>
                  </a:lnTo>
                  <a:lnTo>
                    <a:pt x="422" y="82"/>
                  </a:lnTo>
                  <a:lnTo>
                    <a:pt x="420" y="78"/>
                  </a:lnTo>
                  <a:lnTo>
                    <a:pt x="419" y="75"/>
                  </a:lnTo>
                  <a:lnTo>
                    <a:pt x="414" y="71"/>
                  </a:lnTo>
                  <a:lnTo>
                    <a:pt x="411" y="70"/>
                  </a:lnTo>
                  <a:lnTo>
                    <a:pt x="407" y="65"/>
                  </a:lnTo>
                  <a:lnTo>
                    <a:pt x="403" y="61"/>
                  </a:lnTo>
                  <a:lnTo>
                    <a:pt x="402" y="58"/>
                  </a:lnTo>
                  <a:lnTo>
                    <a:pt x="399" y="57"/>
                  </a:lnTo>
                  <a:lnTo>
                    <a:pt x="397" y="56"/>
                  </a:lnTo>
                  <a:lnTo>
                    <a:pt x="393" y="53"/>
                  </a:lnTo>
                  <a:lnTo>
                    <a:pt x="390" y="51"/>
                  </a:lnTo>
                  <a:lnTo>
                    <a:pt x="380" y="48"/>
                  </a:lnTo>
                  <a:lnTo>
                    <a:pt x="368" y="44"/>
                  </a:lnTo>
                  <a:lnTo>
                    <a:pt x="355" y="38"/>
                  </a:lnTo>
                  <a:lnTo>
                    <a:pt x="348" y="34"/>
                  </a:lnTo>
                  <a:lnTo>
                    <a:pt x="277" y="34"/>
                  </a:lnTo>
                  <a:lnTo>
                    <a:pt x="274" y="35"/>
                  </a:lnTo>
                  <a:lnTo>
                    <a:pt x="268" y="36"/>
                  </a:lnTo>
                  <a:lnTo>
                    <a:pt x="259" y="36"/>
                  </a:lnTo>
                  <a:lnTo>
                    <a:pt x="248" y="37"/>
                  </a:lnTo>
                  <a:lnTo>
                    <a:pt x="227" y="37"/>
                  </a:lnTo>
                  <a:lnTo>
                    <a:pt x="214" y="37"/>
                  </a:lnTo>
                  <a:lnTo>
                    <a:pt x="191" y="36"/>
                  </a:lnTo>
                  <a:lnTo>
                    <a:pt x="167" y="35"/>
                  </a:lnTo>
                  <a:lnTo>
                    <a:pt x="153" y="34"/>
                  </a:lnTo>
                  <a:lnTo>
                    <a:pt x="141" y="34"/>
                  </a:lnTo>
                  <a:lnTo>
                    <a:pt x="131" y="35"/>
                  </a:lnTo>
                  <a:lnTo>
                    <a:pt x="122" y="37"/>
                  </a:lnTo>
                  <a:lnTo>
                    <a:pt x="102" y="39"/>
                  </a:lnTo>
                  <a:lnTo>
                    <a:pt x="81" y="44"/>
                  </a:lnTo>
                  <a:lnTo>
                    <a:pt x="60" y="48"/>
                  </a:lnTo>
                  <a:lnTo>
                    <a:pt x="42" y="51"/>
                  </a:lnTo>
                  <a:lnTo>
                    <a:pt x="41" y="53"/>
                  </a:lnTo>
                  <a:lnTo>
                    <a:pt x="37" y="56"/>
                  </a:lnTo>
                  <a:lnTo>
                    <a:pt x="33" y="59"/>
                  </a:lnTo>
                  <a:lnTo>
                    <a:pt x="29" y="63"/>
                  </a:lnTo>
                  <a:lnTo>
                    <a:pt x="29" y="71"/>
                  </a:lnTo>
                  <a:lnTo>
                    <a:pt x="28" y="74"/>
                  </a:lnTo>
                  <a:lnTo>
                    <a:pt x="27" y="80"/>
                  </a:lnTo>
                  <a:lnTo>
                    <a:pt x="26" y="88"/>
                  </a:lnTo>
                  <a:lnTo>
                    <a:pt x="26" y="100"/>
                  </a:lnTo>
                  <a:lnTo>
                    <a:pt x="25" y="121"/>
                  </a:lnTo>
                  <a:lnTo>
                    <a:pt x="25" y="134"/>
                  </a:lnTo>
                  <a:lnTo>
                    <a:pt x="24" y="136"/>
                  </a:lnTo>
                  <a:lnTo>
                    <a:pt x="20" y="144"/>
                  </a:lnTo>
                  <a:lnTo>
                    <a:pt x="18" y="154"/>
                  </a:lnTo>
                  <a:lnTo>
                    <a:pt x="15" y="167"/>
                  </a:lnTo>
                  <a:lnTo>
                    <a:pt x="10" y="190"/>
                  </a:lnTo>
                  <a:lnTo>
                    <a:pt x="8" y="206"/>
                  </a:lnTo>
                  <a:lnTo>
                    <a:pt x="7" y="226"/>
                  </a:lnTo>
                  <a:lnTo>
                    <a:pt x="5" y="248"/>
                  </a:lnTo>
                  <a:lnTo>
                    <a:pt x="1" y="270"/>
                  </a:lnTo>
                  <a:lnTo>
                    <a:pt x="0" y="293"/>
                  </a:lnTo>
                  <a:lnTo>
                    <a:pt x="8" y="309"/>
                  </a:lnTo>
                  <a:lnTo>
                    <a:pt x="9" y="326"/>
                  </a:lnTo>
                  <a:lnTo>
                    <a:pt x="13" y="344"/>
                  </a:lnTo>
                  <a:lnTo>
                    <a:pt x="16" y="362"/>
                  </a:lnTo>
                  <a:lnTo>
                    <a:pt x="17" y="381"/>
                  </a:lnTo>
                  <a:lnTo>
                    <a:pt x="19" y="382"/>
                  </a:lnTo>
                  <a:lnTo>
                    <a:pt x="20" y="384"/>
                  </a:lnTo>
                  <a:lnTo>
                    <a:pt x="20" y="386"/>
                  </a:lnTo>
                  <a:lnTo>
                    <a:pt x="22" y="390"/>
                  </a:lnTo>
                  <a:lnTo>
                    <a:pt x="23" y="395"/>
                  </a:lnTo>
                  <a:lnTo>
                    <a:pt x="25" y="402"/>
                  </a:lnTo>
                  <a:lnTo>
                    <a:pt x="27" y="403"/>
                  </a:lnTo>
                  <a:lnTo>
                    <a:pt x="29" y="404"/>
                  </a:lnTo>
                  <a:lnTo>
                    <a:pt x="29" y="408"/>
                  </a:lnTo>
                  <a:lnTo>
                    <a:pt x="29" y="410"/>
                  </a:lnTo>
                  <a:lnTo>
                    <a:pt x="34" y="414"/>
                  </a:lnTo>
                  <a:lnTo>
                    <a:pt x="38" y="417"/>
                  </a:lnTo>
                  <a:lnTo>
                    <a:pt x="42" y="419"/>
                  </a:lnTo>
                  <a:lnTo>
                    <a:pt x="42" y="427"/>
                  </a:lnTo>
                  <a:lnTo>
                    <a:pt x="48" y="429"/>
                  </a:lnTo>
                  <a:lnTo>
                    <a:pt x="55" y="431"/>
                  </a:lnTo>
                  <a:lnTo>
                    <a:pt x="57" y="436"/>
                  </a:lnTo>
                  <a:lnTo>
                    <a:pt x="63" y="439"/>
                  </a:lnTo>
                  <a:lnTo>
                    <a:pt x="68" y="442"/>
                  </a:lnTo>
                  <a:lnTo>
                    <a:pt x="72" y="443"/>
                  </a:lnTo>
                  <a:lnTo>
                    <a:pt x="84" y="443"/>
                  </a:lnTo>
                  <a:lnTo>
                    <a:pt x="87" y="447"/>
                  </a:lnTo>
                  <a:lnTo>
                    <a:pt x="91" y="450"/>
                  </a:lnTo>
                  <a:lnTo>
                    <a:pt x="95" y="451"/>
                  </a:lnTo>
                  <a:lnTo>
                    <a:pt x="101" y="452"/>
                  </a:lnTo>
                  <a:lnTo>
                    <a:pt x="108" y="459"/>
                  </a:lnTo>
                  <a:lnTo>
                    <a:pt x="118" y="465"/>
                  </a:lnTo>
                  <a:lnTo>
                    <a:pt x="122" y="470"/>
                  </a:lnTo>
                  <a:lnTo>
                    <a:pt x="132" y="478"/>
                  </a:lnTo>
                  <a:lnTo>
                    <a:pt x="144" y="487"/>
                  </a:lnTo>
                  <a:lnTo>
                    <a:pt x="151" y="495"/>
                  </a:lnTo>
                  <a:lnTo>
                    <a:pt x="163" y="498"/>
                  </a:lnTo>
                  <a:lnTo>
                    <a:pt x="166" y="503"/>
                  </a:lnTo>
                  <a:lnTo>
                    <a:pt x="171" y="507"/>
                  </a:lnTo>
                  <a:lnTo>
                    <a:pt x="178" y="511"/>
                  </a:lnTo>
                  <a:lnTo>
                    <a:pt x="185" y="515"/>
                  </a:lnTo>
                  <a:lnTo>
                    <a:pt x="189" y="524"/>
                  </a:lnTo>
                  <a:lnTo>
                    <a:pt x="197" y="524"/>
                  </a:lnTo>
                  <a:lnTo>
                    <a:pt x="201" y="528"/>
                  </a:lnTo>
                  <a:lnTo>
                    <a:pt x="208" y="534"/>
                  </a:lnTo>
                  <a:lnTo>
                    <a:pt x="214" y="538"/>
                  </a:lnTo>
                  <a:lnTo>
                    <a:pt x="218" y="540"/>
                  </a:lnTo>
                  <a:lnTo>
                    <a:pt x="226" y="540"/>
                  </a:lnTo>
                  <a:lnTo>
                    <a:pt x="229" y="544"/>
                  </a:lnTo>
                  <a:lnTo>
                    <a:pt x="235" y="548"/>
                  </a:lnTo>
                  <a:lnTo>
                    <a:pt x="240" y="552"/>
                  </a:lnTo>
                  <a:lnTo>
                    <a:pt x="244" y="553"/>
                  </a:lnTo>
                  <a:lnTo>
                    <a:pt x="256" y="552"/>
                  </a:lnTo>
                  <a:lnTo>
                    <a:pt x="269" y="548"/>
                  </a:lnTo>
                  <a:lnTo>
                    <a:pt x="283" y="546"/>
                  </a:lnTo>
                  <a:lnTo>
                    <a:pt x="294" y="545"/>
                  </a:lnTo>
                  <a:lnTo>
                    <a:pt x="302" y="536"/>
                  </a:lnTo>
                  <a:lnTo>
                    <a:pt x="311" y="536"/>
                  </a:lnTo>
                  <a:lnTo>
                    <a:pt x="314" y="532"/>
                  </a:lnTo>
                  <a:lnTo>
                    <a:pt x="314" y="519"/>
                  </a:lnTo>
                  <a:lnTo>
                    <a:pt x="314" y="507"/>
                  </a:lnTo>
                  <a:lnTo>
                    <a:pt x="316" y="504"/>
                  </a:lnTo>
                  <a:lnTo>
                    <a:pt x="316" y="496"/>
                  </a:lnTo>
                  <a:lnTo>
                    <a:pt x="317" y="484"/>
                  </a:lnTo>
                  <a:lnTo>
                    <a:pt x="318" y="470"/>
                  </a:lnTo>
                  <a:lnTo>
                    <a:pt x="318" y="443"/>
                  </a:lnTo>
                  <a:lnTo>
                    <a:pt x="318" y="427"/>
                  </a:lnTo>
                  <a:lnTo>
                    <a:pt x="327" y="423"/>
                  </a:lnTo>
                  <a:lnTo>
                    <a:pt x="331" y="414"/>
                  </a:lnTo>
                  <a:lnTo>
                    <a:pt x="335" y="407"/>
                  </a:lnTo>
                  <a:lnTo>
                    <a:pt x="344" y="402"/>
                  </a:lnTo>
                  <a:lnTo>
                    <a:pt x="345" y="398"/>
                  </a:lnTo>
                  <a:lnTo>
                    <a:pt x="348" y="393"/>
                  </a:lnTo>
                  <a:lnTo>
                    <a:pt x="352" y="393"/>
                  </a:lnTo>
                  <a:lnTo>
                    <a:pt x="358" y="393"/>
                  </a:lnTo>
                  <a:lnTo>
                    <a:pt x="361" y="393"/>
                  </a:lnTo>
                  <a:lnTo>
                    <a:pt x="363" y="392"/>
                  </a:lnTo>
                  <a:lnTo>
                    <a:pt x="364" y="391"/>
                  </a:lnTo>
                  <a:lnTo>
                    <a:pt x="364" y="390"/>
                  </a:lnTo>
                  <a:lnTo>
                    <a:pt x="398" y="390"/>
                  </a:lnTo>
                  <a:lnTo>
                    <a:pt x="404" y="394"/>
                  </a:lnTo>
                  <a:lnTo>
                    <a:pt x="420" y="407"/>
                  </a:lnTo>
                  <a:lnTo>
                    <a:pt x="436" y="418"/>
                  </a:lnTo>
                  <a:lnTo>
                    <a:pt x="445" y="423"/>
                  </a:lnTo>
                  <a:lnTo>
                    <a:pt x="448" y="431"/>
                  </a:lnTo>
                  <a:lnTo>
                    <a:pt x="451" y="432"/>
                  </a:lnTo>
                  <a:lnTo>
                    <a:pt x="455" y="436"/>
                  </a:lnTo>
                  <a:lnTo>
                    <a:pt x="456" y="439"/>
                  </a:lnTo>
                  <a:lnTo>
                    <a:pt x="457" y="440"/>
                  </a:lnTo>
                  <a:lnTo>
                    <a:pt x="458" y="446"/>
                  </a:lnTo>
                  <a:lnTo>
                    <a:pt x="459" y="451"/>
                  </a:lnTo>
                  <a:lnTo>
                    <a:pt x="462" y="457"/>
                  </a:lnTo>
                  <a:lnTo>
                    <a:pt x="465" y="462"/>
                  </a:lnTo>
                  <a:lnTo>
                    <a:pt x="468" y="468"/>
                  </a:lnTo>
                  <a:lnTo>
                    <a:pt x="471" y="474"/>
                  </a:lnTo>
                  <a:lnTo>
                    <a:pt x="473" y="480"/>
                  </a:lnTo>
                  <a:lnTo>
                    <a:pt x="474" y="486"/>
                  </a:lnTo>
                  <a:lnTo>
                    <a:pt x="481" y="494"/>
                  </a:lnTo>
                  <a:lnTo>
                    <a:pt x="490" y="507"/>
                  </a:lnTo>
                  <a:lnTo>
                    <a:pt x="496" y="514"/>
                  </a:lnTo>
                  <a:lnTo>
                    <a:pt x="502" y="520"/>
                  </a:lnTo>
                  <a:lnTo>
                    <a:pt x="506" y="525"/>
                  </a:lnTo>
                  <a:lnTo>
                    <a:pt x="512" y="528"/>
                  </a:lnTo>
                  <a:lnTo>
                    <a:pt x="516" y="536"/>
                  </a:lnTo>
                  <a:lnTo>
                    <a:pt x="519" y="545"/>
                  </a:lnTo>
                  <a:lnTo>
                    <a:pt x="533" y="557"/>
                  </a:lnTo>
                  <a:lnTo>
                    <a:pt x="535" y="558"/>
                  </a:lnTo>
                  <a:lnTo>
                    <a:pt x="540" y="561"/>
                  </a:lnTo>
                  <a:lnTo>
                    <a:pt x="543" y="564"/>
                  </a:lnTo>
                  <a:lnTo>
                    <a:pt x="546" y="568"/>
                  </a:lnTo>
                  <a:lnTo>
                    <a:pt x="551" y="576"/>
                  </a:lnTo>
                  <a:lnTo>
                    <a:pt x="553" y="582"/>
                  </a:lnTo>
                  <a:lnTo>
                    <a:pt x="556" y="583"/>
                  </a:lnTo>
                  <a:lnTo>
                    <a:pt x="560" y="584"/>
                  </a:lnTo>
                  <a:lnTo>
                    <a:pt x="562" y="585"/>
                  </a:lnTo>
                  <a:lnTo>
                    <a:pt x="565" y="587"/>
                  </a:lnTo>
                  <a:lnTo>
                    <a:pt x="567" y="590"/>
                  </a:lnTo>
                  <a:lnTo>
                    <a:pt x="569" y="593"/>
                  </a:lnTo>
                  <a:lnTo>
                    <a:pt x="570" y="596"/>
                  </a:lnTo>
                  <a:lnTo>
                    <a:pt x="570" y="599"/>
                  </a:lnTo>
                  <a:lnTo>
                    <a:pt x="573" y="600"/>
                  </a:lnTo>
                  <a:lnTo>
                    <a:pt x="576" y="602"/>
                  </a:lnTo>
                  <a:lnTo>
                    <a:pt x="581" y="604"/>
                  </a:lnTo>
                  <a:lnTo>
                    <a:pt x="584" y="607"/>
                  </a:lnTo>
                  <a:lnTo>
                    <a:pt x="591" y="615"/>
                  </a:lnTo>
                  <a:lnTo>
                    <a:pt x="595" y="620"/>
                  </a:lnTo>
                  <a:lnTo>
                    <a:pt x="600" y="621"/>
                  </a:lnTo>
                  <a:lnTo>
                    <a:pt x="605" y="623"/>
                  </a:lnTo>
                  <a:lnTo>
                    <a:pt x="608" y="625"/>
                  </a:lnTo>
                  <a:lnTo>
                    <a:pt x="610" y="626"/>
                  </a:lnTo>
                  <a:lnTo>
                    <a:pt x="611" y="630"/>
                  </a:lnTo>
                  <a:lnTo>
                    <a:pt x="612" y="632"/>
                  </a:lnTo>
                  <a:lnTo>
                    <a:pt x="620" y="632"/>
                  </a:lnTo>
                  <a:lnTo>
                    <a:pt x="624" y="622"/>
                  </a:lnTo>
                  <a:lnTo>
                    <a:pt x="633" y="602"/>
                  </a:lnTo>
                  <a:lnTo>
                    <a:pt x="641" y="583"/>
                  </a:lnTo>
                  <a:lnTo>
                    <a:pt x="646" y="574"/>
                  </a:lnTo>
                  <a:lnTo>
                    <a:pt x="646" y="545"/>
                  </a:lnTo>
                  <a:lnTo>
                    <a:pt x="651" y="532"/>
                  </a:lnTo>
                  <a:lnTo>
                    <a:pt x="655" y="517"/>
                  </a:lnTo>
                  <a:lnTo>
                    <a:pt x="657" y="501"/>
                  </a:lnTo>
                  <a:lnTo>
                    <a:pt x="658" y="486"/>
                  </a:lnTo>
                  <a:lnTo>
                    <a:pt x="660" y="470"/>
                  </a:lnTo>
                  <a:lnTo>
                    <a:pt x="662" y="455"/>
                  </a:lnTo>
                  <a:lnTo>
                    <a:pt x="666" y="440"/>
                  </a:lnTo>
                  <a:lnTo>
                    <a:pt x="670" y="427"/>
                  </a:lnTo>
                  <a:lnTo>
                    <a:pt x="671" y="419"/>
                  </a:lnTo>
                  <a:lnTo>
                    <a:pt x="673" y="411"/>
                  </a:lnTo>
                  <a:lnTo>
                    <a:pt x="677" y="403"/>
                  </a:lnTo>
                  <a:lnTo>
                    <a:pt x="681" y="395"/>
                  </a:lnTo>
                  <a:lnTo>
                    <a:pt x="685" y="388"/>
                  </a:lnTo>
                  <a:lnTo>
                    <a:pt x="688" y="380"/>
                  </a:lnTo>
                  <a:lnTo>
                    <a:pt x="690" y="372"/>
                  </a:lnTo>
                  <a:lnTo>
                    <a:pt x="691" y="364"/>
                  </a:lnTo>
                  <a:lnTo>
                    <a:pt x="700" y="360"/>
                  </a:lnTo>
                  <a:lnTo>
                    <a:pt x="703" y="345"/>
                  </a:lnTo>
                  <a:lnTo>
                    <a:pt x="704" y="331"/>
                  </a:lnTo>
                  <a:lnTo>
                    <a:pt x="708" y="322"/>
                  </a:lnTo>
                  <a:lnTo>
                    <a:pt x="713" y="309"/>
                  </a:lnTo>
                  <a:lnTo>
                    <a:pt x="720" y="302"/>
                  </a:lnTo>
                  <a:lnTo>
                    <a:pt x="721" y="295"/>
                  </a:lnTo>
                  <a:lnTo>
                    <a:pt x="723" y="288"/>
                  </a:lnTo>
                  <a:lnTo>
                    <a:pt x="726" y="282"/>
                  </a:lnTo>
                  <a:lnTo>
                    <a:pt x="729" y="275"/>
                  </a:lnTo>
                  <a:lnTo>
                    <a:pt x="737" y="261"/>
                  </a:lnTo>
                  <a:lnTo>
                    <a:pt x="747" y="248"/>
                  </a:lnTo>
                  <a:lnTo>
                    <a:pt x="757" y="235"/>
                  </a:lnTo>
                  <a:lnTo>
                    <a:pt x="767" y="222"/>
                  </a:lnTo>
                  <a:lnTo>
                    <a:pt x="775" y="211"/>
                  </a:lnTo>
                  <a:lnTo>
                    <a:pt x="780" y="201"/>
                  </a:lnTo>
                  <a:lnTo>
                    <a:pt x="782" y="200"/>
                  </a:lnTo>
                  <a:lnTo>
                    <a:pt x="784" y="200"/>
                  </a:lnTo>
                  <a:lnTo>
                    <a:pt x="786" y="198"/>
                  </a:lnTo>
                  <a:lnTo>
                    <a:pt x="787" y="197"/>
                  </a:lnTo>
                  <a:lnTo>
                    <a:pt x="792" y="192"/>
                  </a:lnTo>
                  <a:lnTo>
                    <a:pt x="796" y="189"/>
                  </a:lnTo>
                  <a:lnTo>
                    <a:pt x="803" y="178"/>
                  </a:lnTo>
                  <a:lnTo>
                    <a:pt x="809" y="168"/>
                  </a:lnTo>
                  <a:lnTo>
                    <a:pt x="822" y="163"/>
                  </a:lnTo>
                  <a:lnTo>
                    <a:pt x="825" y="158"/>
                  </a:lnTo>
                  <a:lnTo>
                    <a:pt x="832" y="151"/>
                  </a:lnTo>
                  <a:lnTo>
                    <a:pt x="841" y="145"/>
                  </a:lnTo>
                  <a:lnTo>
                    <a:pt x="847" y="142"/>
                  </a:lnTo>
                  <a:lnTo>
                    <a:pt x="851" y="138"/>
                  </a:lnTo>
                  <a:lnTo>
                    <a:pt x="851" y="134"/>
                  </a:lnTo>
                  <a:lnTo>
                    <a:pt x="853" y="130"/>
                  </a:lnTo>
                  <a:lnTo>
                    <a:pt x="857" y="126"/>
                  </a:lnTo>
                  <a:lnTo>
                    <a:pt x="859" y="125"/>
                  </a:lnTo>
                  <a:lnTo>
                    <a:pt x="859" y="104"/>
                  </a:lnTo>
                  <a:lnTo>
                    <a:pt x="858" y="104"/>
                  </a:lnTo>
                  <a:lnTo>
                    <a:pt x="855" y="102"/>
                  </a:lnTo>
                  <a:lnTo>
                    <a:pt x="852" y="100"/>
                  </a:lnTo>
                  <a:lnTo>
                    <a:pt x="851" y="96"/>
                  </a:lnTo>
                  <a:lnTo>
                    <a:pt x="842" y="92"/>
                  </a:lnTo>
                  <a:lnTo>
                    <a:pt x="834" y="92"/>
                  </a:lnTo>
                  <a:lnTo>
                    <a:pt x="825" y="84"/>
                  </a:lnTo>
                  <a:lnTo>
                    <a:pt x="815" y="82"/>
                  </a:lnTo>
                  <a:lnTo>
                    <a:pt x="805" y="80"/>
                  </a:lnTo>
                  <a:lnTo>
                    <a:pt x="791" y="77"/>
                  </a:lnTo>
                  <a:lnTo>
                    <a:pt x="773" y="76"/>
                  </a:lnTo>
                  <a:lnTo>
                    <a:pt x="754" y="75"/>
                  </a:lnTo>
                  <a:lnTo>
                    <a:pt x="737" y="75"/>
                  </a:lnTo>
                  <a:lnTo>
                    <a:pt x="724" y="65"/>
                  </a:lnTo>
                  <a:lnTo>
                    <a:pt x="713" y="58"/>
                  </a:lnTo>
                  <a:lnTo>
                    <a:pt x="713" y="46"/>
                  </a:lnTo>
                  <a:lnTo>
                    <a:pt x="710" y="45"/>
                  </a:lnTo>
                  <a:lnTo>
                    <a:pt x="709" y="44"/>
                  </a:lnTo>
                  <a:lnTo>
                    <a:pt x="708" y="40"/>
                  </a:lnTo>
                  <a:lnTo>
                    <a:pt x="708" y="37"/>
                  </a:lnTo>
                  <a:lnTo>
                    <a:pt x="704" y="28"/>
                  </a:lnTo>
                  <a:lnTo>
                    <a:pt x="700" y="17"/>
                  </a:lnTo>
                  <a:lnTo>
                    <a:pt x="691" y="13"/>
                  </a:lnTo>
                  <a:lnTo>
                    <a:pt x="691" y="4"/>
                  </a:lnTo>
                  <a:lnTo>
                    <a:pt x="687" y="0"/>
                  </a:lnTo>
                  <a:lnTo>
                    <a:pt x="679" y="0"/>
                  </a:lnTo>
                  <a:lnTo>
                    <a:pt x="669" y="0"/>
                  </a:lnTo>
                  <a:lnTo>
                    <a:pt x="658" y="0"/>
                  </a:lnTo>
                  <a:lnTo>
                    <a:pt x="650" y="0"/>
                  </a:lnTo>
                  <a:lnTo>
                    <a:pt x="637" y="8"/>
                  </a:lnTo>
                  <a:lnTo>
                    <a:pt x="629" y="8"/>
                  </a:lnTo>
                  <a:lnTo>
                    <a:pt x="622" y="10"/>
                  </a:lnTo>
                  <a:lnTo>
                    <a:pt x="617" y="13"/>
                  </a:lnTo>
                  <a:lnTo>
                    <a:pt x="614" y="15"/>
                  </a:lnTo>
                  <a:lnTo>
                    <a:pt x="611" y="16"/>
                  </a:lnTo>
                  <a:lnTo>
                    <a:pt x="608" y="17"/>
                  </a:lnTo>
                  <a:lnTo>
                    <a:pt x="603" y="17"/>
                  </a:lnTo>
                  <a:lnTo>
                    <a:pt x="600" y="25"/>
                  </a:lnTo>
                  <a:lnTo>
                    <a:pt x="593" y="25"/>
                  </a:lnTo>
                  <a:lnTo>
                    <a:pt x="586" y="25"/>
                  </a:lnTo>
                  <a:lnTo>
                    <a:pt x="580" y="32"/>
                  </a:lnTo>
                  <a:lnTo>
                    <a:pt x="572" y="36"/>
                  </a:lnTo>
                  <a:lnTo>
                    <a:pt x="564" y="40"/>
                  </a:lnTo>
                  <a:lnTo>
                    <a:pt x="557" y="42"/>
                  </a:lnTo>
                  <a:lnTo>
                    <a:pt x="553" y="46"/>
                  </a:lnTo>
                  <a:lnTo>
                    <a:pt x="544" y="54"/>
                  </a:lnTo>
                  <a:lnTo>
                    <a:pt x="538" y="59"/>
                  </a:lnTo>
                  <a:lnTo>
                    <a:pt x="533" y="63"/>
                  </a:lnTo>
                  <a:lnTo>
                    <a:pt x="527" y="66"/>
                  </a:lnTo>
                  <a:lnTo>
                    <a:pt x="524" y="67"/>
                  </a:lnTo>
                  <a:lnTo>
                    <a:pt x="524" y="80"/>
                  </a:lnTo>
                  <a:lnTo>
                    <a:pt x="516" y="84"/>
                  </a:lnTo>
                  <a:lnTo>
                    <a:pt x="516" y="94"/>
                  </a:lnTo>
                  <a:lnTo>
                    <a:pt x="516" y="104"/>
                  </a:lnTo>
                  <a:lnTo>
                    <a:pt x="514" y="105"/>
                  </a:lnTo>
                  <a:lnTo>
                    <a:pt x="513" y="106"/>
                  </a:lnTo>
                  <a:lnTo>
                    <a:pt x="513" y="109"/>
                  </a:lnTo>
                  <a:lnTo>
                    <a:pt x="512" y="112"/>
                  </a:lnTo>
                  <a:lnTo>
                    <a:pt x="512" y="117"/>
                  </a:lnTo>
                  <a:lnTo>
                    <a:pt x="512" y="121"/>
                  </a:lnTo>
                  <a:lnTo>
                    <a:pt x="509" y="122"/>
                  </a:lnTo>
                  <a:lnTo>
                    <a:pt x="507" y="122"/>
                  </a:lnTo>
                  <a:lnTo>
                    <a:pt x="507" y="123"/>
                  </a:lnTo>
                  <a:lnTo>
                    <a:pt x="506" y="124"/>
                  </a:lnTo>
                  <a:lnTo>
                    <a:pt x="505" y="126"/>
                  </a:lnTo>
                  <a:lnTo>
                    <a:pt x="503" y="129"/>
                  </a:lnTo>
                  <a:lnTo>
                    <a:pt x="499" y="131"/>
                  </a:lnTo>
                  <a:lnTo>
                    <a:pt x="495" y="13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</p:grpSp>
      <p:sp>
        <p:nvSpPr>
          <p:cNvPr id="135" name="Rectangle 134"/>
          <p:cNvSpPr/>
          <p:nvPr/>
        </p:nvSpPr>
        <p:spPr>
          <a:xfrm>
            <a:off x="8282864" y="1650084"/>
            <a:ext cx="3404332" cy="2426105"/>
          </a:xfrm>
          <a:prstGeom prst="rect">
            <a:avLst/>
          </a:prstGeom>
          <a:noFill/>
          <a:ln w="1905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l-GR" sz="1400" dirty="0">
              <a:solidFill>
                <a:srgbClr val="FFFFFF"/>
              </a:solidFill>
            </a:endParaRPr>
          </a:p>
        </p:txBody>
      </p:sp>
      <p:sp>
        <p:nvSpPr>
          <p:cNvPr id="136" name="Rounded Rectangle 135"/>
          <p:cNvSpPr/>
          <p:nvPr/>
        </p:nvSpPr>
        <p:spPr>
          <a:xfrm>
            <a:off x="9349721" y="1543102"/>
            <a:ext cx="1346751" cy="272415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4"/>
            </a:solidFill>
          </a:ln>
        </p:spPr>
        <p:txBody>
          <a:bodyPr wrap="none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1A1A1A"/>
                </a:solidFill>
              </a:rPr>
              <a:t>Attiki: 3</a:t>
            </a:r>
            <a:r>
              <a:rPr lang="el-GR" sz="1000" b="1" dirty="0">
                <a:solidFill>
                  <a:srgbClr val="1A1A1A"/>
                </a:solidFill>
              </a:rPr>
              <a:t>6</a:t>
            </a:r>
            <a:r>
              <a:rPr lang="en-US" sz="1000" b="1" dirty="0">
                <a:solidFill>
                  <a:srgbClr val="1A1A1A"/>
                </a:solidFill>
              </a:rPr>
              <a:t> hospitals</a:t>
            </a:r>
          </a:p>
        </p:txBody>
      </p:sp>
      <p:sp>
        <p:nvSpPr>
          <p:cNvPr id="137" name="Rectangle 136"/>
          <p:cNvSpPr/>
          <p:nvPr/>
        </p:nvSpPr>
        <p:spPr>
          <a:xfrm>
            <a:off x="477013" y="1974926"/>
            <a:ext cx="2973726" cy="1308919"/>
          </a:xfrm>
          <a:prstGeom prst="rect">
            <a:avLst/>
          </a:prstGeom>
          <a:noFill/>
          <a:ln w="1905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l-GR" sz="1400" dirty="0">
              <a:solidFill>
                <a:srgbClr val="FFFFFF"/>
              </a:solidFill>
            </a:endParaRPr>
          </a:p>
        </p:txBody>
      </p:sp>
      <p:sp>
        <p:nvSpPr>
          <p:cNvPr id="138" name="Rounded Rectangle 137"/>
          <p:cNvSpPr/>
          <p:nvPr/>
        </p:nvSpPr>
        <p:spPr>
          <a:xfrm>
            <a:off x="1224490" y="1837944"/>
            <a:ext cx="1468309" cy="272415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none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1A1A1A"/>
                </a:solidFill>
              </a:rPr>
              <a:t>Salonica: 5 hospitals</a:t>
            </a:r>
          </a:p>
        </p:txBody>
      </p:sp>
      <p:sp>
        <p:nvSpPr>
          <p:cNvPr id="139" name="Rectangle 138"/>
          <p:cNvSpPr/>
          <p:nvPr/>
        </p:nvSpPr>
        <p:spPr>
          <a:xfrm>
            <a:off x="357467" y="4131304"/>
            <a:ext cx="1919657" cy="1217168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l-GR" sz="1400" dirty="0">
              <a:solidFill>
                <a:srgbClr val="FFFFFF"/>
              </a:solidFill>
            </a:endParaRPr>
          </a:p>
        </p:txBody>
      </p:sp>
      <p:sp>
        <p:nvSpPr>
          <p:cNvPr id="140" name="Rounded Rectangle 139"/>
          <p:cNvSpPr/>
          <p:nvPr/>
        </p:nvSpPr>
        <p:spPr>
          <a:xfrm>
            <a:off x="407679" y="4051147"/>
            <a:ext cx="1756403" cy="272415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txBody>
          <a:bodyPr wrap="none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1A1A1A"/>
                </a:solidFill>
              </a:rPr>
              <a:t>North Greece: 4 hospitals</a:t>
            </a:r>
          </a:p>
        </p:txBody>
      </p:sp>
      <p:sp>
        <p:nvSpPr>
          <p:cNvPr id="141" name="Rectangle 140"/>
          <p:cNvSpPr/>
          <p:nvPr/>
        </p:nvSpPr>
        <p:spPr>
          <a:xfrm>
            <a:off x="2918515" y="4608500"/>
            <a:ext cx="1933194" cy="842396"/>
          </a:xfrm>
          <a:prstGeom prst="rect">
            <a:avLst/>
          </a:prstGeom>
          <a:noFill/>
          <a:ln w="1905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l-GR" sz="1400" dirty="0">
              <a:solidFill>
                <a:srgbClr val="FFFFFF"/>
              </a:solidFill>
            </a:endParaRPr>
          </a:p>
        </p:txBody>
      </p:sp>
      <p:sp>
        <p:nvSpPr>
          <p:cNvPr id="142" name="Rounded Rectangle 141"/>
          <p:cNvSpPr/>
          <p:nvPr/>
        </p:nvSpPr>
        <p:spPr>
          <a:xfrm>
            <a:off x="2956477" y="4382772"/>
            <a:ext cx="1777444" cy="272415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wrap="none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1A1A1A"/>
                </a:solidFill>
              </a:rPr>
              <a:t>South Greece: 6 hospitals</a:t>
            </a:r>
          </a:p>
        </p:txBody>
      </p:sp>
      <p:graphicFrame>
        <p:nvGraphicFramePr>
          <p:cNvPr id="144" name="Table 143"/>
          <p:cNvGraphicFramePr>
            <a:graphicFrameLocks noGrp="1"/>
          </p:cNvGraphicFramePr>
          <p:nvPr/>
        </p:nvGraphicFramePr>
        <p:xfrm>
          <a:off x="593540" y="2135456"/>
          <a:ext cx="2525338" cy="990309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5253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62969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ΑΓΙΟΣ ΛΟΥΚΑΣ ΚΛΙΝΙΚΗ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2969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Γ.Ν.Θ. 'ΙΠΠΟΚΡΑΤΕΙΟ-ΑΦΡΟΔΙΣΙΩΝ'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320262856"/>
                  </a:ext>
                </a:extLst>
              </a:tr>
              <a:tr h="175311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Γ.Π.Ν. ΠΑΠΑΓΕΩΡΓΙΟΥ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2969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ΙΑΤΡΙΚΟ ΔΙΑΒΑΛΚΑΝΙΚΟ ΘΕΣΣΑΛΟΝΙΚΗ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2969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ΓΝΘ 'Γ.ΠΑΠΑΝΙΚΟΛΑΟΥ'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3122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Π.Γ.ΝΟΣ ΑΧΕΠΑ ΘΕΣΣΑΛΟΝΙΚΗΣ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145" name="Table 144"/>
          <p:cNvGraphicFramePr>
            <a:graphicFrameLocks noGrp="1"/>
          </p:cNvGraphicFramePr>
          <p:nvPr/>
        </p:nvGraphicFramePr>
        <p:xfrm>
          <a:off x="390933" y="4474293"/>
          <a:ext cx="1886191" cy="55945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8861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6484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ΠΓΝ ΛΑΡΙΣΑΣ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6484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Π.Γ.Ν.ΙΩΑΝΝΙΝΩΝ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6484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ΠΑΝ.ΓΕΝ.ΝΟΣ. ΕΒΡΟΥ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cxnSp>
        <p:nvCxnSpPr>
          <p:cNvPr id="147" name="Straight Connector 146"/>
          <p:cNvCxnSpPr>
            <a:cxnSpLocks/>
            <a:endCxn id="146" idx="3"/>
          </p:cNvCxnSpPr>
          <p:nvPr/>
        </p:nvCxnSpPr>
        <p:spPr>
          <a:xfrm flipH="1">
            <a:off x="4862305" y="3865286"/>
            <a:ext cx="573660" cy="1152683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/>
          <p:cNvCxnSpPr>
            <a:cxnSpLocks/>
            <a:endCxn id="144" idx="3"/>
          </p:cNvCxnSpPr>
          <p:nvPr/>
        </p:nvCxnSpPr>
        <p:spPr>
          <a:xfrm flipH="1">
            <a:off x="3118878" y="2413568"/>
            <a:ext cx="2891774" cy="217042"/>
          </a:xfrm>
          <a:prstGeom prst="line">
            <a:avLst/>
          </a:prstGeom>
          <a:ln w="12700" cmpd="sng">
            <a:solidFill>
              <a:srgbClr val="ED8B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>
            <a:cxnSpLocks/>
          </p:cNvCxnSpPr>
          <p:nvPr/>
        </p:nvCxnSpPr>
        <p:spPr>
          <a:xfrm flipH="1">
            <a:off x="2277124" y="3021573"/>
            <a:ext cx="2995208" cy="1631976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67A5EE98-23EF-479A-9BBC-D7A150D1D4ED}"/>
              </a:ext>
            </a:extLst>
          </p:cNvPr>
          <p:cNvCxnSpPr>
            <a:cxnSpLocks/>
          </p:cNvCxnSpPr>
          <p:nvPr/>
        </p:nvCxnSpPr>
        <p:spPr>
          <a:xfrm flipV="1">
            <a:off x="6093071" y="3062847"/>
            <a:ext cx="2237962" cy="948789"/>
          </a:xfrm>
          <a:prstGeom prst="line">
            <a:avLst/>
          </a:prstGeom>
          <a:ln w="12700" cmpd="sng">
            <a:solidFill>
              <a:srgbClr val="43B02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4C2A4B1-4E96-4554-9D1D-335E8E667DBB}"/>
              </a:ext>
            </a:extLst>
          </p:cNvPr>
          <p:cNvGraphicFramePr>
            <a:graphicFrameLocks noGrp="1"/>
          </p:cNvGraphicFramePr>
          <p:nvPr/>
        </p:nvGraphicFramePr>
        <p:xfrm>
          <a:off x="8393523" y="1837944"/>
          <a:ext cx="3092111" cy="22132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92111">
                  <a:extLst>
                    <a:ext uri="{9D8B030D-6E8A-4147-A177-3AD203B41FA5}">
                      <a16:colId xmlns:a16="http://schemas.microsoft.com/office/drawing/2014/main" val="3543330539"/>
                    </a:ext>
                  </a:extLst>
                </a:gridCol>
              </a:tblGrid>
              <a:tr h="147547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1 ΓΕΝΙΚΟ ΝΟΣΟΚΟΜΕΙΟ ΑΕΡΟΠΟΡΙΑΣ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6972474"/>
                  </a:ext>
                </a:extLst>
              </a:tr>
              <a:tr h="147547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1 ΣΤΡΑΤΙΩΤΙΚΟ ΝΟΣΟΚ.ΑΘΗΝΩΝ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9049683"/>
                  </a:ext>
                </a:extLst>
              </a:tr>
              <a:tr h="147547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ΑΓΙΟΣ ΣΑΒΒΑΣ ΟΓΚΟΛΟΓΙΚΟ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3763034"/>
                  </a:ext>
                </a:extLst>
              </a:tr>
              <a:tr h="147547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Γ. Ν. 'Ε. ΒΕΝΙΖΕΛΟΥ-ΑΛΕΞΑΝΔΡΑ'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7526737"/>
                  </a:ext>
                </a:extLst>
              </a:tr>
              <a:tr h="147547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Γ.Ν.Α. 'ΑΛΕΞΑΝΔΡΑ'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1977744"/>
                  </a:ext>
                </a:extLst>
              </a:tr>
              <a:tr h="147547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Γ.Ν.ΓΕΝΝΗΜΑΤΑΣ ΑΘΗΝΩΝ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5038713"/>
                  </a:ext>
                </a:extLst>
              </a:tr>
              <a:tr h="147547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Γ.Ν.ΛΑΙΚΟ ΑΘΗΝΩΝ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6127063"/>
                  </a:ext>
                </a:extLst>
              </a:tr>
              <a:tr h="147547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Γ.Ν.ΣΩΤΗΡΙΑ ΝΟΣΗΜΑΤΩΝ ΘΩΡΑΚΟΣ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5248382"/>
                  </a:ext>
                </a:extLst>
              </a:tr>
              <a:tr h="147547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Γ.Π.Ν.ΛΑΙΚΟΥ ΠΑΡΑΡΤΗΜΑ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8794431"/>
                  </a:ext>
                </a:extLst>
              </a:tr>
              <a:tr h="147547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ΓΝΑ 'ΕΥΑΓΓΕΛΙΣΜΟΣ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8537850"/>
                  </a:ext>
                </a:extLst>
              </a:tr>
              <a:tr h="147547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ΓΝΑ 'ΣΙΣΜΑΝΟΓΛΕΙΟ - ΑΜ.ΦΛΕΜΙΝΓΚ'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398166"/>
                  </a:ext>
                </a:extLst>
              </a:tr>
              <a:tr h="147547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ΙΑΤΡΙΚΟ ΑΘΗΝΩΝ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5153541"/>
                  </a:ext>
                </a:extLst>
              </a:tr>
              <a:tr h="147547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ΙΑΤΡΙΚΟ ΨΥΧΙΚΟΥ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161065"/>
                  </a:ext>
                </a:extLst>
              </a:tr>
              <a:tr h="147547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ΜΕΤΑΞΑ ΑΝΤΙΚΑΡΚΙΝΙΚΟ ΝΟΣ.ΠΕΙΡΑΙΑ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3356"/>
                  </a:ext>
                </a:extLst>
              </a:tr>
              <a:tr h="147547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Π.Γ.Ν. ΑΤΤΙΚΟΝ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52689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76330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4CD975D-CFDB-4FA4-A0CF-3F3FD103AE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7828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2" name="think-cell Slide" r:id="rId28" imgW="216" imgH="216" progId="TCLayout.ActiveDocument.1">
                  <p:embed/>
                </p:oleObj>
              </mc:Choice>
              <mc:Fallback>
                <p:oleObj name="think-cell Slide" r:id="rId28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4CD975D-CFDB-4FA4-A0CF-3F3FD103AE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A6B0DA0-FD11-4511-9E0A-1E681E7B206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en-US" sz="9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E90FB348-9C4B-7E44-A8A8-D7CBD32A8D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61% of CML patients are in 1</a:t>
            </a:r>
            <a:r>
              <a:rPr lang="en-US" baseline="30000" dirty="0"/>
              <a:t>st</a:t>
            </a:r>
            <a:r>
              <a:rPr lang="en-US" dirty="0"/>
              <a:t> Line, 29% in 2</a:t>
            </a:r>
            <a:r>
              <a:rPr lang="en-US" baseline="30000" dirty="0"/>
              <a:t>nd</a:t>
            </a:r>
            <a:r>
              <a:rPr lang="en-US" dirty="0"/>
              <a:t> Line and 10% in 3</a:t>
            </a:r>
            <a:r>
              <a:rPr lang="en-US" baseline="30000" dirty="0"/>
              <a:t>rd</a:t>
            </a:r>
            <a:r>
              <a:rPr lang="en-US" dirty="0"/>
              <a:t> Lin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E7D710EB-53F5-9A48-BB17-287752DB46CA}"/>
              </a:ext>
            </a:extLst>
          </p:cNvPr>
          <p:cNvSpPr txBox="1">
            <a:spLocks/>
          </p:cNvSpPr>
          <p:nvPr/>
        </p:nvSpPr>
        <p:spPr>
          <a:xfrm>
            <a:off x="396377" y="1063587"/>
            <a:ext cx="11246241" cy="27699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US" sz="2000" i="1" dirty="0">
                <a:solidFill>
                  <a:schemeClr val="accent1"/>
                </a:solidFill>
              </a:rPr>
              <a:t>CML workload and treatment line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5E85D1F5-F50B-4E2C-AC26-12D2EB4CC1F0}"/>
              </a:ext>
            </a:extLst>
          </p:cNvPr>
          <p:cNvSpPr txBox="1">
            <a:spLocks/>
          </p:cNvSpPr>
          <p:nvPr/>
        </p:nvSpPr>
        <p:spPr>
          <a:xfrm>
            <a:off x="477012" y="5564283"/>
            <a:ext cx="11246241" cy="664797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% patients</a:t>
            </a:r>
          </a:p>
          <a:p>
            <a:r>
              <a:rPr lang="en-US" dirty="0"/>
              <a:t>Base: n=40 physicians (Attica:25, Salonica: 8, Rest: 7)</a:t>
            </a:r>
          </a:p>
          <a:p>
            <a:pPr lvl="0"/>
            <a:r>
              <a:rPr lang="en-US" dirty="0"/>
              <a:t>Q1. How many patients with CML did you treat the last 3 months?</a:t>
            </a:r>
            <a:endParaRPr lang="el-GR" dirty="0"/>
          </a:p>
          <a:p>
            <a:pPr lvl="0"/>
            <a:r>
              <a:rPr lang="en-US" dirty="0"/>
              <a:t>Q3 What % of CML patients participate in clinical trials or early access programs?</a:t>
            </a:r>
          </a:p>
          <a:p>
            <a:r>
              <a:rPr lang="en-US" dirty="0"/>
              <a:t>Q5. How are your CML patients allocated per TKI treatment line?</a:t>
            </a:r>
            <a:endParaRPr lang="el-GR" dirty="0"/>
          </a:p>
          <a:p>
            <a:pPr lvl="0"/>
            <a:r>
              <a:rPr lang="en-US" dirty="0"/>
              <a:t> </a:t>
            </a:r>
            <a:endParaRPr lang="el-GR" dirty="0"/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5CC4DBD2-46F7-4AF5-8885-6C07CB4C64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00391414"/>
              </p:ext>
            </p:extLst>
          </p:nvPr>
        </p:nvGraphicFramePr>
        <p:xfrm>
          <a:off x="817212" y="-114301"/>
          <a:ext cx="5278788" cy="65114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0" r:lo="rId31" r:qs="rId32" r:cs="rId33"/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87D473D2-F047-442F-96F6-DD6F12D0D243}"/>
              </a:ext>
            </a:extLst>
          </p:cNvPr>
          <p:cNvSpPr/>
          <p:nvPr/>
        </p:nvSpPr>
        <p:spPr>
          <a:xfrm>
            <a:off x="814037" y="3664781"/>
            <a:ext cx="1573563" cy="80010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Attica:12,5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Salonica:14,4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Rest:22,3</a:t>
            </a:r>
            <a:endParaRPr lang="el-GR" sz="1200" dirty="0" err="1">
              <a:solidFill>
                <a:schemeClr val="tx1"/>
              </a:solidFill>
            </a:endParaRPr>
          </a:p>
        </p:txBody>
      </p:sp>
      <p:graphicFrame>
        <p:nvGraphicFramePr>
          <p:cNvPr id="42" name="Chart 41">
            <a:extLst>
              <a:ext uri="{FF2B5EF4-FFF2-40B4-BE49-F238E27FC236}">
                <a16:creationId xmlns:a16="http://schemas.microsoft.com/office/drawing/2014/main" id="{5F88664F-6DA8-40DB-B91C-4FC5E7733EE2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32186773"/>
              </p:ext>
            </p:extLst>
          </p:nvPr>
        </p:nvGraphicFramePr>
        <p:xfrm>
          <a:off x="6594475" y="1812925"/>
          <a:ext cx="4200525" cy="2670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6DE83F57-B6A3-4D64-81AE-8D9E17C95ADA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8059738" y="4217989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5DF6F1D-21D1-40DA-B1C2-6E651EBA4D38}" type="datetime'''''''''''''''''''''''''''''''''''''10''''%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3C9F679-AB4D-4E80-ADFE-FB919F199468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7051675" y="2600326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37ACFBD-BA7C-412C-8886-4973D35A44F9}" type="datetime'6''''''''''1''''''''''''''''''''''''''''''''''''%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1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512" name="Rectangle 511">
            <a:extLst>
              <a:ext uri="{FF2B5EF4-FFF2-40B4-BE49-F238E27FC236}">
                <a16:creationId xmlns:a16="http://schemas.microsoft.com/office/drawing/2014/main" id="{AD78CBC8-A31C-4265-801E-E250AFBDDCA3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8024813" y="4438650"/>
            <a:ext cx="3302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90BBF8A-A9E4-4738-B290-1A26AEAAF4D0}" type="datetime'''''''''''''''''''''''''''A''''tt''''''''''''''''''ic''a'">
              <a:rPr lang="en-US" altLang="en-US" sz="900" b="1" smtClean="0">
                <a:solidFill>
                  <a:schemeClr val="tx1"/>
                </a:solidFill>
              </a:rPr>
              <a:pPr/>
              <a:t>Attica</a:t>
            </a:fld>
            <a:endParaRPr lang="el-GR" sz="9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0516145-552E-4B4F-ACDB-53AC50B3B351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7051675" y="3732214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4BE0DF4-99E2-4BA5-9608-BE3D1BEBD307}" type="datetime'''''2''''''9''%''''''''''''''''''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9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23141B0-FA5E-4250-8FB9-A609A6BFE006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7051675" y="4217989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80CA9C4-BB3E-417B-AA6C-B79E5AB74538}" type="datetime'''''''''''1''''''''''0''''%''''''''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A29801C-BE17-46D3-B618-22976F5E1E71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038975" y="4438650"/>
            <a:ext cx="285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2B70008-CAEA-4778-886E-2F350C55F557}" type="datetime'''''T''o''''''''''''''''t''a''''''l'''''''">
              <a:rPr lang="en-US" altLang="en-US" sz="900" b="1" smtClean="0">
                <a:solidFill>
                  <a:schemeClr val="tx1"/>
                </a:solidFill>
              </a:rPr>
              <a:pPr/>
              <a:t>Total</a:t>
            </a:fld>
            <a:endParaRPr lang="el-GR" sz="9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B5BB061-DD12-4BA8-AE92-C572FECE5A94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8059738" y="2619376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041E789-B13E-4349-9DBA-C64650EABFA0}" type="datetime'''''''''''''''''''''6''''''''3''''''''''''''%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3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C0DF191-0DD7-469E-804B-402D4637ABA3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8059738" y="3751264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947F47F-F8D9-47DD-B07B-B2090F670013}" type="datetime'''2''''8''''''''''''''''''''''''''''''''''''''''%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8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260FCFB-D7AE-4B44-AE3E-E31CFF07F646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9069388" y="2573339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089FC81-9B0B-4033-880D-2538247A5DBC}" type="datetime'''''''''''''''''''5''''''9''''''''%''''''''''''''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9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ED7BFE4-6DD0-4D5B-9A58-A260DB570748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9069388" y="3695701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90F19E9-7D1D-44EA-B8B9-C31AB1D6DA9B}" type="datetime'''3''''''''''0''''''''''''''''%''''''''''''''''''''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0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263A33A-86B6-4D55-BE3F-450EC7B37531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9069388" y="4206876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7C2BFA1-3789-468F-AF4C-EC2E5722683B}" type="datetime'''''''''''''''''1''0''''''''''''''''''''''''%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514" name="Rectangle 513">
            <a:extLst>
              <a:ext uri="{FF2B5EF4-FFF2-40B4-BE49-F238E27FC236}">
                <a16:creationId xmlns:a16="http://schemas.microsoft.com/office/drawing/2014/main" id="{72520D39-AA01-4E07-88B5-1DA06533C73E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8936038" y="4438650"/>
            <a:ext cx="5270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0341263-03E1-4D23-8268-79590AC49B4F}" type="datetime'''''''''''''Sa''l''''''on''''''i''''c''''''''a''''''*'''''''''">
              <a:rPr lang="en-US" altLang="en-US" sz="900" b="1" smtClean="0">
                <a:solidFill>
                  <a:schemeClr val="tx1"/>
                </a:solidFill>
              </a:rPr>
              <a:pPr/>
              <a:t>Salonica*</a:t>
            </a:fld>
            <a:endParaRPr lang="el-GR" sz="9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FD94D46-0E71-424B-BEF1-C04397239769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10077450" y="2579689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E4746E2-7A1D-4B9F-AF31-F5E04E09B722}" type="datetime'6''''''''0%''''''''''''''''''''''''''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0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66C6479-FA9B-4E44-8439-CFCC64F914C1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10077450" y="3719514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A5A7D63-22CE-457F-8284-8521506E2195}" type="datetime'''''''''''''''''3''''''''1''%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1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25DE1AE-119A-45E8-8445-AE865B31C478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10109200" y="4225926"/>
            <a:ext cx="1968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2E314DA-0136-475B-BB53-C5EBE3B7B399}" type="datetime'''''''''''''''9%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516" name="Rectangle 515">
            <a:extLst>
              <a:ext uri="{FF2B5EF4-FFF2-40B4-BE49-F238E27FC236}">
                <a16:creationId xmlns:a16="http://schemas.microsoft.com/office/drawing/2014/main" id="{243FF82C-FFF6-4B27-9261-69BB709C67B5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0055225" y="4438650"/>
            <a:ext cx="3048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DD4B53D-FDEF-4B4A-9982-57E1B41653A6}" type="datetime'''''''''''''''R''e''''''''s''''''t''''''''*'''''''''''''''''''">
              <a:rPr lang="en-US" altLang="en-US" sz="900" b="1" smtClean="0">
                <a:solidFill>
                  <a:schemeClr val="tx1"/>
                </a:solidFill>
              </a:rPr>
              <a:pPr/>
              <a:t>Rest*</a:t>
            </a:fld>
            <a:endParaRPr lang="el-GR" sz="9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4462579-84EF-49A0-BCDE-2D4CEA08E049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0756900" y="2319338"/>
            <a:ext cx="160338" cy="1206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EDCCE8C-1D07-4E7D-B8B4-06B0CE755AF9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0756900" y="1944688"/>
            <a:ext cx="160338" cy="1206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620C26D-B063-4490-AF19-B0DE4415FFDD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0756900" y="2132013"/>
            <a:ext cx="160338" cy="1206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DAB2350-AD87-495F-BB25-F6C92E84CA84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10968038" y="1941513"/>
            <a:ext cx="4000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55A5423-06A5-49DC-B05D-5B936C49B828}" type="datetime'''1s''''''t'''''''''' L''''''i''''''''n''''''''''''''''''''e'">
              <a:rPr lang="en-US" altLang="en-US" sz="9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1st Line</a:t>
            </a:fld>
            <a:endParaRPr lang="el-GR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6C806C-CB33-4336-A577-282867C144A9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10968038" y="2316163"/>
            <a:ext cx="412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DDC1B55-785B-4B13-96FD-88F59BF4CD61}" type="datetime'3''''''''''''rd'''''''''''''' ''Li''''''n''''e'''''">
              <a:rPr lang="en-US" altLang="en-US" sz="900" smtClean="0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3rd Line</a:t>
            </a:fld>
            <a:endParaRPr lang="el-GR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5890DAD-8004-404B-8E30-E4611BAA963E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10968038" y="2128838"/>
            <a:ext cx="4381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80DEC21-F3EC-4C82-9EFA-3C4DD1C6B243}" type="datetime'''2''''''''n''''d'''''''''''''' Lin''''''''''''e'''">
              <a:rPr lang="en-US" altLang="en-US" sz="900" smtClean="0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2nd Line</a:t>
            </a:fld>
            <a:endParaRPr lang="el-GR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CEF527C-8273-4A4E-8A10-112FCC5D8F16}"/>
              </a:ext>
            </a:extLst>
          </p:cNvPr>
          <p:cNvSpPr/>
          <p:nvPr/>
        </p:nvSpPr>
        <p:spPr>
          <a:xfrm>
            <a:off x="9708356" y="5712859"/>
            <a:ext cx="2046287" cy="236945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r>
              <a:rPr lang="en-US" sz="800" dirty="0"/>
              <a:t>* Indicative results:&lt;15 respondents</a:t>
            </a:r>
            <a:endParaRPr lang="el-GR" sz="800" dirty="0" err="1"/>
          </a:p>
        </p:txBody>
      </p:sp>
    </p:spTree>
    <p:extLst>
      <p:ext uri="{BB962C8B-B14F-4D97-AF65-F5344CB8AC3E}">
        <p14:creationId xmlns:p14="http://schemas.microsoft.com/office/powerpoint/2010/main" val="36138472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4CD975D-CFDB-4FA4-A0CF-3F3FD103AE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4309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97" name="think-cell Slide" r:id="rId52" imgW="216" imgH="216" progId="TCLayout.ActiveDocument.1">
                  <p:embed/>
                </p:oleObj>
              </mc:Choice>
              <mc:Fallback>
                <p:oleObj name="think-cell Slide" r:id="rId52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4CD975D-CFDB-4FA4-A0CF-3F3FD103AE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A6B0DA0-FD11-4511-9E0A-1E681E7B206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en-US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E90FB348-9C4B-7E44-A8A8-D7CBD32A8D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atinib records the highest share (44%; 28%  for </a:t>
            </a:r>
            <a:r>
              <a:rPr lang="en-US" dirty="0" err="1"/>
              <a:t>Glivec</a:t>
            </a:r>
            <a:r>
              <a:rPr lang="en-US" dirty="0"/>
              <a:t>), while </a:t>
            </a:r>
            <a:r>
              <a:rPr lang="en-US" dirty="0" err="1"/>
              <a:t>Tasigna</a:t>
            </a:r>
            <a:r>
              <a:rPr lang="en-US" dirty="0"/>
              <a:t> follows with 32%; </a:t>
            </a:r>
            <a:r>
              <a:rPr lang="en-US" dirty="0" err="1"/>
              <a:t>Iclusig</a:t>
            </a:r>
            <a:r>
              <a:rPr lang="en-US" dirty="0"/>
              <a:t> presents 5% patient sha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E7D710EB-53F5-9A48-BB17-287752DB46CA}"/>
              </a:ext>
            </a:extLst>
          </p:cNvPr>
          <p:cNvSpPr txBox="1">
            <a:spLocks/>
          </p:cNvSpPr>
          <p:nvPr/>
        </p:nvSpPr>
        <p:spPr>
          <a:xfrm>
            <a:off x="396377" y="1063587"/>
            <a:ext cx="11246241" cy="27699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US" sz="2000" i="1" dirty="0">
                <a:solidFill>
                  <a:schemeClr val="accent1"/>
                </a:solidFill>
              </a:rPr>
              <a:t>Patient shares in total treatment lin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7B4B265-E05B-4D76-8EFB-9FE7F4EB52F0}"/>
              </a:ext>
            </a:extLst>
          </p:cNvPr>
          <p:cNvSpPr txBox="1">
            <a:spLocks/>
          </p:cNvSpPr>
          <p:nvPr/>
        </p:nvSpPr>
        <p:spPr>
          <a:xfrm>
            <a:off x="477013" y="6397157"/>
            <a:ext cx="9023824" cy="11080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51435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72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87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ource: IQVIA PMR (November 2020)</a:t>
            </a:r>
          </a:p>
        </p:txBody>
      </p:sp>
      <p:sp>
        <p:nvSpPr>
          <p:cNvPr id="34" name="Footer Placeholder 2">
            <a:extLst>
              <a:ext uri="{FF2B5EF4-FFF2-40B4-BE49-F238E27FC236}">
                <a16:creationId xmlns:a16="http://schemas.microsoft.com/office/drawing/2014/main" id="{1E11FBD3-3F32-49C1-84B6-BCB1312902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2" y="6567520"/>
            <a:ext cx="9021415" cy="110800"/>
          </a:xfrm>
        </p:spPr>
        <p:txBody>
          <a:bodyPr/>
          <a:lstStyle/>
          <a:p>
            <a:r>
              <a:rPr lang="en-US" dirty="0"/>
              <a:t>IQVIA •  Market Research on CML/ALL • December 2020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5E85D1F5-F50B-4E2C-AC26-12D2EB4CC1F0}"/>
              </a:ext>
            </a:extLst>
          </p:cNvPr>
          <p:cNvSpPr txBox="1">
            <a:spLocks/>
          </p:cNvSpPr>
          <p:nvPr/>
        </p:nvSpPr>
        <p:spPr>
          <a:xfrm>
            <a:off x="477012" y="5896681"/>
            <a:ext cx="11246241" cy="3323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% patients</a:t>
            </a:r>
          </a:p>
          <a:p>
            <a:r>
              <a:rPr lang="en-US" dirty="0"/>
              <a:t>Base: n=40 physicians (Attica:25, Salonica: 8, Rest: 7)</a:t>
            </a:r>
          </a:p>
          <a:p>
            <a:pPr lvl="0"/>
            <a:r>
              <a:rPr lang="en-US" dirty="0"/>
              <a:t>Q6. How many of you CML patients receive each one of the following therapies regardless treatment line?</a:t>
            </a:r>
            <a:endParaRPr lang="el-GR" dirty="0"/>
          </a:p>
        </p:txBody>
      </p:sp>
      <p:graphicFrame>
        <p:nvGraphicFramePr>
          <p:cNvPr id="73" name="Chart 72">
            <a:extLst>
              <a:ext uri="{FF2B5EF4-FFF2-40B4-BE49-F238E27FC236}">
                <a16:creationId xmlns:a16="http://schemas.microsoft.com/office/drawing/2014/main" id="{0D8ED256-A719-4C11-9897-EC481914B150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28519900"/>
              </p:ext>
            </p:extLst>
          </p:nvPr>
        </p:nvGraphicFramePr>
        <p:xfrm>
          <a:off x="2060575" y="2022475"/>
          <a:ext cx="7035800" cy="3051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41" name="Rectangle 40">
            <a:extLst>
              <a:ext uri="{FF2B5EF4-FFF2-40B4-BE49-F238E27FC236}">
                <a16:creationId xmlns:a16="http://schemas.microsoft.com/office/drawing/2014/main" id="{64F35B43-A51F-4320-8F64-F90EDA8B127E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2871788" y="4678363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07DEAEF-5F5F-422F-BA6D-DC5D5D5A7A71}" type="datetime'''''''''''''''1''''''6''''%'''''''''''''''''">
              <a:rPr lang="el-GR" altLang="en-US" sz="900" smtClean="0">
                <a:solidFill>
                  <a:schemeClr val="tx1"/>
                </a:solidFill>
              </a:rPr>
              <a:pPr/>
              <a:t>16%</a:t>
            </a:fld>
            <a:endParaRPr lang="el-GR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AE414ABA-EF2F-42DC-A577-646C71386909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2871788" y="2441575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563171B-5388-423C-9BAE-2BE23682CE2B}" type="datetime'2''''''''''''''''''''''''8''''''''''%'''''''''">
              <a:rPr lang="el-GR" altLang="en-US" sz="900" smtClean="0">
                <a:solidFill>
                  <a:schemeClr val="bg1"/>
                </a:solidFill>
              </a:rPr>
              <a:pPr/>
              <a:t>28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F604BA5-3A50-4E95-969F-9FE5B8F54F0C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6130925" y="5097463"/>
            <a:ext cx="612775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C4C16CD-C605-4BC4-9892-F935D981D564}" type="datetime'''''''''''''''''''''''Sal''''on''''''''''''i''''''ca''''*'''">
              <a:rPr lang="en-US" altLang="en-US" sz="1050" b="1" smtClean="0">
                <a:solidFill>
                  <a:schemeClr val="tx1"/>
                </a:solidFill>
              </a:rPr>
              <a:pPr/>
              <a:t>Salonica*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21831D1-E86B-445A-BB2F-8CFF6BC20A19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2871788" y="3300413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0DEFD91-2CE4-4FA6-BB64-C5B642D70FF4}" type="datetime'''3''''''''''''''''''''''''''''''''''''''''''''''2''%'''''''''">
              <a:rPr lang="el-GR" altLang="en-US" sz="900" smtClean="0">
                <a:solidFill>
                  <a:schemeClr val="bg1"/>
                </a:solidFill>
              </a:rPr>
              <a:pPr/>
              <a:t>32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D13BE93-0BBA-4493-918B-DE13764E0768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2871788" y="3986213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CE2AC77-5080-4652-80B1-9000EA86DCC5}" type="datetime'1''''''''''6''''''''''%'''">
              <a:rPr lang="el-GR" altLang="en-US" sz="900" smtClean="0">
                <a:solidFill>
                  <a:schemeClr val="bg1"/>
                </a:solidFill>
              </a:rPr>
              <a:pPr/>
              <a:t>16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EBEE82FF-9749-4FEB-95C2-81FD8005B6EB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2903538" y="4919663"/>
            <a:ext cx="196850" cy="123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003DC20-E4D4-4CAE-8580-4107A64F1974}" type="datetime'''''1''''''''''''''''''''''''''''''''''''''''''''''''%'''">
              <a:rPr lang="el-GR" altLang="en-US" sz="900" smtClean="0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lang="el-GR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46FE6DF0-4E13-4A4A-86CE-609535C6DE2A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2903538" y="4251325"/>
            <a:ext cx="196850" cy="123825"/>
          </a:xfrm>
          <a:prstGeom prst="rect">
            <a:avLst/>
          </a:prstGeom>
          <a:solidFill>
            <a:srgbClr val="018F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626D888-8F1F-45EE-8941-B53C9914AF3A}" type="datetime'''3''''''''''''''%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71D7276-8B4F-4DDA-94C8-E3130C29EA13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8056563" y="4022725"/>
            <a:ext cx="196850" cy="123825"/>
          </a:xfrm>
          <a:prstGeom prst="rect">
            <a:avLst/>
          </a:prstGeom>
          <a:solidFill>
            <a:srgbClr val="018F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1013AD6-928B-4F27-A416-87F3EDD17E1A}" type="datetime'''''''''''''''''''''''3''''''''%'''''">
              <a:rPr lang="el-GR" altLang="en-US" sz="9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E554C033-B28B-443C-B53F-15DCC82DF243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6100763" y="4929188"/>
            <a:ext cx="196850" cy="123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EE4070A-A4D1-4622-88D4-28FA49A7E013}" type="datetime'''''''''''''0''''''''''''''''''%'''''''''''''''''''">
              <a:rPr lang="el-GR" altLang="en-US" sz="900" smtClean="0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%</a:t>
            </a:fld>
            <a:endParaRPr lang="el-GR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DA26D8CC-92E1-48FF-A35C-6D33D9AD6D08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6100763" y="4764088"/>
            <a:ext cx="196850" cy="123825"/>
          </a:xfrm>
          <a:prstGeom prst="rect">
            <a:avLst/>
          </a:prstGeom>
          <a:solidFill>
            <a:schemeClr val="hlink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FB91799-C732-42AF-8C81-CE200E7736AA}" type="datetime'''''''''''''''''''''3''''''''''''''''''''''%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DDC3677-E980-404B-A2B3-185B580DB6EF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2836863" y="5097463"/>
            <a:ext cx="3302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DAFB19A-1D44-447A-AE18-452B6FB139D5}" type="datetime'''''''''''''T''''''ot''''''''''''a''''''''''l'''''''''''''">
              <a:rPr lang="en-US" altLang="en-US" sz="1050" b="1" smtClean="0">
                <a:solidFill>
                  <a:schemeClr val="tx1"/>
                </a:solidFill>
              </a:rPr>
              <a:pPr/>
              <a:t>Total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84143AFE-E71A-4A5D-AAFC-6AC06C6868E9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4621213" y="4189413"/>
            <a:ext cx="1968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18F8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5CA9FF4-AA7D-4EBE-9042-B6DFFD80A826}" type="datetime'''''''4''''''''''''''''''''''%''''''''''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05099D3-0031-4F0F-8680-F007854945AC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2903538" y="4368800"/>
            <a:ext cx="1968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96773D8-729B-43B1-8D51-30E7F02B6619}" type="datetime'''''''''''''''''''''''''''''''''5%'''''''''">
              <a:rPr lang="el-GR" altLang="en-US" sz="9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CE0C4EB-9E1C-43A2-A2C5-4B7E39939CDF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4589463" y="2533650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50B56AE-9E85-4ADD-A9B7-6F331A4CD3CD}" type="datetime'''''''''''''''''''''''3''''''''''''''''4''''''''''''%'">
              <a:rPr lang="el-GR" altLang="en-US" sz="900" smtClean="0">
                <a:solidFill>
                  <a:schemeClr val="bg1"/>
                </a:solidFill>
              </a:rPr>
              <a:pPr/>
              <a:t>34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71FDE1D-AEC6-4A98-BC73-0D3F04F2C6E3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6578600" y="4865688"/>
            <a:ext cx="1968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DB1C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7647CAA-2A13-4188-9912-9454F7327FA2}" type="datetime'''4''''''''''''''''%'''''''''''''''''''''''''">
              <a:rPr lang="el-GR" altLang="en-US" sz="9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%</a:t>
            </a:fld>
            <a:endParaRPr lang="el-GR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945782D-D40E-4BFD-9992-8F8851408521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4589463" y="3394075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2224D10-2A38-425E-8EF7-06696BC40204}" type="datetime'''''2''6''%'''">
              <a:rPr lang="el-GR" altLang="en-US" sz="900" smtClean="0">
                <a:solidFill>
                  <a:schemeClr val="bg1"/>
                </a:solidFill>
              </a:rPr>
              <a:pPr/>
              <a:t>26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73CC158-8BF9-426B-A862-6D8757CC5EFD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8024813" y="3652838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CCF1144-1F58-470E-A786-E53CD146EC3D}" type="datetime'''''2''''''''''''''''3''''''%'''''''''''''''''''''''''''''''">
              <a:rPr lang="el-GR" altLang="en-US" sz="900" smtClean="0">
                <a:solidFill>
                  <a:schemeClr val="bg1"/>
                </a:solidFill>
              </a:rPr>
              <a:pPr/>
              <a:t>23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707E12D-8EF6-4DB6-831F-9F42E903A706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4589463" y="3948113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48AC192-4C1A-472E-A770-6E2473244A2F}" type="datetime'''''''''''''''''''''''''1''''3%'''''''''''''">
              <a:rPr lang="el-GR" altLang="en-US" sz="900" smtClean="0">
                <a:solidFill>
                  <a:schemeClr val="bg1"/>
                </a:solidFill>
              </a:rPr>
              <a:pPr/>
              <a:t>13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F53CF8B-2168-4A8E-85A1-145679F7F31B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4527550" y="5097463"/>
            <a:ext cx="384175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EFEC07E-7BEF-4487-A58E-11856918953C}" type="datetime'''''''''''''A''''''''''''''''''''t''''''''''''t''''i''ca'''">
              <a:rPr lang="en-US" altLang="en-US" sz="1050" b="1" smtClean="0">
                <a:solidFill>
                  <a:schemeClr val="tx1"/>
                </a:solidFill>
              </a:rPr>
              <a:pPr/>
              <a:t>Attica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F90A34C0-5289-48B9-9F57-95C54CACE989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4621213" y="4313238"/>
            <a:ext cx="1968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B509741-565B-4556-8447-BC520FBF0DFB}" type="datetime'''''''''''''''''''''''''''''''''''''5''''''%''''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F993C77-E1AF-4265-9EB7-7CE6942B6929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4589463" y="4656138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6D430F4-B013-425B-B8A8-76676217725A}" type="datetime'''''''''1''''''''''''''''''''''''''''''''''''''''9''%'">
              <a:rPr lang="el-GR" altLang="en-US" sz="900" smtClean="0">
                <a:solidFill>
                  <a:schemeClr val="tx1"/>
                </a:solidFill>
              </a:rPr>
              <a:pPr/>
              <a:t>19%</a:t>
            </a:fld>
            <a:endParaRPr lang="el-GR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4BCA8985-C498-4685-9665-28FE155F884C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4621213" y="4929188"/>
            <a:ext cx="196850" cy="123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CDB7579-291C-4E15-92F1-3B450645DA27}" type="datetime'''''''''''0''''''''''''%'''''''''''''''''''">
              <a:rPr lang="el-GR" altLang="en-US" sz="900" smtClean="0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%</a:t>
            </a:fld>
            <a:endParaRPr lang="el-GR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0EB4F3D-5ADD-4662-92E7-0CABDCB4AFD7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6307138" y="2432050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B9393F7-C9F0-433E-86EC-67FC0E90C909}" type="datetime'''''''''''''''''''''''''''''27''''''''''''%'">
              <a:rPr lang="el-GR" altLang="en-US" sz="900" smtClean="0">
                <a:solidFill>
                  <a:schemeClr val="bg1"/>
                </a:solidFill>
              </a:rPr>
              <a:pPr/>
              <a:t>27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CBCD0FA-1C0A-4F67-96CB-04E898DCD030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6307138" y="3584575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0D19B4E-BC68-407D-A06B-812179B46E82}" type="datetime'''''''5''''''3''''''''''%'''''''''''''''''''''''">
              <a:rPr lang="el-GR" altLang="en-US" sz="900" smtClean="0">
                <a:solidFill>
                  <a:schemeClr val="bg1"/>
                </a:solidFill>
              </a:rPr>
              <a:pPr/>
              <a:t>53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7BAC373-5F7D-4623-880B-C0FF1B2A960A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6307138" y="4537075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A5F6C09-252F-4A4D-A903-1FA83C93D166}" type="datetime'''''''''''''''''''''''''''''''''''1''''''3''%'''''">
              <a:rPr lang="el-GR" altLang="en-US" sz="900" smtClean="0">
                <a:solidFill>
                  <a:schemeClr val="bg1"/>
                </a:solidFill>
              </a:rPr>
              <a:pPr/>
              <a:t>13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B803B27E-38CA-4446-85A3-D82F6C6BDB57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6578600" y="4725988"/>
            <a:ext cx="196850" cy="123825"/>
          </a:xfrm>
          <a:prstGeom prst="rect">
            <a:avLst/>
          </a:prstGeom>
          <a:solidFill>
            <a:srgbClr val="018F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F7E7A1B-2B29-4190-8B3C-E014C3030923}" type="datetime'''''''''''''''0''''''''''''''''%''''''''''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14272D0-383D-44BF-ACA7-CB12E0A14C85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8024813" y="2265363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D801A0E-D76D-4550-B632-EA8F93494F57}" type="datetime'1''5''''''%'''''''''''''''''''''''''''''''''''''''''''''">
              <a:rPr lang="el-GR" altLang="en-US" sz="900" smtClean="0">
                <a:solidFill>
                  <a:schemeClr val="bg1"/>
                </a:solidFill>
              </a:rPr>
              <a:pPr/>
              <a:t>15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C7C569A-2EC4-4E9F-B573-80622390E67A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8024813" y="2903538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5829979-84F7-43CF-864F-ECACDA05571C}" type="datetime'''''''''''''''''2''''''''''''''''''''''9''''''%'''''''''''">
              <a:rPr lang="el-GR" altLang="en-US" sz="900" smtClean="0">
                <a:solidFill>
                  <a:schemeClr val="bg1"/>
                </a:solidFill>
              </a:rPr>
              <a:pPr/>
              <a:t>29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42721D6-24AD-497C-B842-688E0C74969D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8056563" y="4189413"/>
            <a:ext cx="1968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D5E2D3C-46E2-49EA-ABC3-912D5509D965}" type="datetime'''''''''''''''''''9''''''''''''''''''''''''''''''%'''''">
              <a:rPr lang="el-GR" altLang="en-US" sz="900" smtClean="0">
                <a:solidFill>
                  <a:schemeClr val="bg1"/>
                </a:solidFill>
              </a:rPr>
              <a:pPr/>
              <a:t>9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B513853C-CF24-4D5C-832D-2F4A5E32B8B5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8024813" y="4586288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C3F366B-7457-4823-B209-CFFEA85CD210}" type="datetime'1''''''''''''9''%'''''''''''''''''''''''''''''''''">
              <a:rPr lang="el-GR" altLang="en-US" sz="900" smtClean="0">
                <a:solidFill>
                  <a:schemeClr val="tx1"/>
                </a:solidFill>
              </a:rPr>
              <a:pPr/>
              <a:t>19%</a:t>
            </a:fld>
            <a:endParaRPr lang="el-GR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266D2081-568D-430A-B458-84FBC16898A4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8056563" y="4891088"/>
            <a:ext cx="196850" cy="123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62DB3BF-3F2C-4DA9-BE56-851AB4E6DC2A}" type="datetime'''''''''3''''''''''''''''''''''''''''''''''''''''%'''''''''">
              <a:rPr lang="el-GR" altLang="en-US" sz="900" smtClean="0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lang="el-GR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052F482-CF8F-4BFE-96B8-DFE0F6F49A70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7977187" y="5097463"/>
            <a:ext cx="3556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073F1BA-E949-4C12-B315-C29ACE3CF146}" type="datetime'''''''''''''''''''''''''R''''''''''''''''''e''''s''''t*'''">
              <a:rPr lang="en-US" altLang="en-US" sz="1050" b="1" smtClean="0">
                <a:solidFill>
                  <a:schemeClr val="tx1"/>
                </a:solidFill>
              </a:rPr>
              <a:pPr/>
              <a:t>Rest*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ED8DEC54-92DE-400B-B487-E7BAEF99B606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9066213" y="2373313"/>
            <a:ext cx="187325" cy="139700"/>
          </a:xfrm>
          <a:prstGeom prst="rect">
            <a:avLst/>
          </a:prstGeom>
          <a:solidFill>
            <a:srgbClr val="AE2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3651250-A35C-4855-8F76-499F56CA2F89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9066213" y="2162175"/>
            <a:ext cx="187325" cy="1397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B0ADD46C-E2B9-4BD3-BC51-B9979D778D29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9066213" y="3006725"/>
            <a:ext cx="187325" cy="139700"/>
          </a:xfrm>
          <a:prstGeom prst="rect">
            <a:avLst/>
          </a:prstGeom>
          <a:solidFill>
            <a:schemeClr val="hlink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63AC0E6-2E87-4DD9-A366-D4C26E8F373F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9066213" y="2584450"/>
            <a:ext cx="187325" cy="1397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2CE923E-AEA5-4C4A-B2EF-0945DE77832D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9066213" y="2795588"/>
            <a:ext cx="187325" cy="139700"/>
          </a:xfrm>
          <a:prstGeom prst="rect">
            <a:avLst/>
          </a:prstGeom>
          <a:solidFill>
            <a:srgbClr val="018F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B28ABB5-BD2D-42A2-B0DE-B0BBA599F17D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9066213" y="3217863"/>
            <a:ext cx="187325" cy="139700"/>
          </a:xfrm>
          <a:prstGeom prst="rect">
            <a:avLst/>
          </a:prstGeom>
          <a:solidFill>
            <a:srgbClr val="9DB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6F8493D-5B41-427B-8D0F-DD911F5969BC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9066213" y="3429000"/>
            <a:ext cx="187325" cy="139700"/>
          </a:xfrm>
          <a:prstGeom prst="rect">
            <a:avLst/>
          </a:prstGeom>
          <a:pattFill prst="pct50">
            <a:fgClr>
              <a:schemeClr val="tx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90DCA84E-24B4-4280-9EC1-A06569018E31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9304338" y="3001963"/>
            <a:ext cx="42068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3CC6599-1615-47B9-BFF8-7BF4295AB6E7}" type="datetime'''''''I''cl''''''''''''''''u''''s''''''''i''''''g'''''''''''">
              <a:rPr lang="en-US" altLang="en-US" sz="1050" b="1" smtClean="0">
                <a:solidFill>
                  <a:schemeClr val="tx1"/>
                </a:solidFill>
              </a:rPr>
              <a:pPr/>
              <a:t>Iclusig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C8038B1-1094-4A4D-9027-9551059C4207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9304338" y="2790825"/>
            <a:ext cx="45085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B678C50-A6AB-4FF5-8EB1-731C9FDA4769}" type="datetime'''''''''B''''o''''''''s''''''''''u''''l''i''''f'''''''''">
              <a:rPr lang="en-US" altLang="en-US" sz="1050" b="1" smtClean="0">
                <a:solidFill>
                  <a:schemeClr val="tx1"/>
                </a:solidFill>
              </a:rPr>
              <a:pPr/>
              <a:t>Bosulif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91A53DB2-66BC-48A7-B2E5-A84044B516BA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9304338" y="2157413"/>
            <a:ext cx="40005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07F7079-0EB4-4EF1-A955-5CC3DDA73774}" type="datetime'''''''G''l''''''iv''''''e''c'''''''''''''''''''''''">
              <a:rPr lang="en-US" altLang="en-US" sz="1050" b="1" smtClean="0">
                <a:solidFill>
                  <a:schemeClr val="tx1"/>
                </a:solidFill>
              </a:rPr>
              <a:pPr/>
              <a:t>Glivec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36376F94-9C39-4C10-B72D-92F5D74BDA48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9304338" y="2368550"/>
            <a:ext cx="50323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6580FF0-4156-4E41-AF24-311FF45A62B7}" type="datetime'T''''''''''a''''''si''''g''''''n''''''''''''''a'''">
              <a:rPr lang="en-US" altLang="en-US" sz="1050" b="1" smtClean="0">
                <a:solidFill>
                  <a:schemeClr val="tx1"/>
                </a:solidFill>
              </a:rPr>
              <a:pPr/>
              <a:t>Tasigna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B406677-42F7-4B3F-B347-FB417DC91266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9304338" y="2579688"/>
            <a:ext cx="4826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A6B2E4C-437F-4EAA-ABD7-629C53979122}" type="datetime'''''''S''pry''c''''''''''''''''''''''''''''''''''''e''l'">
              <a:rPr lang="en-US" altLang="en-US" sz="1050" b="1" smtClean="0">
                <a:solidFill>
                  <a:schemeClr val="tx1"/>
                </a:solidFill>
              </a:rPr>
              <a:pPr/>
              <a:t>Sprycel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69FD2C24-DC5B-402D-B793-B3A41582474D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9304338" y="3213100"/>
            <a:ext cx="7239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66D7452-3014-4F35-9453-78FCAEA7B932}" type="datetime'''I''''''''''m''a''''t''''''''''''''i''n''''''i''''b'' G''x'">
              <a:rPr lang="en-US" altLang="en-US" sz="1050" b="1" smtClean="0">
                <a:solidFill>
                  <a:schemeClr val="tx1"/>
                </a:solidFill>
              </a:rPr>
              <a:pPr/>
              <a:t>Imatinib Gx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22D974A3-5341-4BFB-BDEB-D3F88930971B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9304338" y="3424238"/>
            <a:ext cx="3556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85488DC-CF81-455B-8114-49CE3A92F3F1}" type="datetime'''O''''t''''''''''h''''''''''''''''''''''e''''''r'''">
              <a:rPr lang="en-US" altLang="en-US" sz="1050" b="1" smtClean="0">
                <a:solidFill>
                  <a:schemeClr val="tx1"/>
                </a:solidFill>
              </a:rPr>
              <a:pPr/>
              <a:t>Other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38B2FB82-3FF4-4B28-9F66-ABAA36BEAD36}"/>
              </a:ext>
            </a:extLst>
          </p:cNvPr>
          <p:cNvSpPr/>
          <p:nvPr/>
        </p:nvSpPr>
        <p:spPr>
          <a:xfrm>
            <a:off x="9708356" y="5712859"/>
            <a:ext cx="2046287" cy="236945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r>
              <a:rPr lang="en-US" sz="800" dirty="0"/>
              <a:t>* Indicative results:&lt;15 respondents</a:t>
            </a:r>
            <a:endParaRPr lang="el-GR" sz="800" dirty="0" err="1"/>
          </a:p>
        </p:txBody>
      </p:sp>
    </p:spTree>
    <p:extLst>
      <p:ext uri="{BB962C8B-B14F-4D97-AF65-F5344CB8AC3E}">
        <p14:creationId xmlns:p14="http://schemas.microsoft.com/office/powerpoint/2010/main" val="36411827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4CD975D-CFDB-4FA4-A0CF-3F3FD103AE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7123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2" name="think-cell Slide" r:id="rId40" imgW="216" imgH="216" progId="TCLayout.ActiveDocument.1">
                  <p:embed/>
                </p:oleObj>
              </mc:Choice>
              <mc:Fallback>
                <p:oleObj name="think-cell Slide" r:id="rId40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4CD975D-CFDB-4FA4-A0CF-3F3FD103AE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A6B0DA0-FD11-4511-9E0A-1E681E7B206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el-GR" sz="9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E90FB348-9C4B-7E44-A8A8-D7CBD32A8D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1% of CLM patients receive </a:t>
            </a:r>
            <a:r>
              <a:rPr lang="en-US" dirty="0" err="1"/>
              <a:t>Iclusig</a:t>
            </a:r>
            <a:r>
              <a:rPr lang="en-US" dirty="0"/>
              <a:t> in 3</a:t>
            </a:r>
            <a:r>
              <a:rPr lang="en-US" baseline="30000" dirty="0"/>
              <a:t>rd</a:t>
            </a:r>
            <a:r>
              <a:rPr lang="en-US" dirty="0"/>
              <a:t> Lin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E7D710EB-53F5-9A48-BB17-287752DB46CA}"/>
              </a:ext>
            </a:extLst>
          </p:cNvPr>
          <p:cNvSpPr txBox="1">
            <a:spLocks/>
          </p:cNvSpPr>
          <p:nvPr/>
        </p:nvSpPr>
        <p:spPr>
          <a:xfrm>
            <a:off x="396377" y="1063587"/>
            <a:ext cx="11246241" cy="27699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US" sz="2000" i="1" dirty="0">
                <a:solidFill>
                  <a:schemeClr val="accent1"/>
                </a:solidFill>
              </a:rPr>
              <a:t>Patient shares in 3</a:t>
            </a:r>
            <a:r>
              <a:rPr lang="en-US" sz="2000" i="1" baseline="30000" dirty="0">
                <a:solidFill>
                  <a:schemeClr val="accent1"/>
                </a:solidFill>
              </a:rPr>
              <a:t>rd</a:t>
            </a:r>
            <a:r>
              <a:rPr lang="en-US" sz="2000" i="1" dirty="0">
                <a:solidFill>
                  <a:schemeClr val="accent1"/>
                </a:solidFill>
              </a:rPr>
              <a:t> Lin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5E85D1F5-F50B-4E2C-AC26-12D2EB4CC1F0}"/>
              </a:ext>
            </a:extLst>
          </p:cNvPr>
          <p:cNvSpPr txBox="1">
            <a:spLocks/>
          </p:cNvSpPr>
          <p:nvPr/>
        </p:nvSpPr>
        <p:spPr>
          <a:xfrm>
            <a:off x="477012" y="5896681"/>
            <a:ext cx="11246241" cy="3323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% patients</a:t>
            </a:r>
          </a:p>
          <a:p>
            <a:r>
              <a:rPr lang="en-US" dirty="0"/>
              <a:t>Base: n=40 physicians</a:t>
            </a:r>
          </a:p>
          <a:p>
            <a:pPr lvl="0"/>
            <a:r>
              <a:rPr lang="en-US" dirty="0"/>
              <a:t>Q42. How many of your 3</a:t>
            </a:r>
            <a:r>
              <a:rPr lang="en-US" baseline="30000" dirty="0"/>
              <a:t>rd</a:t>
            </a:r>
            <a:r>
              <a:rPr lang="en-US" dirty="0"/>
              <a:t>  line patients receive each one of the following therapies?</a:t>
            </a:r>
            <a:endParaRPr lang="el-GR" dirty="0"/>
          </a:p>
        </p:txBody>
      </p:sp>
      <p:graphicFrame>
        <p:nvGraphicFramePr>
          <p:cNvPr id="46" name="Chart 45">
            <a:extLst>
              <a:ext uri="{FF2B5EF4-FFF2-40B4-BE49-F238E27FC236}">
                <a16:creationId xmlns:a16="http://schemas.microsoft.com/office/drawing/2014/main" id="{113434F9-E59B-41C2-AD60-D4F5A0F3B6A1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72291639"/>
              </p:ext>
            </p:extLst>
          </p:nvPr>
        </p:nvGraphicFramePr>
        <p:xfrm>
          <a:off x="2060575" y="2022475"/>
          <a:ext cx="7285038" cy="3051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214" name="Rectangle 213">
            <a:extLst>
              <a:ext uri="{FF2B5EF4-FFF2-40B4-BE49-F238E27FC236}">
                <a16:creationId xmlns:a16="http://schemas.microsoft.com/office/drawing/2014/main" id="{F6DEE4C7-AF12-41DD-BBC5-A3A7B2FD977F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4683125" y="3248026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CA199EF-E45E-4062-B83B-B3BE90919912}" type="datetime'1''''''''''''''''''6''''''''''''''''''''%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6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0B7A0625-0C8F-40E1-BE00-BE4FF3A5EB6E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2933700" y="2146301"/>
            <a:ext cx="1968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A9789EC-F0A9-4017-BCFE-7EE4C795C98E}" type="datetime'''''''''''''7''''''''''%''''''''''''''''''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F88485AE-49BC-4C2F-93DD-82AFE22D817F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2901950" y="2535239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05F98EE-8276-468E-8112-0450CE5EE82C}" type="datetime'''''''''''''''''''''''''''''2''''0''''''''''''''''''''''''''%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89FA5B94-5370-404A-9D6E-8468111C7512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2901950" y="3103564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A1E4444-6FD3-47E7-BD1B-C8FDF16ECFEA}" type="datetime'''''''''''20%''''''''''''''''''''''''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C054843-CE73-4E32-A29F-E2FE46A05D8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867025" y="5035550"/>
            <a:ext cx="3302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4DFD59D-D1A9-45D0-B981-D4B0A48070FB}" type="datetime'''''''''''To''''''t''a''''''''l'''''''''''''''''''''''''">
              <a:rPr lang="en-US" altLang="en-US" sz="1050" b="1" smtClean="0">
                <a:solidFill>
                  <a:schemeClr val="tx1"/>
                </a:solidFill>
              </a:rPr>
              <a:pPr/>
              <a:t>Total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5543F42F-24A6-4ECE-B2F1-1C5949DD10C1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4683125" y="2479676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CF7EF69-74CF-4D5F-A4F2-33BDCEC550F4}" type="datetime'''1''''''''''''0''''''''''''''''''''''''%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E103EB3E-4B56-4E2C-9AB1-DEE1162BD0CD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2901950" y="3568701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AA4974C-A039-4113-9D38-F03BE8BB41F5}" type="datetime'''''''''1''''''''3''''''''''''''''''''''''''''''''''''''%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3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0B7CA3F3-F0F6-4280-B515-B80D0A6D7B37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2901950" y="4338639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B1F5913-FA04-4BCF-99E7-23179AF045E3}" type="datetime'''4''''''''''''''''''''1''%''''''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1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0821C239-A8F3-4481-B0B0-54BB46FB7952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4683125" y="2189164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2ED8813-6821-4D96-9FFD-F40FFADC03C2}" type="datetime'''''''''1''0''''''''''''''%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7BE505-9497-4530-8BFF-AA6F2A6349BA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4621213" y="5035550"/>
            <a:ext cx="384175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8D33F55-7E34-431D-9299-63620E0522BE}" type="datetime'''''A''''''''t''''''''''''''''''''t''''''i''''c''''a'''''''''">
              <a:rPr lang="en-US" altLang="en-US" sz="1050" b="1" smtClean="0">
                <a:solidFill>
                  <a:schemeClr val="tx1"/>
                </a:solidFill>
              </a:rPr>
              <a:pPr/>
              <a:t>Attica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C6D00509-5F1B-405F-9CCE-0D210B5C491A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4683125" y="2817814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E7953CE-F36B-468A-BC31-EE0B5A503432}" type="datetime'''''''''''''''1''3''''''''''''%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3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F4D82667-B320-4BBA-AF10-BBD76382AEA4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4683125" y="4206876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FF11D3C-2DA7-4A6E-B01C-58FA8872F531}" type="datetime'''''5''''''''0''''''''''''%''''''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0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ABB08D4F-33AE-4E92-BFDC-6265CAA693A9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6494463" y="2163764"/>
            <a:ext cx="1968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B83E2E2-F09D-4890-9776-8D491770654F}" type="datetime'''''''''8''''''''%''''''''''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5A613A7E-CA13-4593-84EB-7FD6CA0B713D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6462713" y="2765426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D08901A-329E-4898-9F0F-EC709C8BED98}" type="datetime'''''''''''''3''''''3''''''''''''''''%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3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71845A0-607A-4E01-9BBF-086B76205F34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8194674" y="5035550"/>
            <a:ext cx="3556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A979ADD-772D-43DA-A106-6D123E4EB7E7}" type="datetime'''R''''''''''''''''''''''''''e''s''''''''''''t''''*'''''''">
              <a:rPr lang="en-US" altLang="en-US" sz="1050" b="1" smtClean="0">
                <a:solidFill>
                  <a:schemeClr val="tx1"/>
                </a:solidFill>
              </a:rPr>
              <a:pPr/>
              <a:t>Rest*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D71EA2D6-4F5C-4F8D-BDF5-855022A56A5B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6462713" y="3846514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F900BE6-C2BF-428D-9322-81D1E9192649}" type="datetime'4''''''''''''''''''''''''''2''%''''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2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CBCB7463-4E8F-4932-8532-4EDD9E8AC05C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6494463" y="4448175"/>
            <a:ext cx="196850" cy="123825"/>
          </a:xfrm>
          <a:prstGeom prst="rect">
            <a:avLst/>
          </a:prstGeom>
          <a:solidFill>
            <a:srgbClr val="018F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FE1D25D-3E8D-4F85-BD23-4E94A3F5CD15}" type="datetime'''''''''''''''''0''''''''''''''''%'''''''''''''''''''''''">
              <a:rPr lang="el-GR" altLang="en-US" sz="900" smtClean="0">
                <a:solidFill>
                  <a:schemeClr val="bg1"/>
                </a:solidFill>
              </a:rPr>
              <a:pPr/>
              <a:t>0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01865E3D-7B18-40E8-BF0D-D631965BB4A3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8242300" y="3486151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89EAB51-03C3-4CFB-8A74-2825EFCEACD7}" type="datetime'''''''''''''''''''''''''''''1''''''4''''%''''''''''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FB5DEC38-D034-4CDC-8907-83432B205316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6462713" y="4687889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9D2F10F-AF88-4CCC-B9D3-D31A6C840532}" type="datetime'''''''''''''1''''7''''''''%''''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7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31A256C-3C02-4163-B823-06ABA2907619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6286500" y="5035550"/>
            <a:ext cx="612775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CB4F9E3-1CC7-4686-A4E5-67482BF9A7E6}" type="datetime'''''''''S''''a''lo''''''nic''''''a*'''''''''''''''''''''''">
              <a:rPr lang="en-US" altLang="en-US" sz="1050" b="1" smtClean="0">
                <a:solidFill>
                  <a:schemeClr val="tx1"/>
                </a:solidFill>
              </a:rPr>
              <a:pPr/>
              <a:t>Salonica*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33A72FF7-7DD9-4CEB-8615-E57FD052BC42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8274050" y="2043113"/>
            <a:ext cx="196850" cy="1238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54FF1D9-9C9F-4453-9431-A5622C45595D}" type="datetime'''''''''''''''''0''''''''''%'''''''">
              <a:rPr lang="el-GR" altLang="en-US" sz="900" smtClean="0">
                <a:solidFill>
                  <a:schemeClr val="bg1"/>
                </a:solidFill>
              </a:rPr>
              <a:pPr/>
              <a:t>0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756D41AC-23D9-490B-9504-9EEAE156F976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8242300" y="2452689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C91548F-ED20-47CC-A2C3-78B43085A8A5}" type="datetime'''''2''''''''''''''''''''''''''''8''''''%''''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8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8B45CC07-D99A-45C3-8E16-44C68BFCC9CA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8242300" y="3070226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B59E1A3-CCC1-4980-8AF6-2BC1C69823F2}" type="datetime'''''''''''''''''''''''''''''''''''''''1''''4''''''''''''''%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C9BF1277-4105-4F61-B940-B2D780161ED9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8242300" y="4311651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2B63E8D-4496-44BD-B760-B6ABE5246B71}" type="datetime'''''''''''''''''''''''4''''''''''3%''''''''''''''''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3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C4B7AEF-938D-4B9C-AD91-98D0FB8C451B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9317038" y="2584450"/>
            <a:ext cx="187325" cy="1397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48D1EE1-C251-4E7E-B265-CF5302393F48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9317038" y="2162175"/>
            <a:ext cx="187325" cy="1397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D38443A-EAF2-41A3-99DA-0C41B1F16093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9317038" y="2373313"/>
            <a:ext cx="187325" cy="139700"/>
          </a:xfrm>
          <a:prstGeom prst="rect">
            <a:avLst/>
          </a:prstGeom>
          <a:solidFill>
            <a:srgbClr val="AE2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D6EEF9B-55C5-47F6-9AE6-469639FC7C9A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9317038" y="2795588"/>
            <a:ext cx="187325" cy="139700"/>
          </a:xfrm>
          <a:prstGeom prst="rect">
            <a:avLst/>
          </a:prstGeom>
          <a:solidFill>
            <a:srgbClr val="018F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97DF3A8-6104-4CDE-B532-1CE9D72C361E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9317038" y="3006725"/>
            <a:ext cx="187325" cy="139700"/>
          </a:xfrm>
          <a:prstGeom prst="rect">
            <a:avLst/>
          </a:prstGeom>
          <a:solidFill>
            <a:schemeClr val="hlink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49BFE30-FC63-419D-90CA-A7B1D7807549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9555163" y="2157413"/>
            <a:ext cx="40005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E334318-95DD-4252-A14B-21C8ABBFBF96}" type="datetime'''''''''''''''''''G''''''''''''l''i''v''''''''''e''c'''''">
              <a:rPr lang="en-US" altLang="en-US" sz="1050" b="1" smtClean="0">
                <a:solidFill>
                  <a:schemeClr val="tx1"/>
                </a:solidFill>
              </a:rPr>
              <a:pPr/>
              <a:t>Glivec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20B9589-804A-4F2B-BC2E-FD20696E7CA3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9555163" y="2368550"/>
            <a:ext cx="50323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FFC4CFA-712D-4541-8D7C-63B399B7A114}" type="datetime'''''''''''''''''''''''''''''''''''T''as''i''''g''''na'''">
              <a:rPr lang="en-US" altLang="en-US" sz="1050" b="1" smtClean="0">
                <a:solidFill>
                  <a:schemeClr val="tx1"/>
                </a:solidFill>
              </a:rPr>
              <a:pPr/>
              <a:t>Tasigna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8AC3EDA-545D-44C9-8372-CF43F0AD4CD7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9555163" y="2579688"/>
            <a:ext cx="4826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FA27BE2-EDEC-44BE-BC73-015F60BC78C3}" type="datetime'S''''''''''''p''''''''''''''''''r''y''''''c''''''''''''''''el'">
              <a:rPr lang="en-US" altLang="en-US" sz="1050" b="1" smtClean="0">
                <a:solidFill>
                  <a:schemeClr val="tx1"/>
                </a:solidFill>
              </a:rPr>
              <a:pPr/>
              <a:t>Sprycel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C55502A-D311-4401-91F3-54EA8C5039EE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9555163" y="2790825"/>
            <a:ext cx="45085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C810E64-D12A-46C6-A5FC-930891D7334C}" type="datetime'B''''o''s''''''u''''''''''''l''''''''''''i''f'''''''''">
              <a:rPr lang="en-US" altLang="en-US" sz="1050" b="1" smtClean="0">
                <a:solidFill>
                  <a:schemeClr val="tx1"/>
                </a:solidFill>
              </a:rPr>
              <a:pPr/>
              <a:t>Bosulif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F6002D0-35F1-4E76-9253-5766E135AA76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9555163" y="3001963"/>
            <a:ext cx="42068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7D90221-4A38-4349-AB6D-AFA24BD3E45D}" type="datetime'I''''''''''''''''''''clu''''''''''''''''''''s''i''''''''''g'">
              <a:rPr lang="en-US" altLang="en-US" sz="1050" b="1" smtClean="0">
                <a:solidFill>
                  <a:schemeClr val="tx1"/>
                </a:solidFill>
              </a:rPr>
              <a:pPr/>
              <a:t>Iclusig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4FCEDA7-87CD-48D3-9C91-1E5E1F592926}"/>
              </a:ext>
            </a:extLst>
          </p:cNvPr>
          <p:cNvSpPr/>
          <p:nvPr/>
        </p:nvSpPr>
        <p:spPr>
          <a:xfrm>
            <a:off x="9708356" y="5712859"/>
            <a:ext cx="2046287" cy="236945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r>
              <a:rPr lang="en-US" sz="800" dirty="0"/>
              <a:t>* Indicative results:&lt;15 respondents</a:t>
            </a:r>
            <a:endParaRPr lang="el-GR" sz="800" dirty="0" err="1"/>
          </a:p>
        </p:txBody>
      </p:sp>
    </p:spTree>
    <p:extLst>
      <p:ext uri="{BB962C8B-B14F-4D97-AF65-F5344CB8AC3E}">
        <p14:creationId xmlns:p14="http://schemas.microsoft.com/office/powerpoint/2010/main" val="24284094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4CD975D-CFDB-4FA4-A0CF-3F3FD103AE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8422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0" name="think-cell Slide" r:id="rId51" imgW="216" imgH="216" progId="TCLayout.ActiveDocument.1">
                  <p:embed/>
                </p:oleObj>
              </mc:Choice>
              <mc:Fallback>
                <p:oleObj name="think-cell Slide" r:id="rId51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4CD975D-CFDB-4FA4-A0CF-3F3FD103AE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A6B0DA0-FD11-4511-9E0A-1E681E7B206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en-US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E90FB348-9C4B-7E44-A8A8-D7CBD32A8D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3 drivers for Rx after 1L TKI failure are MMR, long term molecular response and cytogenic respons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E7D710EB-53F5-9A48-BB17-287752DB46CA}"/>
              </a:ext>
            </a:extLst>
          </p:cNvPr>
          <p:cNvSpPr txBox="1">
            <a:spLocks/>
          </p:cNvSpPr>
          <p:nvPr/>
        </p:nvSpPr>
        <p:spPr>
          <a:xfrm>
            <a:off x="396377" y="1063587"/>
            <a:ext cx="11246241" cy="27699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US" sz="2000" i="1" dirty="0">
                <a:solidFill>
                  <a:schemeClr val="accent1"/>
                </a:solidFill>
              </a:rPr>
              <a:t>CML- Drivers for Rx after 1st TKI failu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5E85D1F5-F50B-4E2C-AC26-12D2EB4CC1F0}"/>
              </a:ext>
            </a:extLst>
          </p:cNvPr>
          <p:cNvSpPr txBox="1">
            <a:spLocks/>
          </p:cNvSpPr>
          <p:nvPr/>
        </p:nvSpPr>
        <p:spPr>
          <a:xfrm>
            <a:off x="477012" y="5896681"/>
            <a:ext cx="11246241" cy="3323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% physicians</a:t>
            </a:r>
          </a:p>
          <a:p>
            <a:r>
              <a:rPr lang="en-US" dirty="0"/>
              <a:t>Base: n=40 physicians</a:t>
            </a:r>
          </a:p>
          <a:p>
            <a:pPr lvl="0"/>
            <a:r>
              <a:rPr lang="en-US" dirty="0"/>
              <a:t>Q43. How important is each of the following parameters to you when you have to choose a therapy after the failure of a TKI therapy for your CML patients. Please use a 10-point scale, </a:t>
            </a:r>
            <a:r>
              <a:rPr lang="en-US" b="1" i="1" dirty="0"/>
              <a:t>1=not important at all</a:t>
            </a:r>
            <a:r>
              <a:rPr lang="en-US" dirty="0"/>
              <a:t> and </a:t>
            </a:r>
            <a:r>
              <a:rPr lang="en-US" b="1" i="1" dirty="0"/>
              <a:t>10=extremely important</a:t>
            </a:r>
            <a:r>
              <a:rPr lang="en-US" dirty="0"/>
              <a:t>.</a:t>
            </a:r>
            <a:endParaRPr lang="el-GR" dirty="0"/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583E0E40-063F-4011-A587-79F101DFC1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6657797"/>
              </p:ext>
            </p:extLst>
          </p:nvPr>
        </p:nvGraphicFramePr>
        <p:xfrm>
          <a:off x="10171368" y="1625600"/>
          <a:ext cx="916872" cy="42438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6872">
                  <a:extLst>
                    <a:ext uri="{9D8B030D-6E8A-4147-A177-3AD203B41FA5}">
                      <a16:colId xmlns:a16="http://schemas.microsoft.com/office/drawing/2014/main" val="495685484"/>
                    </a:ext>
                  </a:extLst>
                </a:gridCol>
              </a:tblGrid>
              <a:tr h="206343">
                <a:tc>
                  <a:txBody>
                    <a:bodyPr/>
                    <a:lstStyle/>
                    <a:p>
                      <a:pPr algn="ctr"/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0521131"/>
                  </a:ext>
                </a:extLst>
              </a:tr>
              <a:tr h="206343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7361820"/>
                  </a:ext>
                </a:extLst>
              </a:tr>
              <a:tr h="313011"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344727"/>
                  </a:ext>
                </a:extLst>
              </a:tr>
              <a:tr h="313011"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5817108"/>
                  </a:ext>
                </a:extLst>
              </a:tr>
              <a:tr h="313011"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3164125"/>
                  </a:ext>
                </a:extLst>
              </a:tr>
              <a:tr h="313011"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8%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225852"/>
                  </a:ext>
                </a:extLst>
              </a:tr>
              <a:tr h="313011"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8%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7762518"/>
                  </a:ext>
                </a:extLst>
              </a:tr>
              <a:tr h="313011"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5%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3446741"/>
                  </a:ext>
                </a:extLst>
              </a:tr>
              <a:tr h="313011"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%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5150054"/>
                  </a:ext>
                </a:extLst>
              </a:tr>
              <a:tr h="313011"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%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5965319"/>
                  </a:ext>
                </a:extLst>
              </a:tr>
              <a:tr h="313011"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%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4021232"/>
                  </a:ext>
                </a:extLst>
              </a:tr>
              <a:tr h="313011"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8%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3053154"/>
                  </a:ext>
                </a:extLst>
              </a:tr>
              <a:tr h="313011"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8%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5924786"/>
                  </a:ext>
                </a:extLst>
              </a:tr>
              <a:tr h="313011"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5%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2724483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E4F6B170-4EB6-47A2-8D61-A8526992BC95}"/>
              </a:ext>
            </a:extLst>
          </p:cNvPr>
          <p:cNvSpPr txBox="1"/>
          <p:nvPr/>
        </p:nvSpPr>
        <p:spPr>
          <a:xfrm>
            <a:off x="10131426" y="1664935"/>
            <a:ext cx="916876" cy="1651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sz="1200" dirty="0"/>
              <a:t>% Top 3:</a:t>
            </a:r>
            <a:endParaRPr lang="el-GR" sz="1200" dirty="0"/>
          </a:p>
        </p:txBody>
      </p:sp>
      <p:graphicFrame>
        <p:nvGraphicFramePr>
          <p:cNvPr id="293" name="Chart 292">
            <a:extLst>
              <a:ext uri="{FF2B5EF4-FFF2-40B4-BE49-F238E27FC236}">
                <a16:creationId xmlns:a16="http://schemas.microsoft.com/office/drawing/2014/main" id="{296ADC72-81D0-4960-9AA0-6C5688657D7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29728350"/>
              </p:ext>
            </p:extLst>
          </p:nvPr>
        </p:nvGraphicFramePr>
        <p:xfrm>
          <a:off x="3168650" y="1985963"/>
          <a:ext cx="6586538" cy="3908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7B923447-0B6C-4806-99F7-DA0E7036855F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 flipV="1">
            <a:off x="3330575" y="4471988"/>
            <a:ext cx="44450" cy="36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97A0816E-F0B4-41A8-8C5F-E88BB4586B41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 flipV="1">
            <a:off x="3330575" y="3224213"/>
            <a:ext cx="44450" cy="36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Straight Connector 273">
            <a:extLst>
              <a:ext uri="{FF2B5EF4-FFF2-40B4-BE49-F238E27FC236}">
                <a16:creationId xmlns:a16="http://schemas.microsoft.com/office/drawing/2014/main" id="{3BE9011D-82B6-49C1-9D86-62B28D3941E0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 flipV="1">
            <a:off x="3330575" y="4784725"/>
            <a:ext cx="44450" cy="36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Connector 274">
            <a:extLst>
              <a:ext uri="{FF2B5EF4-FFF2-40B4-BE49-F238E27FC236}">
                <a16:creationId xmlns:a16="http://schemas.microsoft.com/office/drawing/2014/main" id="{72171E7B-F892-467B-8D69-2E7E654B008F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 flipV="1">
            <a:off x="3330575" y="5095875"/>
            <a:ext cx="44450" cy="36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64F1FB07-8C14-4C49-8011-7D9AC7FF021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244600" y="3395663"/>
            <a:ext cx="18827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12E2373-A1BB-48C3-88FE-89F9D90D5FFA}" type="datetime'Pr''o''gres''sion f''re''e su''''rvi''''val'''' ''''(PFS'''')'">
              <a:rPr lang="en-US" altLang="en-US" sz="1000" b="1" smtClean="0">
                <a:solidFill>
                  <a:schemeClr val="tx1"/>
                </a:solidFill>
              </a:rPr>
              <a:pPr/>
              <a:t>Progression free survival (PFS)</a:t>
            </a:fld>
            <a:endParaRPr lang="el-GR" sz="10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6359206-EA1B-4996-ACA4-02AB450C35F9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1885950" y="3082925"/>
            <a:ext cx="12414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0B32B91-EECD-4354-BE70-C1CF2D20AC48}" type="datetime'''O''veral''l'''''''''''''''''' surv''i''''v''''''al (O''''S)'">
              <a:rPr lang="en-US" altLang="en-US" sz="1000" b="1" smtClean="0">
                <a:solidFill>
                  <a:schemeClr val="tx1"/>
                </a:solidFill>
              </a:rPr>
              <a:pPr/>
              <a:t>Overall survival (OS)</a:t>
            </a:fld>
            <a:endParaRPr lang="el-GR" sz="10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01555842-3847-440F-8D8E-91F622BA7643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682625" y="3706813"/>
            <a:ext cx="24447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6477416-A869-434F-A307-BCC211ABE874}" type="datetime'Co''mplete'''' Cytogen''etic'' Re''spo''n''se (C''''''Cy''R)'">
              <a:rPr lang="en-US" altLang="en-US" sz="1000" b="1" smtClean="0">
                <a:solidFill>
                  <a:schemeClr val="tx1"/>
                </a:solidFill>
              </a:rPr>
              <a:pPr/>
              <a:t>Complete Cytogenetic Response (CCyR)</a:t>
            </a:fld>
            <a:endParaRPr lang="el-GR" sz="10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1F9CD88-3E5B-44F1-9FE3-5A60CACCF19F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1171575" y="2771775"/>
            <a:ext cx="19558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36F1BF8-03B0-46CC-B456-84C6946DD25F}" type="datetime'Lo''n''g ''te''''rm cytogeneti''''''c ''''r''''''''esponse'''">
              <a:rPr lang="en-US" altLang="en-US" sz="1000" b="1" smtClean="0">
                <a:solidFill>
                  <a:schemeClr val="tx1"/>
                </a:solidFill>
              </a:rPr>
              <a:pPr/>
              <a:t>Long term cytogenetic response</a:t>
            </a:fld>
            <a:endParaRPr lang="el-GR" sz="10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B2535991-9124-447D-B943-272C65B86880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1098550" y="2147888"/>
            <a:ext cx="20288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7A0B3D8-99A6-4A4D-AE17-8F5AC1358C35}" type="datetime'M''''a''''jor Molecul''''''ar ''Res''pon''''se (''M''M''R)'">
              <a:rPr lang="en-US" altLang="en-US" sz="1000" b="1" smtClean="0">
                <a:solidFill>
                  <a:schemeClr val="tx1"/>
                </a:solidFill>
              </a:rPr>
              <a:pPr/>
              <a:t>Major Molecular Response (MMR)</a:t>
            </a:fld>
            <a:endParaRPr lang="el-GR" sz="10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DF871F9-5A9F-4B77-ABA2-8E9918CDA7D0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327150" y="2459038"/>
            <a:ext cx="18002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1FC6EB8-4C65-462D-B020-BE81419E4C36}" type="datetime'Long'' t''erm'' mo''le''c''u''''l''e'''''''' ''r''es''pons''e'">
              <a:rPr lang="en-US" altLang="en-US" sz="1000" b="1" smtClean="0">
                <a:solidFill>
                  <a:schemeClr val="tx1"/>
                </a:solidFill>
              </a:rPr>
              <a:pPr/>
              <a:t>Long term molecule response</a:t>
            </a:fld>
            <a:endParaRPr lang="el-GR" sz="10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81A29BCF-4ACD-4F9F-9FC3-230E50C91F72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612775" y="4019550"/>
            <a:ext cx="25146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15D5778-9B91-45BB-A928-45C73AB3F729}" type="datetime'Co''''mplete Hema''to''logic''al Res''''''po''''''nse (C''HR)'">
              <a:rPr lang="en-US" altLang="en-US" sz="1000" b="1" smtClean="0">
                <a:solidFill>
                  <a:schemeClr val="tx1"/>
                </a:solidFill>
              </a:rPr>
              <a:pPr/>
              <a:t>Complete Hematological Response (CHR)</a:t>
            </a:fld>
            <a:endParaRPr lang="el-GR" sz="10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977CEC6-2520-461B-A59D-8D2AE3258737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673225" y="4330700"/>
            <a:ext cx="14541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18BF339-D4E0-4700-9C8F-505477F10698}" type="datetime'''''Mo''''lec''''u''''lar respo''''n''s''''e'''''' r''''''ate'">
              <a:rPr lang="en-US" altLang="en-US" sz="1000" b="1" smtClean="0">
                <a:solidFill>
                  <a:schemeClr val="tx1"/>
                </a:solidFill>
              </a:rPr>
              <a:pPr/>
              <a:t>Molecular response rate</a:t>
            </a:fld>
            <a:endParaRPr lang="el-GR" sz="10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DA02787F-E0EF-460B-A42F-4B7EC7FEAD43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658938" y="4643438"/>
            <a:ext cx="14684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E95153A-BF84-4FEA-A199-FA97D73D1BFC}" type="datetime'Sa''f''''''e''t''y'' / ''to''ler''''ance'''' p''ro''fil''e'''">
              <a:rPr lang="en-US" altLang="en-US" sz="1000" b="1" smtClean="0">
                <a:solidFill>
                  <a:schemeClr val="tx1"/>
                </a:solidFill>
              </a:rPr>
              <a:pPr/>
              <a:t>Safety / tolerance profile</a:t>
            </a:fld>
            <a:endParaRPr lang="el-GR" sz="10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64A4FA61-FD94-41A0-9C8B-C59C82AE688A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2003425" y="4954588"/>
            <a:ext cx="11239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99886B7-D066-43FD-8976-E2DA0EDAE49B}" type="datetime'Eas''''y to'''' a''''d''mi''''''''''ni''''s''te''r'''''">
              <a:rPr lang="en-US" altLang="en-US" sz="1000" b="1" smtClean="0">
                <a:solidFill>
                  <a:schemeClr val="tx1"/>
                </a:solidFill>
              </a:rPr>
              <a:pPr/>
              <a:t>Easy to administer</a:t>
            </a:fld>
            <a:endParaRPr lang="el-GR" sz="10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6B3B48FA-5E45-4BCD-A5EE-B108A27AEBA8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2041525" y="5267325"/>
            <a:ext cx="10858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17D7F31-7D42-4CDA-92D7-BF1AC87236AE}" type="datetime'Cost'''''' ''of ''''t''''''r''''''''''eat''''me''''''''''nt '">
              <a:rPr lang="en-US" altLang="en-US" sz="1000" b="1" smtClean="0">
                <a:solidFill>
                  <a:schemeClr val="tx1"/>
                </a:solidFill>
              </a:rPr>
              <a:pPr/>
              <a:t>Cost of treatment </a:t>
            </a:fld>
            <a:endParaRPr lang="el-GR" sz="10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60513AEA-84C2-427E-97C4-EBA1B6D2F1E8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768475" y="5578475"/>
            <a:ext cx="13589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17D7DBA-A674-4810-96FB-DF002A710905}" type="datetime'Ph''''ar''''''m''''a''Co''''s r''e''''pu''t''''at''io''''n'">
              <a:rPr lang="en-US" altLang="en-US" sz="1000" b="1" smtClean="0">
                <a:solidFill>
                  <a:schemeClr val="tx1"/>
                </a:solidFill>
              </a:rPr>
              <a:pPr/>
              <a:t>PharmaCos reputation</a:t>
            </a:fld>
            <a:endParaRPr lang="el-GR" sz="10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540097AE-9107-45C3-9763-311DDEAC47DF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3232150" y="4033838"/>
            <a:ext cx="196850" cy="1238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9E205A0-8DBF-4978-901C-12AAB14EE2E4}" type="datetime'''''''''3''''%'''''''''''''''''''''''''''''''''''''''''">
              <a:rPr lang="el-GR" altLang="en-US" sz="900" smtClean="0">
                <a:solidFill>
                  <a:schemeClr val="bg1"/>
                </a:solidFill>
              </a:rPr>
              <a:pPr/>
              <a:t>3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A7D44E10-E0D4-4070-8F8B-78B9F92B2606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3392488" y="4344988"/>
            <a:ext cx="196850" cy="123825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69E6A41-A63D-49EA-9AB9-0E7CE89208CC}" type="datetime'''3''''''''''''''''''''''%'">
              <a:rPr lang="el-GR" altLang="en-US" sz="900" smtClean="0">
                <a:solidFill>
                  <a:schemeClr val="tx1"/>
                </a:solidFill>
              </a:rPr>
              <a:pPr/>
              <a:t>3%</a:t>
            </a:fld>
            <a:endParaRPr lang="el-GR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E3D84E40-0E8E-4420-BDC7-399CA9E76327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3232150" y="5281613"/>
            <a:ext cx="196850" cy="123825"/>
          </a:xfrm>
          <a:prstGeom prst="rect">
            <a:avLst/>
          </a:prstGeom>
          <a:solidFill>
            <a:srgbClr val="CBB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0A2DBC1-DC6C-491A-BBE8-0F8C6BC4F0DD}" type="datetime'''3''''''''''''''''''''''''''''''''%'''''''''''''''''''">
              <a:rPr lang="el-GR" altLang="en-US" sz="900" smtClean="0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lang="el-GR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5B50292D-488E-4013-981A-7DA1AC599C37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3392488" y="4657725"/>
            <a:ext cx="196850" cy="12382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DED0D77-8E1D-4D74-A55F-050054B06E6D}" type="datetime'''''''''''''''''''3''''''%''''''''''''''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52" name="Rectangle 251">
            <a:extLst>
              <a:ext uri="{FF2B5EF4-FFF2-40B4-BE49-F238E27FC236}">
                <a16:creationId xmlns:a16="http://schemas.microsoft.com/office/drawing/2014/main" id="{A5C52C7F-BFD1-4A14-AC1F-0F3DD62978AA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3232150" y="2473325"/>
            <a:ext cx="196850" cy="123825"/>
          </a:xfrm>
          <a:prstGeom prst="rect">
            <a:avLst/>
          </a:prstGeom>
          <a:solidFill>
            <a:srgbClr val="0077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A532D46-788A-40B7-A595-92B82194A7D9}" type="datetime'3''%''''''''''''''''''''''''''''''''''''''''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F714FDB2-B366-4A09-AF7A-AA0240D17F29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3392488" y="3097213"/>
            <a:ext cx="196850" cy="123825"/>
          </a:xfrm>
          <a:prstGeom prst="rect">
            <a:avLst/>
          </a:prstGeom>
          <a:solidFill>
            <a:srgbClr val="0077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BD77503-A610-487D-B016-C0AEF0CABA0E}" type="datetime'''''''''''3%''''''''''''''''''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2E87E218-A200-4B3A-94FF-FC6DD51940A3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3232150" y="3409950"/>
            <a:ext cx="196850" cy="1238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88B8BD0-479F-4742-8806-E17CA2E8B01B}" type="datetime'''''''''''''''''''''''''''''''3''''%''''''''''''''''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59" name="Rectangle 258">
            <a:extLst>
              <a:ext uri="{FF2B5EF4-FFF2-40B4-BE49-F238E27FC236}">
                <a16:creationId xmlns:a16="http://schemas.microsoft.com/office/drawing/2014/main" id="{D8711682-851C-483B-B19A-9EC6C7DBB427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4035425" y="4033838"/>
            <a:ext cx="196850" cy="123825"/>
          </a:xfrm>
          <a:prstGeom prst="rect">
            <a:avLst/>
          </a:prstGeom>
          <a:solidFill>
            <a:srgbClr val="0077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4515546-095D-4BF4-B8E6-F1A0451C9433}" type="datetime'''''''''''''''''''''3''''''''''''''''''''''''''''''''%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8278461F-5421-47CF-993F-76DA5173E408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3392488" y="4968875"/>
            <a:ext cx="196850" cy="123825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AE06DC0-C4E3-4F58-B346-32F2D9A546BF}" type="datetime'''3''''''''''''''''''''''''''%'''''''''">
              <a:rPr lang="el-GR" altLang="en-US" sz="900" smtClean="0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lang="el-GR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F56BA273-7391-42D8-A4A3-DB50EA9D5BC6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7383463" y="1714500"/>
            <a:ext cx="160338" cy="120650"/>
          </a:xfrm>
          <a:prstGeom prst="rect">
            <a:avLst/>
          </a:prstGeom>
          <a:solidFill>
            <a:srgbClr val="197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AE68A79-4E30-4C76-8D8A-51D0B6A4CBD9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3297238" y="1714500"/>
            <a:ext cx="160338" cy="120650"/>
          </a:xfrm>
          <a:prstGeom prst="rect">
            <a:avLst/>
          </a:prstGeom>
          <a:solidFill>
            <a:srgbClr val="C30C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B19390FF-2BFB-448E-B8D7-9F685F65FD6F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4749800" y="1714500"/>
            <a:ext cx="160338" cy="120650"/>
          </a:xfrm>
          <a:prstGeom prst="rect">
            <a:avLst/>
          </a:prstGeom>
          <a:solidFill>
            <a:srgbClr val="CBB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56D27741-EBCC-4562-8044-A5E41EE9C223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5126038" y="1714500"/>
            <a:ext cx="160338" cy="120650"/>
          </a:xfrm>
          <a:prstGeom prst="rect">
            <a:avLst/>
          </a:prstGeom>
          <a:solidFill>
            <a:srgbClr val="FEA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98719AD9-5B79-4CA4-8189-843C6EA38573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5502275" y="1714500"/>
            <a:ext cx="160338" cy="1206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7CBB435-9366-4484-A91F-0287A889F552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5878513" y="1714500"/>
            <a:ext cx="160338" cy="120650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AA092974-3B5A-4A3C-AC4C-ACFED5FFCBFE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6254750" y="1714500"/>
            <a:ext cx="160338" cy="1206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27210B3F-57F6-4005-99B8-2A0521054043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6630988" y="1714500"/>
            <a:ext cx="160338" cy="1206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62CD2AA0-B522-4714-B4CB-9DF81242484F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7007225" y="1714500"/>
            <a:ext cx="160338" cy="120650"/>
          </a:xfrm>
          <a:prstGeom prst="rect">
            <a:avLst/>
          </a:prstGeom>
          <a:solidFill>
            <a:srgbClr val="0077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5C8C7567-7FBF-47D1-A347-D07DDB932F4A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7759700" y="1714500"/>
            <a:ext cx="160338" cy="1206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1B0B6AB2-9964-43FE-91FD-566BA1D4D5B4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6842125" y="1711325"/>
            <a:ext cx="63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2FB3681-3934-4D22-AF1B-39D27332FB43}" type="datetime'''''''''''''''''''''''7'''''''''''''''''''''''''''''''">
              <a:rPr lang="el-GR" altLang="en-US" sz="900" smtClean="0">
                <a:solidFill>
                  <a:schemeClr val="tx1"/>
                </a:solidFill>
              </a:rPr>
              <a:pPr/>
              <a:t>7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B490790-5163-4E03-BF17-2CCAAE2C65C3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4960938" y="1711325"/>
            <a:ext cx="63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EC94CA2-3238-4386-B413-60723C3AE2D2}" type="datetime'''''''''''''''''2'''''''''''''''''''''''''''''''''''''''">
              <a:rPr lang="el-GR" altLang="en-US" sz="900" smtClean="0">
                <a:solidFill>
                  <a:schemeClr val="tx1"/>
                </a:solidFill>
              </a:rPr>
              <a:pPr/>
              <a:t>2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44D0EE38-868F-4513-B5AC-51E700E04D83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3508375" y="1711325"/>
            <a:ext cx="1139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CC33BE3-BC0C-4DEC-ADEB-27E2D3BE2698}" type="datetime'1='' ''I'''''' d''''o ''''''n''ot ag''re''e'' at'' a''ll'''">
              <a:rPr lang="en-US" altLang="en-US" sz="900" smtClean="0">
                <a:solidFill>
                  <a:schemeClr val="tx1"/>
                </a:solidFill>
              </a:rPr>
              <a:pPr/>
              <a:t>1= I do not agree at all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94E26605-7948-4D3E-A39E-0A133E4DBA27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7218363" y="1711325"/>
            <a:ext cx="63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7B5B17C-9AB0-4880-B940-78CACDC4E99F}" type="datetime'''''''''8'''''''''''''''''''">
              <a:rPr lang="el-GR" altLang="en-US" sz="900" smtClean="0">
                <a:solidFill>
                  <a:schemeClr val="tx1"/>
                </a:solidFill>
              </a:rPr>
              <a:pPr/>
              <a:t>8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200EB8A-8F1E-4616-B08C-FAFC29BEDE90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5337175" y="1711325"/>
            <a:ext cx="63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8DEA026-8E33-4864-BB5E-4B391F50F07F}" type="datetime'''''''''''''''''''3'''''''''''''''''''">
              <a:rPr lang="el-GR" altLang="en-US" sz="900" smtClean="0">
                <a:solidFill>
                  <a:schemeClr val="tx1"/>
                </a:solidFill>
              </a:rPr>
              <a:pPr/>
              <a:t>3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A218862-2DB6-4B33-A52F-ED1F2B8152BC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5713413" y="1711325"/>
            <a:ext cx="63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B68C996-751D-4678-949F-7735C7938F6E}" type="datetime'''4'''''''''''''''''''''''''''''''''''''''''">
              <a:rPr lang="el-GR" altLang="en-US" sz="900" smtClean="0">
                <a:solidFill>
                  <a:schemeClr val="tx1"/>
                </a:solidFill>
              </a:rPr>
              <a:pPr/>
              <a:t>4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F1CAFC48-CB79-4E92-AEBA-4E4E7777BDAB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6089650" y="1711325"/>
            <a:ext cx="63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2483861-1ECC-4D72-AE4D-5133504F73D1}" type="datetime'''''''''''''''''''''''''''''''''''''''''''''''''5'''''''''''''">
              <a:rPr lang="el-GR" altLang="en-US" sz="900" smtClean="0">
                <a:solidFill>
                  <a:schemeClr val="tx1"/>
                </a:solidFill>
              </a:rPr>
              <a:pPr/>
              <a:t>5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D47CEFA8-5552-44CC-8C68-F8876BF2E7D1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6465888" y="1711325"/>
            <a:ext cx="63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00379F2-89A5-4F2F-B9C3-F56D9D95A616}" type="datetime'''''''''''''''''''''''''''''''''''''''6'''">
              <a:rPr lang="el-GR" altLang="en-US" sz="900" smtClean="0">
                <a:solidFill>
                  <a:schemeClr val="tx1"/>
                </a:solidFill>
              </a:rPr>
              <a:pPr/>
              <a:t>6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9FCA0662-EC84-43D0-9E18-F970C446D555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7594600" y="1711325"/>
            <a:ext cx="63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B40A9A3-3D4B-4CCC-8795-DEA9D2B0B4E7}" type="datetime'''''''''''''9'''''''''''''''''''''''''''''">
              <a:rPr lang="el-GR" altLang="en-US" sz="900" smtClean="0">
                <a:solidFill>
                  <a:schemeClr val="tx1"/>
                </a:solidFill>
              </a:rPr>
              <a:pPr/>
              <a:t>9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88CC89A7-3847-492F-8EBA-63E2D283A27C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7970838" y="1711325"/>
            <a:ext cx="8794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30C42EB-119F-4556-92B9-75267C1F63E9}" type="datetime'10''=''''I to''''''''''t''''''al''''l''y ''''a''g''re''e'''''">
              <a:rPr lang="en-US" altLang="en-US" sz="900" smtClean="0">
                <a:solidFill>
                  <a:schemeClr val="tx1"/>
                </a:solidFill>
              </a:rPr>
              <a:pPr/>
              <a:t>10=I totally agree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903257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4CD975D-CFDB-4FA4-A0CF-3F3FD103AE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9715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84" name="think-cell Slide" r:id="rId30" imgW="216" imgH="216" progId="TCLayout.ActiveDocument.1">
                  <p:embed/>
                </p:oleObj>
              </mc:Choice>
              <mc:Fallback>
                <p:oleObj name="think-cell Slide" r:id="rId30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4CD975D-CFDB-4FA4-A0CF-3F3FD103AE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A6B0DA0-FD11-4511-9E0A-1E681E7B206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en-US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E90FB348-9C4B-7E44-A8A8-D7CBD32A8D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clusig</a:t>
            </a:r>
            <a:r>
              <a:rPr lang="en-US" dirty="0"/>
              <a:t> records a share equal to 29% in total Ph+ ALL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E7D710EB-53F5-9A48-BB17-287752DB46CA}"/>
              </a:ext>
            </a:extLst>
          </p:cNvPr>
          <p:cNvSpPr txBox="1">
            <a:spLocks/>
          </p:cNvSpPr>
          <p:nvPr/>
        </p:nvSpPr>
        <p:spPr>
          <a:xfrm>
            <a:off x="396377" y="1063587"/>
            <a:ext cx="11246241" cy="27699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US" sz="2000" i="1" dirty="0">
                <a:solidFill>
                  <a:schemeClr val="accent1"/>
                </a:solidFill>
              </a:rPr>
              <a:t>Patient shares in total treatment line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5E85D1F5-F50B-4E2C-AC26-12D2EB4CC1F0}"/>
              </a:ext>
            </a:extLst>
          </p:cNvPr>
          <p:cNvSpPr txBox="1">
            <a:spLocks/>
          </p:cNvSpPr>
          <p:nvPr/>
        </p:nvSpPr>
        <p:spPr>
          <a:xfrm>
            <a:off x="477012" y="5564283"/>
            <a:ext cx="11246241" cy="664797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% patients</a:t>
            </a:r>
          </a:p>
          <a:p>
            <a:r>
              <a:rPr lang="en-US" dirty="0"/>
              <a:t>Base: n=30 physician </a:t>
            </a:r>
          </a:p>
          <a:p>
            <a:r>
              <a:rPr lang="en-US" dirty="0"/>
              <a:t>Q48. How many of you Ph+ ALL patients receive each one of the following therapies regardless treatment line?</a:t>
            </a:r>
          </a:p>
          <a:p>
            <a:r>
              <a:rPr lang="en-US" dirty="0"/>
              <a:t>Q49. How many of your 1</a:t>
            </a:r>
            <a:r>
              <a:rPr lang="en-US" baseline="30000" dirty="0"/>
              <a:t>st</a:t>
            </a:r>
            <a:r>
              <a:rPr lang="en-US" dirty="0"/>
              <a:t> line patients receive each one of the following therapies?</a:t>
            </a:r>
            <a:endParaRPr lang="el-GR" dirty="0"/>
          </a:p>
          <a:p>
            <a:r>
              <a:rPr lang="en-US" dirty="0"/>
              <a:t>Q56. How many of your 2</a:t>
            </a:r>
            <a:r>
              <a:rPr lang="en-US" baseline="30000" dirty="0"/>
              <a:t>nd</a:t>
            </a:r>
            <a:r>
              <a:rPr lang="en-US" dirty="0"/>
              <a:t> line patients receive each one of the following therapies?</a:t>
            </a:r>
          </a:p>
          <a:p>
            <a:r>
              <a:rPr lang="en-US" dirty="0"/>
              <a:t>Q56. How many of your 3</a:t>
            </a:r>
            <a:r>
              <a:rPr lang="en-US" baseline="30000" dirty="0"/>
              <a:t>nd</a:t>
            </a:r>
            <a:r>
              <a:rPr lang="en-US" dirty="0"/>
              <a:t> line patients receive each one of the following therapies?</a:t>
            </a:r>
            <a:endParaRPr lang="el-GR" dirty="0"/>
          </a:p>
        </p:txBody>
      </p:sp>
      <p:graphicFrame>
        <p:nvGraphicFramePr>
          <p:cNvPr id="136" name="Chart 135">
            <a:extLst>
              <a:ext uri="{FF2B5EF4-FFF2-40B4-BE49-F238E27FC236}">
                <a16:creationId xmlns:a16="http://schemas.microsoft.com/office/drawing/2014/main" id="{9EC373B4-F36D-4045-8683-CECF4BF09E5C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71880778"/>
              </p:ext>
            </p:extLst>
          </p:nvPr>
        </p:nvGraphicFramePr>
        <p:xfrm>
          <a:off x="2060575" y="2022475"/>
          <a:ext cx="6670675" cy="3051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AB7BE505-9497-4530-8BFF-AA6F2A6349BA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324349" y="5035550"/>
            <a:ext cx="51593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8076A96-525A-439A-ACF5-B6B6BF9F6BA0}" type="datetime'''1''''s''''''''''''t ''''Lin''''e'''">
              <a:rPr lang="en-US" altLang="en-US" sz="1050" b="1" smtClean="0">
                <a:solidFill>
                  <a:schemeClr val="tx1"/>
                </a:solidFill>
              </a:rPr>
              <a:pPr/>
              <a:t>1st Line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71845A0-607A-4E01-9BBF-086B76205F3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569200" y="5035550"/>
            <a:ext cx="530225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E6CBA3B-4A86-4A2E-9B89-604038DF8FA0}" type="datetime'''''''3''''rd'''''''''''''''''' L''in''''e'''''">
              <a:rPr lang="en-US" altLang="en-US" sz="1050" b="1" smtClean="0">
                <a:solidFill>
                  <a:schemeClr val="tx1"/>
                </a:solidFill>
              </a:rPr>
              <a:pPr/>
              <a:t>3rd Line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C054843-CE73-4E32-A29F-E2FE46A05D8A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790824" y="5035550"/>
            <a:ext cx="3302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4DFD59D-D1A9-45D0-B981-D4B0A48070FB}" type="datetime'''''''''''To''''''t''a''''''''l'''''''''''''''''''''''''">
              <a:rPr lang="en-US" altLang="en-US" sz="1050" b="1" smtClean="0">
                <a:solidFill>
                  <a:schemeClr val="tx1"/>
                </a:solidFill>
              </a:rPr>
              <a:pPr/>
              <a:t>Total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31A256C-3C02-4163-B823-06ABA2907619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929313" y="5035550"/>
            <a:ext cx="558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E83F88F-5812-4B20-AECC-68773E58FC25}" type="datetime'2n''''''''d ''Li''''''''''ne'''''''''''''''''''''">
              <a:rPr lang="en-US" altLang="en-US" sz="1050" b="1" smtClean="0">
                <a:solidFill>
                  <a:schemeClr val="tx1"/>
                </a:solidFill>
              </a:rPr>
              <a:pPr/>
              <a:t>2nd Line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14993B14-C4E1-424F-8C04-BC6A424D30A6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2857500" y="4868863"/>
            <a:ext cx="1968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8A89C43-13A9-4AA1-939E-C9E8813823EE}" type="datetime'''''''''''''''''''''''4''%'''''''''''''''''''''''''''''''">
              <a:rPr lang="el-GR" altLang="en-US" sz="9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%</a:t>
            </a:fld>
            <a:endParaRPr lang="el-GR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8C908763-495C-42A7-B33B-6BA48D9ACA9F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2825750" y="4395788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36BD167-F2FD-4F97-921E-0846CD1AB498}" type="datetime'''''''2''9''''%'''''">
              <a:rPr lang="el-GR" altLang="en-US" sz="900" smtClean="0">
                <a:solidFill>
                  <a:schemeClr val="bg1"/>
                </a:solidFill>
              </a:rPr>
              <a:pPr/>
              <a:t>29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7457B794-0A19-4454-B0B9-6B91E718D1CB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2825750" y="3408363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92A15D9-7C5E-4959-A500-981B7A9F55F5}" type="datetime'''''''''''''''''''''''''''''''4''''''''''''0''%'''''">
              <a:rPr lang="el-GR" altLang="en-US" sz="900" smtClean="0">
                <a:solidFill>
                  <a:schemeClr val="bg1"/>
                </a:solidFill>
              </a:rPr>
              <a:pPr/>
              <a:t>40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1357053-7B1B-43B0-B4FF-EBF38B6BA8D8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2825750" y="2438400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97CEC8E-9023-4CE3-AB58-B71F53991DA0}" type="datetime'''2''7''''%'''''''''''''''''''''''''''''''''''''">
              <a:rPr lang="el-GR" altLang="en-US" sz="9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7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B595AA6-9730-4C37-AF64-842376EB9A6B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4483100" y="4818063"/>
            <a:ext cx="1968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766ED75-86E0-4363-A5B7-242A5A1546E6}" type="datetime'''''''''''''''''''''''''''''''''''8''''''''%'''''''''''">
              <a:rPr lang="el-GR" altLang="en-US" sz="9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%</a:t>
            </a:fld>
            <a:endParaRPr lang="el-GR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98896F48-4EE2-42F3-AF3B-69E74D5F449C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4483100" y="4595813"/>
            <a:ext cx="1968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D5B9FAC-0FBA-4344-AB54-3F2580D409ED}" type="datetime'''''''8''''''''''''''''''''%'''''">
              <a:rPr lang="el-GR" altLang="en-US" sz="9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5BE8F22B-1CB1-4B59-A352-240290AF2D01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4451350" y="3773488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616BB84-83E2-449C-90CC-929B75F0DEA7}" type="datetime'''''''''''4''''''9''''%'''''''">
              <a:rPr lang="el-GR" altLang="en-US" sz="900" smtClean="0">
                <a:solidFill>
                  <a:schemeClr val="bg1"/>
                </a:solidFill>
              </a:rPr>
              <a:pPr/>
              <a:t>49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E4C5F00-D05A-45C1-973C-8F0A4016BEBB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4451350" y="2552700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3ACD4D4-C332-4F10-9F36-8C86FAE5B815}" type="datetime'''3''''5''''''%'''">
              <a:rPr lang="el-GR" altLang="en-US" sz="9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5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BD1CEC49-39D3-4469-894A-5DD80D73CB7F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6078538" y="3870325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8BF95A9-DE15-4423-9420-4834794800CE}" type="datetime'''''''''''''''''''''''''''''''''7''''3''''''''''%'">
              <a:rPr lang="el-GR" altLang="en-US" sz="900" smtClean="0">
                <a:solidFill>
                  <a:schemeClr val="bg1"/>
                </a:solidFill>
              </a:rPr>
              <a:pPr/>
              <a:t>73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01C1129F-DB7A-40F1-90D1-22DCB029D94A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6078538" y="2427288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C4BBC8D-33B7-417A-A875-FB87D7AACA8B}" type="datetime'''''''''''''''''''''''''''''''''''''''''''''2''7''%'''''">
              <a:rPr lang="el-GR" altLang="en-US" sz="9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7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50AC818-4444-47F0-B25E-44798AD04361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7704138" y="4722813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E00A936-9518-480A-84AF-75A3C6963EFF}" type="datetime'1''''4''''''''''''''''''''''''''%'''''''''''''''''''''''''">
              <a:rPr lang="el-GR" altLang="en-US" sz="900" smtClean="0">
                <a:solidFill>
                  <a:schemeClr val="tx1"/>
                </a:solidFill>
              </a:rPr>
              <a:pPr/>
              <a:t>14%</a:t>
            </a:fld>
            <a:endParaRPr lang="el-GR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8525530B-7AF1-43E2-8257-A46BC50EADD2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7704138" y="3279775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72DA9D1-D46F-4B45-83CA-213BC4089AA5}" type="datetime'''''''8''''''''''''''''''''''''6''''''%'''''''''">
              <a:rPr lang="el-GR" altLang="en-US" sz="900" smtClean="0">
                <a:solidFill>
                  <a:schemeClr val="bg1"/>
                </a:solidFill>
              </a:rPr>
              <a:pPr/>
              <a:t>86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FD6311F-653B-4F60-A3D3-5046A0960F8A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8993188" y="2584450"/>
            <a:ext cx="187325" cy="139700"/>
          </a:xfrm>
          <a:prstGeom prst="rect">
            <a:avLst/>
          </a:prstGeom>
          <a:solidFill>
            <a:schemeClr val="hlink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C4B7AEF-938D-4B9C-AD91-98D0FB8C451B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8993188" y="2373313"/>
            <a:ext cx="187325" cy="1397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48D1EE1-C251-4E7E-B265-CF5302393F48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8993188" y="2162175"/>
            <a:ext cx="187325" cy="1397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FF78486-0F57-4EE7-BFC6-BFB68B0CB3E4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8993188" y="2795588"/>
            <a:ext cx="187325" cy="139700"/>
          </a:xfrm>
          <a:prstGeom prst="rect">
            <a:avLst/>
          </a:prstGeom>
          <a:solidFill>
            <a:srgbClr val="9DB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99CB3386-1790-402F-B5D1-422DBECAE919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9231313" y="2790825"/>
            <a:ext cx="7239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3D80411-8772-4924-B6E4-632EC1C9D26F}" type="datetime'I''''m''''''''''''''''''''''''ati''n''i''''''b'' ''''''Gx'">
              <a:rPr lang="en-US" altLang="en-US" sz="1050" b="1" smtClean="0">
                <a:solidFill>
                  <a:schemeClr val="tx1"/>
                </a:solidFill>
              </a:rPr>
              <a:pPr/>
              <a:t>Imatinib Gx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49BFE30-FC63-419D-90CA-A7B1D7807549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9231313" y="2157413"/>
            <a:ext cx="40005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C8A3913-A081-4CEA-B5DE-F0EB4917E3C2}" type="datetime'''''''''''G''li''''v''''''''''''''''''''''''''''''''''''ec'">
              <a:rPr lang="en-US" altLang="en-US" sz="1050" b="1" smtClean="0">
                <a:solidFill>
                  <a:schemeClr val="tx1"/>
                </a:solidFill>
              </a:rPr>
              <a:pPr/>
              <a:t>Glivec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900304D-75F8-4563-8320-6844B697126B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9231313" y="2579688"/>
            <a:ext cx="42068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74AC5B7-314C-4243-A4E6-AF988595ACDE}" type="datetime'''''I''''cl''''''''us''''''''''''i''''''''''''g'''">
              <a:rPr lang="en-US" altLang="en-US" sz="1050" b="1" smtClean="0">
                <a:solidFill>
                  <a:schemeClr val="tx1"/>
                </a:solidFill>
              </a:rPr>
              <a:pPr/>
              <a:t>Iclusig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8AC3EDA-545D-44C9-8372-CF43F0AD4CD7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9231313" y="2368550"/>
            <a:ext cx="4826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DD424C6-E8EE-4368-B3CF-98FDD64F619C}" type="datetime'Sp''''''''''''''''''r''''y''''''''''''c''e''''l'''''''''''''">
              <a:rPr lang="en-US" altLang="en-US" sz="1050" b="1" smtClean="0">
                <a:solidFill>
                  <a:schemeClr val="tx1"/>
                </a:solidFill>
              </a:rPr>
              <a:pPr/>
              <a:t>Sprycel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394181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4CD975D-CFDB-4FA4-A0CF-3F3FD103AE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9682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81" name="think-cell Slide" r:id="rId24" imgW="216" imgH="216" progId="TCLayout.ActiveDocument.1">
                  <p:embed/>
                </p:oleObj>
              </mc:Choice>
              <mc:Fallback>
                <p:oleObj name="think-cell Slide" r:id="rId24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4CD975D-CFDB-4FA4-A0CF-3F3FD103AE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A6B0DA0-FD11-4511-9E0A-1E681E7B206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en-US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E90FB348-9C4B-7E44-A8A8-D7CBD32A8D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5% of patients are switched from 1</a:t>
            </a:r>
            <a:r>
              <a:rPr lang="en-US" baseline="30000" dirty="0"/>
              <a:t>st</a:t>
            </a:r>
            <a:r>
              <a:rPr lang="en-US" dirty="0"/>
              <a:t> line </a:t>
            </a:r>
            <a:r>
              <a:rPr lang="en-US" dirty="0" err="1"/>
              <a:t>Sprycel</a:t>
            </a:r>
            <a:r>
              <a:rPr lang="en-US" dirty="0"/>
              <a:t> mainly due to lack of response/relapse and 80% receive </a:t>
            </a:r>
            <a:r>
              <a:rPr lang="en-US" dirty="0" err="1"/>
              <a:t>Iclusig</a:t>
            </a:r>
            <a:endParaRPr lang="en-US" dirty="0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E7D710EB-53F5-9A48-BB17-287752DB46CA}"/>
              </a:ext>
            </a:extLst>
          </p:cNvPr>
          <p:cNvSpPr txBox="1">
            <a:spLocks/>
          </p:cNvSpPr>
          <p:nvPr/>
        </p:nvSpPr>
        <p:spPr>
          <a:xfrm>
            <a:off x="396377" y="1063587"/>
            <a:ext cx="11246241" cy="27699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US" sz="2000" i="1" dirty="0" err="1">
                <a:solidFill>
                  <a:schemeClr val="accent1"/>
                </a:solidFill>
              </a:rPr>
              <a:t>Sprycel</a:t>
            </a:r>
            <a:r>
              <a:rPr lang="en-US" sz="2000" i="1" dirty="0">
                <a:solidFill>
                  <a:schemeClr val="accent1"/>
                </a:solidFill>
              </a:rPr>
              <a:t> switch pattern: 1</a:t>
            </a:r>
            <a:r>
              <a:rPr lang="en-US" sz="2000" i="1" baseline="30000" dirty="0">
                <a:solidFill>
                  <a:schemeClr val="accent1"/>
                </a:solidFill>
              </a:rPr>
              <a:t>st</a:t>
            </a:r>
            <a:r>
              <a:rPr lang="en-US" sz="2000" i="1" dirty="0">
                <a:solidFill>
                  <a:schemeClr val="accent1"/>
                </a:solidFill>
              </a:rPr>
              <a:t> -&gt; 2</a:t>
            </a:r>
            <a:r>
              <a:rPr lang="en-US" sz="2000" i="1" baseline="30000" dirty="0">
                <a:solidFill>
                  <a:schemeClr val="accent1"/>
                </a:solidFill>
              </a:rPr>
              <a:t>nd</a:t>
            </a:r>
            <a:r>
              <a:rPr lang="en-US" sz="2000" i="1" dirty="0">
                <a:solidFill>
                  <a:schemeClr val="accent1"/>
                </a:solidFill>
              </a:rPr>
              <a:t> Lin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5E85D1F5-F50B-4E2C-AC26-12D2EB4CC1F0}"/>
              </a:ext>
            </a:extLst>
          </p:cNvPr>
          <p:cNvSpPr txBox="1">
            <a:spLocks/>
          </p:cNvSpPr>
          <p:nvPr/>
        </p:nvSpPr>
        <p:spPr>
          <a:xfrm>
            <a:off x="477012" y="5675082"/>
            <a:ext cx="11246241" cy="55399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% patients</a:t>
            </a:r>
          </a:p>
          <a:p>
            <a:r>
              <a:rPr lang="en-US" dirty="0"/>
              <a:t>Base: n=13 physicians</a:t>
            </a:r>
          </a:p>
          <a:p>
            <a:r>
              <a:rPr lang="en-US" dirty="0"/>
              <a:t>Q53. What % of Ph+ ALL patients who receive </a:t>
            </a:r>
            <a:r>
              <a:rPr lang="en-US" dirty="0" err="1"/>
              <a:t>Sprycel</a:t>
            </a:r>
            <a:r>
              <a:rPr lang="en-US" dirty="0"/>
              <a:t> in 1</a:t>
            </a:r>
            <a:r>
              <a:rPr lang="en-US" baseline="30000" dirty="0"/>
              <a:t>st</a:t>
            </a:r>
            <a:r>
              <a:rPr lang="en-US" dirty="0"/>
              <a:t> line pass to 2</a:t>
            </a:r>
            <a:r>
              <a:rPr lang="en-US" baseline="30000" dirty="0"/>
              <a:t>nd</a:t>
            </a:r>
            <a:r>
              <a:rPr lang="en-US" dirty="0"/>
              <a:t> line  within the year?   </a:t>
            </a:r>
          </a:p>
          <a:p>
            <a:r>
              <a:rPr lang="en-US" dirty="0"/>
              <a:t>Q54 Which are the reasons for switching  from 1</a:t>
            </a:r>
            <a:r>
              <a:rPr lang="en-US" baseline="30000" dirty="0"/>
              <a:t>st</a:t>
            </a:r>
            <a:r>
              <a:rPr lang="en-US" dirty="0"/>
              <a:t> Line </a:t>
            </a:r>
            <a:r>
              <a:rPr lang="en-US" dirty="0" err="1"/>
              <a:t>Sprycel</a:t>
            </a:r>
            <a:r>
              <a:rPr lang="en-US" dirty="0"/>
              <a:t> to 2</a:t>
            </a:r>
            <a:r>
              <a:rPr lang="en-US" baseline="30000" dirty="0"/>
              <a:t>nd</a:t>
            </a:r>
            <a:r>
              <a:rPr lang="en-US" dirty="0"/>
              <a:t>  line? The sum should be 100% of patients</a:t>
            </a:r>
          </a:p>
          <a:p>
            <a:r>
              <a:rPr lang="en-US" dirty="0"/>
              <a:t>Q55. Please consider that you have 10 Ph+ ALL patients who receive 1</a:t>
            </a:r>
            <a:r>
              <a:rPr lang="en-US" baseline="30000" dirty="0"/>
              <a:t>st</a:t>
            </a:r>
            <a:r>
              <a:rPr lang="en-US" dirty="0"/>
              <a:t> Line </a:t>
            </a:r>
            <a:r>
              <a:rPr lang="en-US" dirty="0" err="1"/>
              <a:t>Sprycel</a:t>
            </a:r>
            <a:r>
              <a:rPr lang="en-US" dirty="0"/>
              <a:t> and you decide to switch them to another therapy. How many will you switch Imatinib with each one of the following therapies?</a:t>
            </a:r>
            <a:endParaRPr lang="el-GR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45EBBEB-6113-4A4E-93FF-29DA18CEB993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0707688" y="967387"/>
            <a:ext cx="930233" cy="411163"/>
          </a:xfrm>
          <a:prstGeom prst="rect">
            <a:avLst/>
          </a:prstGeom>
        </p:spPr>
      </p:pic>
      <p:sp>
        <p:nvSpPr>
          <p:cNvPr id="26" name="Arrow: Pentagon 25">
            <a:extLst>
              <a:ext uri="{FF2B5EF4-FFF2-40B4-BE49-F238E27FC236}">
                <a16:creationId xmlns:a16="http://schemas.microsoft.com/office/drawing/2014/main" id="{D0EC7EDD-364C-42A7-A3F5-E7086026630F}"/>
              </a:ext>
            </a:extLst>
          </p:cNvPr>
          <p:cNvSpPr/>
          <p:nvPr/>
        </p:nvSpPr>
        <p:spPr>
          <a:xfrm>
            <a:off x="477012" y="2828980"/>
            <a:ext cx="1798828" cy="1102939"/>
          </a:xfrm>
          <a:prstGeom prst="homePlate">
            <a:avLst>
              <a:gd name="adj" fmla="val 2679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l">
              <a:lnSpc>
                <a:spcPct val="150000"/>
              </a:lnSpc>
            </a:pPr>
            <a:r>
              <a:rPr lang="en-US" sz="1100" dirty="0"/>
              <a:t>25% of patients pass from 1</a:t>
            </a:r>
            <a:r>
              <a:rPr lang="en-US" sz="1100" baseline="30000" dirty="0"/>
              <a:t>st</a:t>
            </a:r>
            <a:r>
              <a:rPr lang="en-US" sz="1100" dirty="0"/>
              <a:t> Line </a:t>
            </a:r>
            <a:r>
              <a:rPr lang="en-US" sz="1100" dirty="0" err="1"/>
              <a:t>Sprycel</a:t>
            </a:r>
            <a:r>
              <a:rPr lang="en-US" sz="1100" dirty="0"/>
              <a:t> to 2</a:t>
            </a:r>
            <a:r>
              <a:rPr lang="en-US" sz="1100" baseline="30000" dirty="0"/>
              <a:t>nd</a:t>
            </a:r>
            <a:r>
              <a:rPr lang="en-US" sz="1100" dirty="0"/>
              <a:t> Line within a year</a:t>
            </a:r>
            <a:endParaRPr lang="el-GR" sz="1100" dirty="0" err="1"/>
          </a:p>
        </p:txBody>
      </p:sp>
      <p:graphicFrame>
        <p:nvGraphicFramePr>
          <p:cNvPr id="87" name="Chart 86">
            <a:extLst>
              <a:ext uri="{FF2B5EF4-FFF2-40B4-BE49-F238E27FC236}">
                <a16:creationId xmlns:a16="http://schemas.microsoft.com/office/drawing/2014/main" id="{86538A07-46E3-4031-953E-18E983C50665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13832917"/>
              </p:ext>
            </p:extLst>
          </p:nvPr>
        </p:nvGraphicFramePr>
        <p:xfrm>
          <a:off x="2497138" y="1822450"/>
          <a:ext cx="2430462" cy="3614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496C19D4-ED15-40D2-95C2-B5DF5427AD15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3581400" y="4873626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6CB8E57-03B6-4B77-ABC4-CB18D8F44639}" type="datetime'''''''''''2''''''''''''4''%''''''''''''''''''''''''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4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739A255-C31B-4290-BD7D-2CDDB55072A8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546475" y="5399088"/>
            <a:ext cx="3302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24DD257-0C30-4E06-8FA5-279183BD4067}" type="datetime'''To''''''''t''''''''''''''al'''''''''''''">
              <a:rPr lang="en-US" altLang="en-US" sz="1050" b="1" smtClean="0">
                <a:solidFill>
                  <a:schemeClr val="tx1"/>
                </a:solidFill>
              </a:rPr>
              <a:pPr/>
              <a:t>Total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7E5D704-8421-4C5B-B70C-A0259243F316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3581400" y="3149601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39EE595-485A-4E94-9462-6CA27230212D}" type="datetime'''''''''''''''''7''''''''''''6''''''''''''''''''''%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6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0058433-7A77-4AC3-8571-11E4D462AEE1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900238" y="1606550"/>
            <a:ext cx="187325" cy="1397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0C66F40-9B46-4BA9-AE61-7239059B70F5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841750" y="1606550"/>
            <a:ext cx="187325" cy="1397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C065CB7-06F9-42C4-A63A-584320CEF376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2138363" y="1601788"/>
            <a:ext cx="160178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EFC2462-70E8-4494-B483-E8967D06F352}" type="datetime'L''a''''c''''''k ''''''''o''f re''''''spon''s''e/relap''''se'">
              <a:rPr lang="en-US" altLang="en-US" sz="1050" b="1" smtClean="0">
                <a:solidFill>
                  <a:schemeClr val="tx1"/>
                </a:solidFill>
              </a:rPr>
              <a:pPr/>
              <a:t>Lack of response/relapse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D216068-12B9-4754-A79A-9D598579295D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4079875" y="1601788"/>
            <a:ext cx="747713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22F60B3-BCAF-4183-AE75-B9295617113C}" type="datetime' ''''In''''''''''''to''''''''''''''lera''''n''''''''''''ce'''">
              <a:rPr lang="en-US" altLang="en-US" sz="1050" b="1" smtClean="0">
                <a:solidFill>
                  <a:schemeClr val="tx1"/>
                </a:solidFill>
              </a:rPr>
              <a:pPr/>
              <a:t> Intolerance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6" name="Arrow: Pentagon 35">
            <a:extLst>
              <a:ext uri="{FF2B5EF4-FFF2-40B4-BE49-F238E27FC236}">
                <a16:creationId xmlns:a16="http://schemas.microsoft.com/office/drawing/2014/main" id="{1526038C-DE1F-4110-867F-24478F8F8C20}"/>
              </a:ext>
            </a:extLst>
          </p:cNvPr>
          <p:cNvSpPr/>
          <p:nvPr/>
        </p:nvSpPr>
        <p:spPr>
          <a:xfrm>
            <a:off x="5196586" y="2852520"/>
            <a:ext cx="1798828" cy="1102939"/>
          </a:xfrm>
          <a:prstGeom prst="homePlate">
            <a:avLst>
              <a:gd name="adj" fmla="val 26793"/>
            </a:avLst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>
              <a:lnSpc>
                <a:spcPct val="150000"/>
              </a:lnSpc>
            </a:pPr>
            <a:r>
              <a:rPr lang="en-US" sz="1100" dirty="0"/>
              <a:t>Switch pattern</a:t>
            </a:r>
            <a:endParaRPr lang="el-GR" sz="1100" dirty="0" err="1"/>
          </a:p>
        </p:txBody>
      </p:sp>
      <p:graphicFrame>
        <p:nvGraphicFramePr>
          <p:cNvPr id="86" name="Chart 85">
            <a:extLst>
              <a:ext uri="{FF2B5EF4-FFF2-40B4-BE49-F238E27FC236}">
                <a16:creationId xmlns:a16="http://schemas.microsoft.com/office/drawing/2014/main" id="{EAFBC1AB-DD40-4CB0-B3D3-554FC5ABD4E6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741675391"/>
              </p:ext>
            </p:extLst>
          </p:nvPr>
        </p:nvGraphicFramePr>
        <p:xfrm>
          <a:off x="7100888" y="1822450"/>
          <a:ext cx="2227262" cy="3614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38" name="Rectangle 37">
            <a:extLst>
              <a:ext uri="{FF2B5EF4-FFF2-40B4-BE49-F238E27FC236}">
                <a16:creationId xmlns:a16="http://schemas.microsoft.com/office/drawing/2014/main" id="{A635DF90-C746-4925-BB13-7AE06F3C4A2E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8048625" y="5399088"/>
            <a:ext cx="3302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7B5333F-8E37-4F1E-ADB5-16DA1B819006}" type="datetime'''''''''''T''o''''''''''''t''''''''''''''a''''''l'''''''''''''">
              <a:rPr lang="en-US" altLang="en-US" sz="1050" b="1" smtClean="0">
                <a:solidFill>
                  <a:schemeClr val="tx1"/>
                </a:solidFill>
              </a:rPr>
              <a:pPr/>
              <a:t>Total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AE92924-1F60-48D3-8C6F-29E1768C4364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8083550" y="3646489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B531133-9C68-4E4B-9E38-9804DCB36BB6}" type="datetime'''8''''''''''''0''''''''''%''''''''''''''''''''''''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0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BE59CCF-0124-47BC-93A0-856747024D53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8115300" y="5159376"/>
            <a:ext cx="1968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BEFC303-8301-40AE-9D61-2427CFC6FF13}" type="datetime'''''''8''%''''''''''''''''''''''''''''''''''''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EFA284D-41A5-41E4-B37E-F49C9B7F84FD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8083550" y="2054226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5D7ADA5-A431-471E-9A51-5DB6848414AC}" type="datetime'''''''''''''''''12''''''''''%'''''''''''">
              <a:rPr lang="el-GR" altLang="en-US" sz="900" smtClean="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2%</a:t>
            </a:fld>
            <a:endParaRPr lang="el-GR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3BBCE65-B73F-4DA9-BC3B-C5D380A82360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7177088" y="1606550"/>
            <a:ext cx="187325" cy="1397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FC9381C-0045-4180-B061-4FFAF5B87F90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7916863" y="1606550"/>
            <a:ext cx="187325" cy="139700"/>
          </a:xfrm>
          <a:prstGeom prst="rect">
            <a:avLst/>
          </a:prstGeom>
          <a:solidFill>
            <a:schemeClr val="hlink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CD809A-DC91-4BD1-8FB0-8189C144EDBF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8677275" y="1606550"/>
            <a:ext cx="187325" cy="139700"/>
          </a:xfrm>
          <a:prstGeom prst="rect">
            <a:avLst/>
          </a:prstGeom>
          <a:solidFill>
            <a:srgbClr val="6F8D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0875498-5735-4C5C-8D93-525240D15091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7415212" y="1601788"/>
            <a:ext cx="40005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42D9331-C2CD-4B99-8BED-E174B17D08CD}" type="datetime'''''''G''''l''''''''''''''''''i''''''v''e''''''''''''c'''">
              <a:rPr lang="en-US" altLang="en-US" sz="1050" b="1" smtClean="0">
                <a:solidFill>
                  <a:schemeClr val="tx1"/>
                </a:solidFill>
              </a:rPr>
              <a:pPr/>
              <a:t>Glivec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C12C104-56AB-4DC6-B49C-E38D0CEF6CD8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8154988" y="1601788"/>
            <a:ext cx="42068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1207D5B-7903-4DF1-992E-681F4C9B9705}" type="datetime'I''''''c''''l''u''''''''s''''i''''''''''''g'''">
              <a:rPr lang="en-US" altLang="en-US" sz="1050" b="1" smtClean="0">
                <a:solidFill>
                  <a:schemeClr val="tx1"/>
                </a:solidFill>
              </a:rPr>
              <a:pPr/>
              <a:t>Iclusig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D27E4834-4E4B-4874-98E6-D1797984A727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8915399" y="1601788"/>
            <a:ext cx="7239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D137A47-B97B-4342-A23A-46A6038D54E4}" type="datetime'I''''''''ma''''''ti''n''''''i''''b ''G''''''''''''x'''''''''''">
              <a:rPr lang="en-US" altLang="en-US" sz="1050" b="1" smtClean="0">
                <a:solidFill>
                  <a:schemeClr val="tx1"/>
                </a:solidFill>
              </a:rPr>
              <a:pPr/>
              <a:t>Imatinib Gx</a:t>
            </a:fld>
            <a:endParaRPr lang="el-GR" sz="1050" b="1" dirty="0" err="1">
              <a:solidFill>
                <a:schemeClr val="tx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192290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4CD975D-CFDB-4FA4-A0CF-3F3FD103AE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7890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75" name="think-cell Slide" r:id="rId37" imgW="216" imgH="216" progId="TCLayout.ActiveDocument.1">
                  <p:embed/>
                </p:oleObj>
              </mc:Choice>
              <mc:Fallback>
                <p:oleObj name="think-cell Slide" r:id="rId37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4CD975D-CFDB-4FA4-A0CF-3F3FD103AE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A6B0DA0-FD11-4511-9E0A-1E681E7B206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en-US" sz="10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E90FB348-9C4B-7E44-A8A8-D7CBD32A8D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MR, </a:t>
            </a:r>
            <a:r>
              <a:rPr lang="en-US" dirty="0" err="1"/>
              <a:t>hema</a:t>
            </a:r>
            <a:r>
              <a:rPr lang="en-US" dirty="0"/>
              <a:t> response, long-term maintenance of response and cytogenic response are the top4 criteri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E7D710EB-53F5-9A48-BB17-287752DB46CA}"/>
              </a:ext>
            </a:extLst>
          </p:cNvPr>
          <p:cNvSpPr txBox="1">
            <a:spLocks/>
          </p:cNvSpPr>
          <p:nvPr/>
        </p:nvSpPr>
        <p:spPr>
          <a:xfrm>
            <a:off x="396377" y="1063587"/>
            <a:ext cx="11246241" cy="27699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US" sz="2000" i="1" dirty="0">
                <a:solidFill>
                  <a:schemeClr val="accent1"/>
                </a:solidFill>
              </a:rPr>
              <a:t>PH+ ALL - Drivers for Rx after 1st TKI failu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5E85D1F5-F50B-4E2C-AC26-12D2EB4CC1F0}"/>
              </a:ext>
            </a:extLst>
          </p:cNvPr>
          <p:cNvSpPr txBox="1">
            <a:spLocks/>
          </p:cNvSpPr>
          <p:nvPr/>
        </p:nvSpPr>
        <p:spPr>
          <a:xfrm>
            <a:off x="477012" y="5896681"/>
            <a:ext cx="11246241" cy="3323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% physicians</a:t>
            </a:r>
          </a:p>
          <a:p>
            <a:r>
              <a:rPr lang="en-US" dirty="0"/>
              <a:t>Base: n=30 physicians</a:t>
            </a:r>
          </a:p>
          <a:p>
            <a:pPr lvl="0"/>
            <a:r>
              <a:rPr lang="en-US" dirty="0"/>
              <a:t>Q64. How important is each of the following parameters to you when you have to choose a therapy after the failure of a TKI therapy for your Ph+ ALL patients. Please use a 10-point scale, </a:t>
            </a:r>
            <a:r>
              <a:rPr lang="en-US" b="1" i="1" dirty="0"/>
              <a:t>1=not important at all</a:t>
            </a:r>
            <a:r>
              <a:rPr lang="en-US" dirty="0"/>
              <a:t> and </a:t>
            </a:r>
            <a:r>
              <a:rPr lang="en-US" b="1" i="1" dirty="0"/>
              <a:t>10=extremely important</a:t>
            </a:r>
            <a:r>
              <a:rPr lang="en-US" dirty="0"/>
              <a:t>.</a:t>
            </a:r>
            <a:endParaRPr lang="el-GR" dirty="0"/>
          </a:p>
        </p:txBody>
      </p:sp>
      <p:graphicFrame>
        <p:nvGraphicFramePr>
          <p:cNvPr id="56" name="Table 55">
            <a:extLst>
              <a:ext uri="{FF2B5EF4-FFF2-40B4-BE49-F238E27FC236}">
                <a16:creationId xmlns:a16="http://schemas.microsoft.com/office/drawing/2014/main" id="{CF4BF00F-2A68-466E-BC5A-AEA29D430E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2432426"/>
              </p:ext>
            </p:extLst>
          </p:nvPr>
        </p:nvGraphicFramePr>
        <p:xfrm>
          <a:off x="10171368" y="1625600"/>
          <a:ext cx="916872" cy="4186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6872">
                  <a:extLst>
                    <a:ext uri="{9D8B030D-6E8A-4147-A177-3AD203B41FA5}">
                      <a16:colId xmlns:a16="http://schemas.microsoft.com/office/drawing/2014/main" val="495685484"/>
                    </a:ext>
                  </a:extLst>
                </a:gridCol>
              </a:tblGrid>
              <a:tr h="234947"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0521131"/>
                  </a:ext>
                </a:extLst>
              </a:tr>
              <a:tr h="234947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7361820"/>
                  </a:ext>
                </a:extLst>
              </a:tr>
              <a:tr h="369892">
                <a:tc>
                  <a:txBody>
                    <a:bodyPr/>
                    <a:lstStyle/>
                    <a:p>
                      <a:pPr algn="ctr" fontAlgn="b"/>
                      <a:r>
                        <a:rPr lang="el-G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344727"/>
                  </a:ext>
                </a:extLst>
              </a:tr>
              <a:tr h="369892">
                <a:tc>
                  <a:txBody>
                    <a:bodyPr/>
                    <a:lstStyle/>
                    <a:p>
                      <a:pPr algn="ctr" fontAlgn="b"/>
                      <a:r>
                        <a:rPr lang="el-G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225852"/>
                  </a:ext>
                </a:extLst>
              </a:tr>
              <a:tr h="369892">
                <a:tc>
                  <a:txBody>
                    <a:bodyPr/>
                    <a:lstStyle/>
                    <a:p>
                      <a:pPr algn="ctr" fontAlgn="b"/>
                      <a:r>
                        <a:rPr lang="el-G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7762518"/>
                  </a:ext>
                </a:extLst>
              </a:tr>
              <a:tr h="369892">
                <a:tc>
                  <a:txBody>
                    <a:bodyPr/>
                    <a:lstStyle/>
                    <a:p>
                      <a:pPr algn="ctr" fontAlgn="b"/>
                      <a:r>
                        <a:rPr lang="el-G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3446741"/>
                  </a:ext>
                </a:extLst>
              </a:tr>
              <a:tr h="369892">
                <a:tc>
                  <a:txBody>
                    <a:bodyPr/>
                    <a:lstStyle/>
                    <a:p>
                      <a:pPr algn="ctr" fontAlgn="b"/>
                      <a:r>
                        <a:rPr lang="el-G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7%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5150054"/>
                  </a:ext>
                </a:extLst>
              </a:tr>
              <a:tr h="369892">
                <a:tc>
                  <a:txBody>
                    <a:bodyPr/>
                    <a:lstStyle/>
                    <a:p>
                      <a:pPr algn="ctr" fontAlgn="b"/>
                      <a:r>
                        <a:rPr lang="el-G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7%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5965319"/>
                  </a:ext>
                </a:extLst>
              </a:tr>
              <a:tr h="369892">
                <a:tc>
                  <a:txBody>
                    <a:bodyPr/>
                    <a:lstStyle/>
                    <a:p>
                      <a:pPr algn="ctr" fontAlgn="b"/>
                      <a:r>
                        <a:rPr lang="el-G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3%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4021232"/>
                  </a:ext>
                </a:extLst>
              </a:tr>
              <a:tr h="369892">
                <a:tc>
                  <a:txBody>
                    <a:bodyPr/>
                    <a:lstStyle/>
                    <a:p>
                      <a:pPr algn="ctr" fontAlgn="b"/>
                      <a:r>
                        <a:rPr lang="el-G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3%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3053154"/>
                  </a:ext>
                </a:extLst>
              </a:tr>
              <a:tr h="369892">
                <a:tc>
                  <a:txBody>
                    <a:bodyPr/>
                    <a:lstStyle/>
                    <a:p>
                      <a:pPr algn="ctr" fontAlgn="b"/>
                      <a:r>
                        <a:rPr lang="el-G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3%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5924786"/>
                  </a:ext>
                </a:extLst>
              </a:tr>
              <a:tr h="369892">
                <a:tc>
                  <a:txBody>
                    <a:bodyPr/>
                    <a:lstStyle/>
                    <a:p>
                      <a:pPr algn="ctr" fontAlgn="b"/>
                      <a:r>
                        <a:rPr lang="el-G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%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2724483"/>
                  </a:ext>
                </a:extLst>
              </a:tr>
            </a:tbl>
          </a:graphicData>
        </a:graphic>
      </p:graphicFrame>
      <p:sp>
        <p:nvSpPr>
          <p:cNvPr id="57" name="TextBox 56">
            <a:extLst>
              <a:ext uri="{FF2B5EF4-FFF2-40B4-BE49-F238E27FC236}">
                <a16:creationId xmlns:a16="http://schemas.microsoft.com/office/drawing/2014/main" id="{77CE686F-18F9-4286-9EB3-26A1DFE270A9}"/>
              </a:ext>
            </a:extLst>
          </p:cNvPr>
          <p:cNvSpPr txBox="1"/>
          <p:nvPr/>
        </p:nvSpPr>
        <p:spPr>
          <a:xfrm>
            <a:off x="10131426" y="1664935"/>
            <a:ext cx="916876" cy="1651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sz="1200" dirty="0"/>
              <a:t>% Top 3:</a:t>
            </a:r>
            <a:endParaRPr lang="el-GR" sz="1200" dirty="0"/>
          </a:p>
        </p:txBody>
      </p:sp>
      <p:graphicFrame>
        <p:nvGraphicFramePr>
          <p:cNvPr id="335" name="Chart 334">
            <a:extLst>
              <a:ext uri="{FF2B5EF4-FFF2-40B4-BE49-F238E27FC236}">
                <a16:creationId xmlns:a16="http://schemas.microsoft.com/office/drawing/2014/main" id="{68390CFC-F02A-4437-AAC0-9D60D10D0165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73977812"/>
              </p:ext>
            </p:extLst>
          </p:nvPr>
        </p:nvGraphicFramePr>
        <p:xfrm>
          <a:off x="3168650" y="1985963"/>
          <a:ext cx="6586538" cy="3968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F355A2AD-AE52-4B45-B2F3-E5D7CD6AFADC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V="1">
            <a:off x="4749800" y="3098800"/>
            <a:ext cx="0" cy="412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>
            <a:extLst>
              <a:ext uri="{FF2B5EF4-FFF2-40B4-BE49-F238E27FC236}">
                <a16:creationId xmlns:a16="http://schemas.microsoft.com/office/drawing/2014/main" id="{9421AFED-5FB1-41C0-B3DA-B31BD6951401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20725" y="4084637"/>
            <a:ext cx="24447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1F1E573-4FE1-48F7-95EB-96C4077388FC}" type="datetime'''Compl''''ete Cy''t''''o''ge''neti''c ''Response ''(''CCyR)'">
              <a:rPr lang="en-US" altLang="en-US" sz="1000" b="1" smtClean="0">
                <a:solidFill>
                  <a:schemeClr val="tx1"/>
                </a:solidFill>
              </a:rPr>
              <a:pPr/>
              <a:t>Complete Cytogenetic Response (CCyR)</a:t>
            </a:fld>
            <a:endParaRPr lang="el-GR" sz="10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B85252E-8597-40E9-BED9-24416EA4B0DF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136650" y="2182812"/>
            <a:ext cx="20288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9AE307D-437E-4130-B30D-8298C00E92AB}" type="datetime'Ma''jo''''r ''Molecul''a''r'' R''e''sp''''o''ns''e ''(MM''R)'">
              <a:rPr lang="en-US" altLang="en-US" sz="1000" b="1" smtClean="0">
                <a:solidFill>
                  <a:schemeClr val="tx1"/>
                </a:solidFill>
              </a:rPr>
              <a:pPr/>
              <a:t>Major Molecular Response (MMR)</a:t>
            </a:fld>
            <a:endParaRPr lang="el-GR" sz="10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0FED0F16-11E3-4A53-A1F0-94C4046610BD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717675" y="2486025"/>
            <a:ext cx="1447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AB8254B-68AF-435A-9D64-1A24C358DFF2}" type="datetime'Speed of ach''ie''''''ving &#10;''''hematological ''respo''ns''e'">
              <a:rPr lang="en-US" altLang="en-US" sz="1000" b="1" smtClean="0">
                <a:solidFill>
                  <a:schemeClr val="tx1"/>
                </a:solidFill>
              </a:rPr>
              <a:pPr/>
              <a:t>Speed of achieving 
hematological response</a:t>
            </a:fld>
            <a:endParaRPr lang="el-GR" sz="10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1DFCB1EF-F7B7-49B7-B010-0AFEC4118B3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697038" y="4464049"/>
            <a:ext cx="14684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8EFAACF-A8C9-41F4-A85F-BD8E5E70D3A8}" type="datetime'''''Saf''''e''t''y'' / t''''o''lera''n''ce p''rofi''''le'''">
              <a:rPr lang="en-US" altLang="en-US" sz="1000" b="1" smtClean="0">
                <a:solidFill>
                  <a:schemeClr val="tx1"/>
                </a:solidFill>
              </a:rPr>
              <a:pPr/>
              <a:t>Safety / tolerance profile</a:t>
            </a:fld>
            <a:endParaRPr lang="el-GR" sz="10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61943515-7A2F-4CC6-A56E-7F0A2AB2F996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1538288" y="2867025"/>
            <a:ext cx="1627188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345E696-4D0B-4B4D-9045-1B0DF9E16029}" type="datetime'Long''-term maint''enance of &#10;the ''molec''ular r''e''sponse'">
              <a:rPr lang="en-US" altLang="en-US" sz="1000" b="1" smtClean="0">
                <a:solidFill>
                  <a:schemeClr val="tx1"/>
                </a:solidFill>
              </a:rPr>
              <a:pPr/>
              <a:t>Long-term maintenance of 
the molecular response</a:t>
            </a:fld>
            <a:endParaRPr lang="el-GR" sz="10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6D07E208-6A57-45F2-9BC4-B860ED62FF62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1538288" y="3246438"/>
            <a:ext cx="1627188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A6B59EA-B95C-4290-A39A-00F8B1B0D316}" type="datetime'Long-t''erm'' maintenance of &#10;the cy''togenetic respon''''se'">
              <a:rPr lang="en-US" altLang="en-US" sz="1000" b="1" smtClean="0">
                <a:solidFill>
                  <a:schemeClr val="tx1"/>
                </a:solidFill>
              </a:rPr>
              <a:pPr/>
              <a:t>Long-term maintenance of 
the cytogenetic response</a:t>
            </a:fld>
            <a:endParaRPr lang="el-GR" sz="10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91185B9A-EF0B-47D6-9F18-0470CDC699B0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650875" y="3703637"/>
            <a:ext cx="25146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93A87C3-D735-47AB-A263-EFEAB3D28539}" type="datetime'Com''ple''te'' H''ema''tolo''gi''cal'' Resp''onse (CHR'''')'">
              <a:rPr lang="en-US" altLang="en-US" sz="1000" b="1" smtClean="0">
                <a:solidFill>
                  <a:schemeClr val="tx1"/>
                </a:solidFill>
              </a:rPr>
              <a:pPr/>
              <a:t>Complete Hematological Response (CHR)</a:t>
            </a:fld>
            <a:endParaRPr lang="el-GR" sz="10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13B7F720-D83C-423D-A4EB-0E8F5942919A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1843088" y="4845049"/>
            <a:ext cx="13223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952BE4A-4397-4D00-8C03-1CBC2869CAE4}" type="datetime'''Eas''e o''f'''''' ad''''''''''''m''inst''r''a''t''''io''n'">
              <a:rPr lang="en-US" altLang="en-US" sz="1000" b="1" smtClean="0">
                <a:solidFill>
                  <a:schemeClr val="tx1"/>
                </a:solidFill>
              </a:rPr>
              <a:pPr/>
              <a:t>Ease of adminstration</a:t>
            </a:fld>
            <a:endParaRPr lang="el-GR" sz="10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668F0B85-C0ED-40D6-8B03-58706292C66B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2114550" y="5224462"/>
            <a:ext cx="10509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13E7C39-182A-453F-8802-E6EE02FD415E}" type="datetime'''''Cost'''' ''of'''''''' tre''at''''m''''''''''''ent'''''''">
              <a:rPr lang="en-US" altLang="en-US" sz="1000" b="1" smtClean="0">
                <a:solidFill>
                  <a:schemeClr val="tx1"/>
                </a:solidFill>
              </a:rPr>
              <a:pPr/>
              <a:t>Cost of treatment</a:t>
            </a:fld>
            <a:endParaRPr lang="el-GR" sz="10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AAA4B537-5D94-4617-B672-7635B351210B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677988" y="5605462"/>
            <a:ext cx="14874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7DD60E8-6F75-49E7-8359-4CA3A4AC22F3}" type="datetime'Re''''p''''u''''tat''i''on ''o''f'' ''''''P''ha''rma''''C''o'">
              <a:rPr lang="en-US" altLang="en-US" sz="1000" b="1" smtClean="0">
                <a:solidFill>
                  <a:schemeClr val="tx1"/>
                </a:solidFill>
              </a:rPr>
              <a:pPr/>
              <a:t>Reputation of PharmaCo</a:t>
            </a:fld>
            <a:endParaRPr lang="el-GR" sz="10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5B1DCC4A-9075-4684-A92C-35EB037BC626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5461000" y="1889125"/>
            <a:ext cx="160338" cy="120650"/>
          </a:xfrm>
          <a:prstGeom prst="rect">
            <a:avLst/>
          </a:prstGeom>
          <a:solidFill>
            <a:srgbClr val="FEA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D9BF6430-21AB-4572-B187-82E4F62E8C4B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5084763" y="1889125"/>
            <a:ext cx="160338" cy="120650"/>
          </a:xfrm>
          <a:prstGeom prst="rect">
            <a:avLst/>
          </a:prstGeom>
          <a:solidFill>
            <a:srgbClr val="CBB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5603C84-B66A-44C2-8BE1-B4CA7BA396F3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3632200" y="1889125"/>
            <a:ext cx="160338" cy="120650"/>
          </a:xfrm>
          <a:prstGeom prst="rect">
            <a:avLst/>
          </a:prstGeom>
          <a:solidFill>
            <a:srgbClr val="C30C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24768D16-CCA3-4C81-BB10-86C9E52DA323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5837238" y="1889125"/>
            <a:ext cx="160338" cy="1206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9584C4D2-37B2-42D3-B2F8-F39A9AEF1522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6213475" y="1889125"/>
            <a:ext cx="160338" cy="120650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2647C457-02C6-44CD-92DB-2A64AF9FAC35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6589713" y="1889125"/>
            <a:ext cx="160338" cy="1206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AFED42C-D586-4675-918F-5101CD221081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6965950" y="1889125"/>
            <a:ext cx="160338" cy="1206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39A475AC-CF7F-40FE-9C7D-5DBC1128D136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7342188" y="1889125"/>
            <a:ext cx="160338" cy="120650"/>
          </a:xfrm>
          <a:prstGeom prst="rect">
            <a:avLst/>
          </a:prstGeom>
          <a:solidFill>
            <a:srgbClr val="0077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B38F9321-36F1-45EC-B9EF-E8B2F495AE6F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7718425" y="1889125"/>
            <a:ext cx="160338" cy="120650"/>
          </a:xfrm>
          <a:prstGeom prst="rect">
            <a:avLst/>
          </a:prstGeom>
          <a:solidFill>
            <a:srgbClr val="197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01530B11-4577-4D2F-AC7A-A335CC56DDD5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8094663" y="1889125"/>
            <a:ext cx="160338" cy="1206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B8182EC0-FEC0-42D2-8405-EE0E9F6AF87D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3843338" y="1885950"/>
            <a:ext cx="11398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158A477-1724-48FE-8812-A6B640AFE389}" type="datetime'1''= I'' ''do ''n''''''o''''t a''g''''re''e'' ''at'' a''ll'''">
              <a:rPr lang="en-US" altLang="en-US" sz="900" smtClean="0">
                <a:solidFill>
                  <a:schemeClr val="tx1"/>
                </a:solidFill>
              </a:rPr>
              <a:pPr/>
              <a:t>1= I do not agree at all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20D18340-D95B-4597-A0DB-EC65597680B6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6048375" y="1885950"/>
            <a:ext cx="63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38F9D56-77B7-49C1-8240-C3B55AF8EAB1}" type="datetime'''''''''''''''4'''''''">
              <a:rPr lang="el-GR" altLang="en-US" sz="900" smtClean="0">
                <a:solidFill>
                  <a:schemeClr val="tx1"/>
                </a:solidFill>
              </a:rPr>
              <a:pPr/>
              <a:t>4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EDB9520F-2A68-44C9-9DE4-A2A541DCE531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6800850" y="1885950"/>
            <a:ext cx="63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DE7E165-C2D4-478D-BC8B-20640BC107BF}" type="datetime'''''''''''''''''6'''''''''''''''''''''''''''''''''">
              <a:rPr lang="el-GR" altLang="en-US" sz="900" smtClean="0">
                <a:solidFill>
                  <a:schemeClr val="tx1"/>
                </a:solidFill>
              </a:rPr>
              <a:pPr/>
              <a:t>6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3314EE7A-0AE1-4AE9-AA41-60EEDADE9B9F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5295900" y="1885950"/>
            <a:ext cx="63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75F7217-3B00-4585-A812-3FB3887328A6}" type="datetime'''''''''''''''''''''''''2'''''''''''''''''">
              <a:rPr lang="el-GR" altLang="en-US" sz="900" smtClean="0">
                <a:solidFill>
                  <a:schemeClr val="tx1"/>
                </a:solidFill>
              </a:rPr>
              <a:pPr/>
              <a:t>2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F0E77B3D-FFD9-4723-BFD8-90CDF5FDA737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5672138" y="1885950"/>
            <a:ext cx="63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105EF04-FD61-4C48-B78B-218BF01DDF83}" type="datetime'''''''''''''''''''3'''''">
              <a:rPr lang="el-GR" altLang="en-US" sz="900" smtClean="0">
                <a:solidFill>
                  <a:schemeClr val="tx1"/>
                </a:solidFill>
              </a:rPr>
              <a:pPr/>
              <a:t>3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823F3873-321B-4910-AA99-A7562ABE0E75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8305800" y="1885950"/>
            <a:ext cx="8794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0E1AE52-72B4-455E-B506-EF13C28298AF}" type="datetime'10''=''I'''' ''tot''a''ll''''''''y'' a''gre''e'''''''''">
              <a:rPr lang="en-US" altLang="en-US" sz="900" smtClean="0">
                <a:solidFill>
                  <a:schemeClr val="tx1"/>
                </a:solidFill>
              </a:rPr>
              <a:pPr/>
              <a:t>10=I totally agree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D6D6BEA6-9C81-4A5A-BDC0-0E45CB691D37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6424613" y="1885950"/>
            <a:ext cx="63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BFB7F3F-0FE4-4595-BE26-766CFD85397B}" type="datetime'''''''''''''''''''''''''''''''''''5'">
              <a:rPr lang="el-GR" altLang="en-US" sz="900" smtClean="0">
                <a:solidFill>
                  <a:schemeClr val="tx1"/>
                </a:solidFill>
              </a:rPr>
              <a:pPr/>
              <a:t>5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AFD75E65-2C1B-47CD-BDC4-5EC4F4ED5F5B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7177088" y="1885950"/>
            <a:ext cx="63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5020BF2-EB2B-47E6-B2D1-6D122F84E229}" type="datetime'''''''''''7'''''''''''''''''''''''''''''''''''''''''''''''">
              <a:rPr lang="el-GR" altLang="en-US" sz="900" smtClean="0">
                <a:solidFill>
                  <a:schemeClr val="tx1"/>
                </a:solidFill>
              </a:rPr>
              <a:pPr/>
              <a:t>7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9AA574A1-9B21-435A-BE7F-12C957C647DE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7553325" y="1885950"/>
            <a:ext cx="63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C10FB4E-C6E9-4A63-B885-1D786EC67380}" type="datetime'8'''''''''''''''''''''''''''''''''''''''''''">
              <a:rPr lang="el-GR" altLang="en-US" sz="900" smtClean="0">
                <a:solidFill>
                  <a:schemeClr val="tx1"/>
                </a:solidFill>
              </a:rPr>
              <a:pPr/>
              <a:t>8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30465E93-3D63-4D96-AB21-42F5AF2D56A7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7929563" y="1885950"/>
            <a:ext cx="63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87E1B2C-7D02-4FBC-BD7D-D4262C006031}" type="datetime'''''''''''''''''''''''''''''''9'''''">
              <a:rPr lang="el-GR" altLang="en-US" sz="900" smtClean="0">
                <a:solidFill>
                  <a:schemeClr val="tx1"/>
                </a:solidFill>
              </a:rPr>
              <a:pPr/>
              <a:t>9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368949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F228CC8-1AAD-41C1-B906-D61BB1EF07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3875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0" name="think-cell Slide" r:id="rId33" imgW="216" imgH="216" progId="TCLayout.ActiveDocument.1">
                  <p:embed/>
                </p:oleObj>
              </mc:Choice>
              <mc:Fallback>
                <p:oleObj name="think-cell Slide" r:id="rId33" imgW="216" imgH="2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F228CC8-1AAD-41C1-B906-D61BB1EF07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F12ECFD-C059-4223-8FFC-F0499392460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79424" y="238126"/>
            <a:ext cx="11243830" cy="783972"/>
          </a:xfrm>
        </p:spPr>
        <p:txBody>
          <a:bodyPr/>
          <a:lstStyle/>
          <a:p>
            <a:r>
              <a:rPr lang="en-US" dirty="0"/>
              <a:t>34% of </a:t>
            </a:r>
            <a:r>
              <a:rPr lang="en-US" dirty="0" err="1"/>
              <a:t>Hemas</a:t>
            </a:r>
            <a:r>
              <a:rPr lang="en-US" dirty="0"/>
              <a:t> Rx </a:t>
            </a:r>
            <a:r>
              <a:rPr lang="en-US" dirty="0" err="1"/>
              <a:t>Iclusig</a:t>
            </a:r>
            <a:r>
              <a:rPr lang="en-US" dirty="0"/>
              <a:t> for 24m (avg </a:t>
            </a:r>
            <a:r>
              <a:rPr lang="en-US" dirty="0" err="1"/>
              <a:t>Iclusig</a:t>
            </a:r>
            <a:r>
              <a:rPr lang="en-US" dirty="0"/>
              <a:t> duration: 23,4m) in 2L, 29% Rx </a:t>
            </a:r>
            <a:r>
              <a:rPr lang="en-US" dirty="0" err="1"/>
              <a:t>Iclusig</a:t>
            </a:r>
            <a:r>
              <a:rPr lang="en-US" dirty="0"/>
              <a:t> for 24m (avg </a:t>
            </a:r>
            <a:r>
              <a:rPr lang="en-US" dirty="0" err="1"/>
              <a:t>Iclusig</a:t>
            </a:r>
            <a:r>
              <a:rPr lang="en-US" dirty="0"/>
              <a:t> duration: 20.8m) in 3L</a:t>
            </a:r>
            <a:endParaRPr lang="el-GR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2AF165-9362-4634-8B22-5C0D2B51884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7012" y="5896681"/>
            <a:ext cx="11246241" cy="332399"/>
          </a:xfrm>
        </p:spPr>
        <p:txBody>
          <a:bodyPr/>
          <a:lstStyle/>
          <a:p>
            <a:r>
              <a:rPr lang="en-US" dirty="0"/>
              <a:t>% physicians</a:t>
            </a:r>
          </a:p>
          <a:p>
            <a:r>
              <a:rPr lang="en-US" dirty="0"/>
              <a:t>Base: n=40 physicians</a:t>
            </a:r>
          </a:p>
          <a:p>
            <a:r>
              <a:rPr lang="en-US" dirty="0"/>
              <a:t>Q70. What is the median duration of treatment with </a:t>
            </a:r>
            <a:r>
              <a:rPr lang="en-US" dirty="0" err="1"/>
              <a:t>Iclusig</a:t>
            </a:r>
            <a:r>
              <a:rPr lang="en-US" dirty="0"/>
              <a:t> (Ponatinib) among your CML patients receiving it in 2nd line of treatment? 71. What is the median duration of treatment with </a:t>
            </a:r>
            <a:r>
              <a:rPr lang="en-US" dirty="0" err="1"/>
              <a:t>Iclusig</a:t>
            </a:r>
            <a:r>
              <a:rPr lang="en-US" dirty="0"/>
              <a:t> (Ponatinib) among your CML patients receiving it as a 3rd line of treatment?</a:t>
            </a:r>
            <a:endParaRPr lang="el-GR" dirty="0"/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593F9E40-5175-4FF4-A0F1-D5874DC67DC0}"/>
              </a:ext>
            </a:extLst>
          </p:cNvPr>
          <p:cNvSpPr txBox="1">
            <a:spLocks/>
          </p:cNvSpPr>
          <p:nvPr/>
        </p:nvSpPr>
        <p:spPr>
          <a:xfrm>
            <a:off x="396377" y="1063587"/>
            <a:ext cx="11246241" cy="27699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fontAlgn="auto"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US" sz="2000" i="1" dirty="0">
                <a:solidFill>
                  <a:schemeClr val="accent1"/>
                </a:solidFill>
              </a:rPr>
              <a:t>Duration of </a:t>
            </a:r>
            <a:r>
              <a:rPr lang="en-US" sz="2000" i="1" dirty="0" err="1">
                <a:solidFill>
                  <a:schemeClr val="accent1"/>
                </a:solidFill>
              </a:rPr>
              <a:t>Iclusig</a:t>
            </a:r>
            <a:r>
              <a:rPr lang="en-US" sz="2000" i="1" dirty="0">
                <a:solidFill>
                  <a:schemeClr val="accent1"/>
                </a:solidFill>
              </a:rPr>
              <a:t> in 2L and 3L CML</a:t>
            </a:r>
          </a:p>
        </p:txBody>
      </p:sp>
      <p:graphicFrame>
        <p:nvGraphicFramePr>
          <p:cNvPr id="76" name="Chart 75">
            <a:extLst>
              <a:ext uri="{FF2B5EF4-FFF2-40B4-BE49-F238E27FC236}">
                <a16:creationId xmlns:a16="http://schemas.microsoft.com/office/drawing/2014/main" id="{3552C815-15B4-4798-89D1-543265BB986D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89839440"/>
              </p:ext>
            </p:extLst>
          </p:nvPr>
        </p:nvGraphicFramePr>
        <p:xfrm>
          <a:off x="396875" y="2563813"/>
          <a:ext cx="5121275" cy="2841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56BDD05D-442F-4096-820E-0957E074019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684338" y="5365750"/>
            <a:ext cx="258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D9D61C5-CB47-4BC9-AFE2-5997F2C406D2}" type="datetime'1''''''0''''''''''m'''''''''''''''''">
              <a:rPr lang="en-US" altLang="en-US" sz="1000" smtClean="0">
                <a:solidFill>
                  <a:schemeClr val="tx1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0m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A1C5A44C-6947-4586-987B-7421074444E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76263" y="5365750"/>
            <a:ext cx="1889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64D68C7-4233-4ABF-96B2-73E74B016ECB}" type="datetime'''''''''''3''m'''">
              <a:rPr lang="en-US" altLang="en-US" sz="1000" smtClean="0">
                <a:solidFill>
                  <a:schemeClr val="tx1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3m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9E17FC2A-7DD1-4FA5-916D-B4B8F68B576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447925" y="5365750"/>
            <a:ext cx="258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31CA2D6-9A3D-4207-B262-255B7D0FFEF2}" type="datetime'1''5''''''''''''''''''''''''''''''''''''''''''''''''''''''m'">
              <a:rPr lang="en-US" altLang="en-US" sz="1000" smtClean="0">
                <a:solidFill>
                  <a:schemeClr val="tx1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5m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52DA21C-7A9E-4495-8617-1460020A7E6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57263" y="5365750"/>
            <a:ext cx="1889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CBF1B2D-EE2C-4AC8-AACE-C56F0093A836}" type="datetime'''5m'''''''''''''''''''''''''''''''''''''''''''''''''">
              <a:rPr lang="en-US" altLang="en-US" sz="1000" smtClean="0">
                <a:solidFill>
                  <a:schemeClr val="tx1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5m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D982D158-B1F2-4483-9645-C1E144B0DE8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338263" y="5365750"/>
            <a:ext cx="1889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7030F21-7D36-4A60-9930-B0932378F579}" type="datetime'''''''''''''''''''''''''''''''''''''''''''''''''''''6''m'''''">
              <a:rPr lang="en-US" altLang="en-US" sz="1000" smtClean="0">
                <a:solidFill>
                  <a:schemeClr val="tx1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6m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C0DB38A-FFC5-419A-893D-AEE7123B70D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066925" y="5365750"/>
            <a:ext cx="258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A3D5DE3-5F56-4F0F-8A5F-03398D243C98}" type="datetime'''''''''1''''''2''''''m'''''''''''''''">
              <a:rPr lang="en-US" altLang="en-US" sz="1000" smtClean="0">
                <a:solidFill>
                  <a:schemeClr val="tx1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2m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60C7D05-7995-4C97-A3DD-0746EBC4E42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209925" y="5365750"/>
            <a:ext cx="258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C3C7F19B-BF64-408A-B727-DF547D0897BE}" type="datetime'''''2''''4''''''''m'''''''''''''''''''''''''''''''''''">
              <a:rPr lang="en-US" altLang="en-US" sz="1000" smtClean="0">
                <a:solidFill>
                  <a:schemeClr val="tx1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4m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E709871B-6B0E-411F-87F4-916489A14DC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828925" y="5365750"/>
            <a:ext cx="258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C4F9BBE5-F5DB-467F-BC6D-7C7A5448F1BE}" type="datetime'''''''''''''''''''''''''''''''''''''''''''''18''''''''''''''m'">
              <a:rPr lang="en-US" altLang="en-US" sz="1000" smtClean="0">
                <a:solidFill>
                  <a:schemeClr val="tx1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8m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15464937-863E-44C9-B113-B020776AB44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116513" y="5365750"/>
            <a:ext cx="258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4697316-97F1-41F6-9B18-68EDD1C7652C}" type="datetime'''''''''''''''''''''6''''''''''''0''''''''''''m'''''">
              <a:rPr lang="en-US" altLang="en-US" sz="1000" smtClean="0">
                <a:solidFill>
                  <a:schemeClr val="tx1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60m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882B489F-9F9A-43D2-A0B5-9CDCA50446E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590925" y="5365750"/>
            <a:ext cx="258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F2F7CC8-368D-4305-A9B0-3F46810F5B52}" type="datetime'3''''''''''''''''''''0''''''m'''''''''''''''''''''''">
              <a:rPr lang="en-US" altLang="en-US" sz="1000" smtClean="0">
                <a:solidFill>
                  <a:schemeClr val="tx1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30m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D87E2ACA-5268-43F8-8750-C12D8455A7B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971925" y="5365750"/>
            <a:ext cx="258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06717F6-68E8-47B4-9AC2-39281BBA2020}" type="datetime'3''''''''''''''''''''''''''''''''''6m'''''''''''''''''''''''''">
              <a:rPr lang="en-US" altLang="en-US" sz="1000" smtClean="0">
                <a:solidFill>
                  <a:schemeClr val="tx1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36m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7B69149E-DD30-4C17-8403-57F79F53C443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354513" y="5365750"/>
            <a:ext cx="258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857D656-D691-4F76-8F49-B7091070EE3B}" type="datetime'''''''''4''''''''''''''''''''''0''''m'''''''''''''''">
              <a:rPr lang="en-US" altLang="en-US" sz="1000" smtClean="0">
                <a:solidFill>
                  <a:schemeClr val="tx1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40m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BDE3335-98AD-4F1D-8D9C-33A1543E141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735513" y="5365750"/>
            <a:ext cx="258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CAF507-E6AC-4B5C-B196-5DC4EDBE7EAB}" type="datetime'''''''''''''''''''4''''''''''8''m'''''''''''''''''''''">
              <a:rPr lang="en-US" altLang="en-US" sz="1000" smtClean="0">
                <a:solidFill>
                  <a:schemeClr val="tx1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48m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3FB2178-8EC3-4D87-BB98-9EEDDD54C1F2}"/>
              </a:ext>
            </a:extLst>
          </p:cNvPr>
          <p:cNvCxnSpPr>
            <a:cxnSpLocks/>
          </p:cNvCxnSpPr>
          <p:nvPr/>
        </p:nvCxnSpPr>
        <p:spPr>
          <a:xfrm flipH="1">
            <a:off x="5734050" y="1835150"/>
            <a:ext cx="0" cy="3868964"/>
          </a:xfrm>
          <a:prstGeom prst="line">
            <a:avLst/>
          </a:prstGeom>
          <a:ln w="9525">
            <a:solidFill>
              <a:srgbClr val="AABEC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7D4B236-B4F2-4E42-886B-78202C85D2D4}"/>
              </a:ext>
            </a:extLst>
          </p:cNvPr>
          <p:cNvSpPr/>
          <p:nvPr/>
        </p:nvSpPr>
        <p:spPr>
          <a:xfrm>
            <a:off x="396377" y="1784678"/>
            <a:ext cx="4795378" cy="51144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US" sz="1200" b="1" dirty="0" err="1">
                <a:solidFill>
                  <a:schemeClr val="bg1"/>
                </a:solidFill>
              </a:rPr>
              <a:t>Iclusig</a:t>
            </a:r>
            <a:r>
              <a:rPr lang="en-US" sz="1200" b="1" dirty="0">
                <a:solidFill>
                  <a:schemeClr val="bg1"/>
                </a:solidFill>
              </a:rPr>
              <a:t> is administered for on average 23.4 months in 2</a:t>
            </a:r>
            <a:r>
              <a:rPr lang="en-US" sz="1200" b="1" baseline="30000" dirty="0">
                <a:solidFill>
                  <a:schemeClr val="bg1"/>
                </a:solidFill>
              </a:rPr>
              <a:t>nd</a:t>
            </a:r>
            <a:r>
              <a:rPr lang="en-US" sz="1200" b="1" dirty="0">
                <a:solidFill>
                  <a:schemeClr val="bg1"/>
                </a:solidFill>
              </a:rPr>
              <a:t> Line</a:t>
            </a:r>
          </a:p>
        </p:txBody>
      </p:sp>
      <p:graphicFrame>
        <p:nvGraphicFramePr>
          <p:cNvPr id="77" name="Chart 76">
            <a:extLst>
              <a:ext uri="{FF2B5EF4-FFF2-40B4-BE49-F238E27FC236}">
                <a16:creationId xmlns:a16="http://schemas.microsoft.com/office/drawing/2014/main" id="{7E407691-518B-455D-983A-0483E15EB148}"/>
              </a:ext>
            </a:extLst>
          </p:cNvPr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777433439"/>
              </p:ext>
            </p:extLst>
          </p:nvPr>
        </p:nvGraphicFramePr>
        <p:xfrm>
          <a:off x="6164263" y="2563813"/>
          <a:ext cx="5121275" cy="2841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81C552E9-B847-42DA-9D20-F96E843E5D2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486650" y="5365750"/>
            <a:ext cx="1889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7343B0A-6510-46AD-8CF1-2D2EFCE0E8C9}" type="datetime'''''''''8''''''''''''''m'''''''">
              <a:rPr lang="en-US" altLang="en-US" sz="1000" smtClean="0">
                <a:solidFill>
                  <a:schemeClr val="tx1"/>
                </a:solidFill>
              </a:rPr>
              <a:pPr/>
              <a:t>8m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D29A1998-F992-45E9-ABFE-4DD4E501E30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215313" y="5365750"/>
            <a:ext cx="258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C799D66-1F7F-4755-B17B-26F7284CBCCF}" type="datetime'''''''''''''''''''''1''2''m'''''''''''''''''''''''">
              <a:rPr lang="en-US" altLang="en-US" sz="1000" smtClean="0">
                <a:solidFill>
                  <a:schemeClr val="tx1"/>
                </a:solidFill>
              </a:rPr>
              <a:pPr/>
              <a:t>12m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2B7123E3-9F6F-45E8-B4EA-CECB13BBEDF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343650" y="5365750"/>
            <a:ext cx="1889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D6AA567-DC7B-405A-9C3E-BB91655CE903}" type="datetime'''''3m'''''''''''''''''''''''''''''''''''''''''">
              <a:rPr lang="en-US" altLang="en-US" sz="1000" smtClean="0">
                <a:solidFill>
                  <a:schemeClr val="tx1"/>
                </a:solidFill>
              </a:rPr>
              <a:pPr/>
              <a:t>3m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DECFFB9-A039-4722-9B27-3375A7EB3A6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724650" y="5365750"/>
            <a:ext cx="1889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3ECA1DA-C936-441A-BE7E-AC40C0488D40}" type="datetime'''''''5''''''''''''''''''''''''''''''''''''''m'''''''">
              <a:rPr lang="en-US" altLang="en-US" sz="1000" smtClean="0">
                <a:solidFill>
                  <a:schemeClr val="tx1"/>
                </a:solidFill>
              </a:rPr>
              <a:pPr/>
              <a:t>5m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8624D271-268E-4201-9E41-71F5A2CB960E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105650" y="5365750"/>
            <a:ext cx="1889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14ADA57-8DCC-4229-95ED-29F5EA824BC5}" type="datetime'''''''''''''''''''''''''6''''''''''''''''''''''''m'">
              <a:rPr lang="en-US" altLang="en-US" sz="1000" smtClean="0">
                <a:solidFill>
                  <a:schemeClr val="tx1"/>
                </a:solidFill>
              </a:rPr>
              <a:pPr/>
              <a:t>6m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7F05354D-AE33-41B3-A348-8ED2C59E328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834313" y="5365750"/>
            <a:ext cx="258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29B8C98-DA88-473D-8D0C-26A2B0696CE8}" type="datetime'''''''''''''''''''1''''''''0''''''''''m'''''''''''''''">
              <a:rPr lang="en-US" altLang="en-US" sz="1000" smtClean="0">
                <a:solidFill>
                  <a:schemeClr val="tx1"/>
                </a:solidFill>
              </a:rPr>
              <a:pPr/>
              <a:t>10m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C81AC590-095E-401D-B52F-9BA08C6B0659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977313" y="5365750"/>
            <a:ext cx="258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217BA31-75D0-408B-A57F-BB3CE1ABA4DA}" type="datetime'''''''''2''''''''''''4m'''''''''''''">
              <a:rPr lang="en-US" altLang="en-US" sz="1000" smtClean="0">
                <a:solidFill>
                  <a:schemeClr val="tx1"/>
                </a:solidFill>
              </a:rPr>
              <a:pPr/>
              <a:t>24m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5894701A-0B43-4B5D-B3C7-911DD8E9281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596313" y="5365750"/>
            <a:ext cx="258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3DA3C74-DBEB-4C81-B8A2-A5AE75F01DF7}" type="datetime'1''8''m'''''''''''''''''''''''''''''''''''''''''''''''''">
              <a:rPr lang="en-US" altLang="en-US" sz="1000" smtClean="0">
                <a:solidFill>
                  <a:schemeClr val="tx1"/>
                </a:solidFill>
              </a:rPr>
              <a:pPr/>
              <a:t>18m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20BC5F50-9175-4DD1-81DA-D6B3DCD70F43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9358313" y="5365750"/>
            <a:ext cx="258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5D6214D-D667-41E0-B75B-DC585B7018CE}" type="datetime'''''''''''''''''''''''3''''''''''''''''''''0''m'''''''''''''''">
              <a:rPr lang="en-US" altLang="en-US" sz="1000" smtClean="0">
                <a:solidFill>
                  <a:schemeClr val="tx1"/>
                </a:solidFill>
              </a:rPr>
              <a:pPr/>
              <a:t>30m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9BF85169-5D3F-426C-9D62-8F537F97DA0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0502900" y="5365750"/>
            <a:ext cx="258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32B648B-10F4-4E16-8D1E-6414ECCD623E}" type="datetime'60''''''''''''''m'''''''''''''''''''''''''''">
              <a:rPr lang="en-US" altLang="en-US" sz="1000" smtClean="0">
                <a:solidFill>
                  <a:schemeClr val="tx1"/>
                </a:solidFill>
              </a:rPr>
              <a:pPr/>
              <a:t>60m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3E4219B5-5271-4632-8288-7BE512B7D2BD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9739313" y="5365750"/>
            <a:ext cx="258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4991182-B809-4D04-9D44-50A316B8387C}" type="datetime'''''''''''''''''''''''3''''''''''''''6''''m'''''''">
              <a:rPr lang="en-US" altLang="en-US" sz="1000" smtClean="0">
                <a:solidFill>
                  <a:schemeClr val="tx1"/>
                </a:solidFill>
              </a:rPr>
              <a:pPr/>
              <a:t>36m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5FC9F128-6431-4A45-9FE2-FFDBA0F25FD3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0121900" y="5365750"/>
            <a:ext cx="258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3CEF921-E9A2-4926-AFF1-08F27151C700}" type="datetime'''''''4''8''''''''m'''''''''''''''''''''''''">
              <a:rPr lang="en-US" altLang="en-US" sz="1000" smtClean="0">
                <a:solidFill>
                  <a:schemeClr val="tx1"/>
                </a:solidFill>
              </a:rPr>
              <a:pPr/>
              <a:t>48m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0B79D8B3-083D-4D44-A9C4-E599AB7B2B0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0883900" y="5365750"/>
            <a:ext cx="258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7427DA-F4AB-457B-82F7-9E70DC16FCE4}" type="datetime'''''''''''''''7''''''2''''''''''''''m'''''''''''''''''''''">
              <a:rPr lang="en-US" altLang="en-US" sz="1000" smtClean="0">
                <a:solidFill>
                  <a:schemeClr val="tx1"/>
                </a:solidFill>
              </a:rPr>
              <a:pPr/>
              <a:t>72m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E3965130-BC04-48EF-8230-23E24B2F35BF}"/>
              </a:ext>
            </a:extLst>
          </p:cNvPr>
          <p:cNvSpPr/>
          <p:nvPr/>
        </p:nvSpPr>
        <p:spPr>
          <a:xfrm>
            <a:off x="6408174" y="1835150"/>
            <a:ext cx="4795378" cy="51144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/>
            <a:r>
              <a:rPr lang="en-US" sz="1200" b="1" dirty="0" err="1">
                <a:solidFill>
                  <a:schemeClr val="bg1"/>
                </a:solidFill>
              </a:rPr>
              <a:t>Iclusig</a:t>
            </a:r>
            <a:r>
              <a:rPr lang="en-US" sz="1200" b="1" dirty="0">
                <a:solidFill>
                  <a:schemeClr val="bg1"/>
                </a:solidFill>
              </a:rPr>
              <a:t> is administered for on average 20.8 months in 3</a:t>
            </a:r>
            <a:r>
              <a:rPr lang="en-US" sz="1200" b="1" baseline="30000" dirty="0">
                <a:solidFill>
                  <a:schemeClr val="bg1"/>
                </a:solidFill>
              </a:rPr>
              <a:t>rd</a:t>
            </a:r>
            <a:r>
              <a:rPr lang="en-US" sz="1200" b="1" dirty="0">
                <a:solidFill>
                  <a:schemeClr val="bg1"/>
                </a:solidFill>
              </a:rPr>
              <a:t> Line</a:t>
            </a: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670B77AD-4891-4018-9C48-9BD130A14348}"/>
              </a:ext>
            </a:extLst>
          </p:cNvPr>
          <p:cNvPicPr>
            <a:picLocks noChangeAspect="1"/>
          </p:cNvPicPr>
          <p:nvPr/>
        </p:nvPicPr>
        <p:blipFill rotWithShape="1">
          <a:blip r:embed="rId37"/>
          <a:srcRect b="41814"/>
          <a:stretch/>
        </p:blipFill>
        <p:spPr>
          <a:xfrm>
            <a:off x="10380187" y="926258"/>
            <a:ext cx="1493202" cy="585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3358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43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3&quot;&gt;&lt;elem m_fUsage=&quot;5.59808881387172441180E+00&quot;&gt;&lt;m_msothmcolidx val=&quot;0&quot;/&gt;&lt;m_rgb r=&quot;AE&quot; g=&quot;25&quot; b=&quot;73&quot;/&gt;&lt;m_nBrightness endver=&quot;26206&quot; val=&quot;0&quot;/&gt;&lt;/elem&gt;&lt;elem m_fUsage=&quot;2.21083093210332792822E+00&quot;&gt;&lt;m_msothmcolidx val=&quot;0&quot;/&gt;&lt;m_rgb r=&quot;FF&quot; g=&quot;AA&quot; b=&quot;2B&quot;/&gt;&lt;m_nBrightness endver=&quot;26206&quot; val=&quot;0&quot;/&gt;&lt;/elem&gt;&lt;elem m_fUsage=&quot;1.48820926355346272452E+00&quot;&gt;&lt;m_msothmcolidx val=&quot;0&quot;/&gt;&lt;m_rgb r=&quot;01&quot; g=&quot;8F&quot; b=&quot;82&quot;/&gt;&lt;m_nBrightness endver=&quot;26206&quot; val=&quot;0&quot;/&gt;&lt;/elem&gt;&lt;elem m_fUsage=&quot;5.64856000034645200358E-01&quot;&gt;&lt;m_msothmcolidx val=&quot;0&quot;/&gt;&lt;m_rgb r=&quot;EF&quot; g=&quot;8E&quot; b=&quot;23&quot;/&gt;&lt;m_nBrightness endver=&quot;26206&quot; val=&quot;0&quot;/&gt;&lt;/elem&gt;&lt;elem m_fUsage=&quot;5.85367246268399463172E-02&quot;&gt;&lt;m_msothmcolidx val=&quot;0&quot;/&gt;&lt;m_rgb r=&quot;43&quot; g=&quot;B6&quot; b=&quot;49&quot;/&gt;&lt;m_nBrightness endver=&quot;26206&quot; val=&quot;0&quot;/&gt;&lt;/elem&gt;&lt;elem m_fUsage=&quot;5.23347633027360994995E-02&quot;&gt;&lt;m_msothmcolidx val=&quot;0&quot;/&gt;&lt;m_rgb r=&quot;C6&quot; g=&quot;EF&quot; b=&quot;FF&quot;/&gt;&lt;m_nBrightness endver=&quot;26206&quot; val=&quot;0&quot;/&gt;&lt;/elem&gt;&lt;elem m_fUsage=&quot;1.32560204731738250777E-02&quot;&gt;&lt;m_msothmcolidx val=&quot;0&quot;/&gt;&lt;m_rgb r=&quot;FF&quot; g=&quot;53&quot; b=&quot;0D&quot;/&gt;&lt;m_nBrightness endver=&quot;26206&quot; val=&quot;0&quot;/&gt;&lt;/elem&gt;&lt;elem m_fUsage=&quot;5.25713781459518671169E-03&quot;&gt;&lt;m_msothmcolidx val=&quot;0&quot;/&gt;&lt;m_rgb r=&quot;19&quot; g=&quot;7D&quot; b=&quot;C8&quot;/&gt;&lt;m_nBrightness endver=&quot;26206&quot; val=&quot;0&quot;/&gt;&lt;/elem&gt;&lt;elem m_fUsage=&quot;4.92432589632810224778E-03&quot;&gt;&lt;m_msothmcolidx val=&quot;0&quot;/&gt;&lt;m_rgb r=&quot;FF&quot; g=&quot;CF&quot; b=&quot;32&quot;/&gt;&lt;m_nBrightness endver=&quot;26206&quot; val=&quot;0&quot;/&gt;&lt;/elem&gt;&lt;elem m_fUsage=&quot;2.73892744995341171077E-03&quot;&gt;&lt;m_msothmcolidx val=&quot;0&quot;/&gt;&lt;m_rgb r=&quot;29&quot; g=&quot;7D&quot; b=&quot;FD&quot;/&gt;&lt;m_nBrightness endver=&quot;26206&quot; val=&quot;0&quot;/&gt;&lt;/elem&gt;&lt;elem m_fUsage=&quot;4.63527458669272575138E-04&quot;&gt;&lt;m_msothmcolidx val=&quot;0&quot;/&gt;&lt;m_rgb r=&quot;26&quot; g=&quot;91&quot; b=&quot;7B&quot;/&gt;&lt;m_nBrightness endver=&quot;26206&quot; val=&quot;0&quot;/&gt;&lt;/elem&gt;&lt;elem m_fUsage=&quot;2.88609809865242740012E-04&quot;&gt;&lt;m_msothmcolidx val=&quot;0&quot;/&gt;&lt;m_rgb r=&quot;F5&quot; g=&quot;63&quot; b=&quot;8B&quot;/&gt;&lt;m_nBrightness endver=&quot;26206&quot; val=&quot;0&quot;/&gt;&lt;/elem&gt;&lt;elem m_fUsage=&quot;6.84223999636674812741E-05&quot;&gt;&lt;m_msothmcolidx val=&quot;0&quot;/&gt;&lt;m_rgb r=&quot;FC&quot; g=&quot;1F&quot; b=&quot;26&quot;/&gt;&lt;m_nBrightness endver=&quot;26206&quot; val=&quot;0&quot;/&gt;&lt;/elem&gt;&lt;elem m_fUsage=&quot;4.49819622476037563551E-05&quot;&gt;&lt;m_msothmcolidx val=&quot;0&quot;/&gt;&lt;m_rgb r=&quot;D7&quot; g=&quot;F4&quot; b=&quot;D0&quot;/&gt;&lt;m_nBrightness endver=&quot;26206&quot; val=&quot;0&quot;/&gt;&lt;/elem&gt;&lt;elem m_fUsage=&quot;4.04837660228433813972E-05&quot;&gt;&lt;m_msothmcolidx val=&quot;0&quot;/&gt;&lt;m_rgb r=&quot;FF&quot; g=&quot;E8&quot; b=&quot;D0&quot;/&gt;&lt;m_nBrightness endver=&quot;26206&quot; val=&quot;0&quot;/&gt;&lt;/elem&gt;&lt;elem m_fUsage=&quot;4.01697337562291649569E-05&quot;&gt;&lt;m_msothmcolidx val=&quot;0&quot;/&gt;&lt;m_rgb r=&quot;DB&quot; g=&quot;44&quot; b=&quot;48&quot;/&gt;&lt;m_nBrightness endver=&quot;26206&quot; val=&quot;0&quot;/&gt;&lt;/elem&gt;&lt;elem m_fUsage=&quot;1.93247305330274120360E-05&quot;&gt;&lt;m_msothmcolidx val=&quot;0&quot;/&gt;&lt;m_rgb r=&quot;C1&quot; g=&quot;70&quot; b=&quot;00&quot;/&gt;&lt;m_nBrightness endver=&quot;26206&quot; val=&quot;0&quot;/&gt;&lt;/elem&gt;&lt;elem m_fUsage=&quot;3.69382390886276490335E-07&quot;&gt;&lt;m_msothmcolidx val=&quot;0&quot;/&gt;&lt;m_rgb r=&quot;7F&quot; g=&quot;9E&quot; b=&quot;AF&quot;/&gt;&lt;m_nBrightness endver=&quot;26206&quot; val=&quot;0&quot;/&gt;&lt;/elem&gt;&lt;elem m_fUsage=&quot;3.53340834946364733258E-07&quot;&gt;&lt;m_msothmcolidx val=&quot;0&quot;/&gt;&lt;m_rgb r=&quot;FA&quot; g=&quot;C1&quot; b=&quot;58&quot;/&gt;&lt;m_nBrightness endver=&quot;26206&quot; val=&quot;0&quot;/&gt;&lt;/elem&gt;&lt;elem m_fUsage=&quot;3.19526327664935759744E-07&quot;&gt;&lt;m_msothmcolidx val=&quot;0&quot;/&gt;&lt;m_rgb r=&quot;F8&quot; g=&quot;FC&quot; b=&quot;54&quot;/&gt;&lt;m_nBrightness endver=&quot;26206&quot; val=&quot;0&quot;/&gt;&lt;/elem&gt;&lt;elem m_fUsage=&quot;1.53969049876671198751E-07&quot;&gt;&lt;m_msothmcolidx val=&quot;0&quot;/&gt;&lt;m_rgb r=&quot;D4&quot; g=&quot;DF&quot; b=&quot;E4&quot;/&gt;&lt;m_nBrightness endver=&quot;26206&quot; val=&quot;0&quot;/&gt;&lt;/elem&gt;&lt;elem m_fUsage=&quot;8.98144994103401975161E-08&quot;&gt;&lt;m_msothmcolidx val=&quot;0&quot;/&gt;&lt;m_rgb r=&quot;16&quot; g=&quot;21&quot; b=&quot;6E&quot;/&gt;&lt;m_nBrightness endver=&quot;26206&quot; val=&quot;0&quot;/&gt;&lt;/elem&gt;&lt;elem m_fUsage=&quot;3.13163795527597905333E-08&quot;&gt;&lt;m_msothmcolidx val=&quot;0&quot;/&gt;&lt;m_rgb r=&quot;00&quot; g=&quot;A3&quot; b=&quot;E0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5eI1Ji_7d_610V7QI8W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R2k.AcntWcro_76.mFV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I1NFnz.JBwtynZaZgfR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FggYHX30m_0CMG7ob9Z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OSKVEwsqHxWIUlWfSej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mkFoLURDnkUtT0Id3jV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gyAsgtbpSFNK0z6Xwua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usPFibLB_olvpJOtzwP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zHjxT6EuS9s2cdRssVz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ouDcbkBW8QrQs3PTeMR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0g6SgpTAiizRH1a4K3u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MhGCOMSgRTmWk06PIz5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wWXumhc0u3xZWczNJPf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k7SCdRX02vpgLGYcUUA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QlVJiI.l7p8_P830jM.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KuX0Bb1B1Nkfg8nzani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eDWhhF4M__lsxTYJA9_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WJGaeAgp2uPT8mCdao0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d4Vwwdh7wR6KBbEUg4y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9SPoiHRyeyYFXIQ5M.O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_zARRbvWa9.dkn81sQ7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1r1IkfdMcjGjfHMTMvp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KKMh_NS6t8qhrJTzlg.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kxPvmRkoLB40ZbrHcnv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V.VuRwX8KklsYSlOsoV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EeDSLJW0iozAfGNqaeS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ClXlYagsQa_lMoKQFbo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dgzE4FoY5QJUaIZZrgZ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21bOp4dlvKDTutsdyLB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B4WfVPm5pucL_Q9Gc81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_HtuAvStyijFQv28PH1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TbqadgG7cMUyeFVNHw7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RfsDZCSp7hYI98I7ZwH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PKrr29OFvCe.TOwhSdg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6XY_P7hX_QThyRNf6gq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0LoIVo1PQcajxdSA2y6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o4.SsDjusOa_GyqdFdY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Nl0i4KHFjLfJeqosbHY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21Xp6ci.UlPkb6anipw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falnurPoZ6JNZrZdNnp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vOtxu2XRowQGdy1hw7a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eDcC9X5E92zAg4o3KaY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HMwlcC0ZnsCBBZIgcyw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.8DGS79XilmhYHzlKKH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VaiNMmMawaP6UbLNeme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nSnklvrqvnbIU_pCcUl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2RZlXrHaQGIqgN2.pbg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8KDTN_5fvDivoLRZAJb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z0JeZCqep2mIRUdrmJn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PI0FSdeThB67ytkG77J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LRUYiOsbsneDAyQqIa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dXx8isRcKVrhRn8mM4e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UJ_HMYqZRuS861Q7Uo2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ZR1.sH4aZNM7AyX_GtX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D7hfnz3BruLzA.k6nq3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DCt9obCAJEvBX0MpKV8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SR9fBlbp7iIb6wjt9de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HFaYnZ18TehOp6oUQ8Y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_zARRbvWa9.dkn81sQ7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_WStDU6miXSbudrOWm5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t6cyXK_43VgswsAz2cm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pvp1ieR11DxqYUEe.x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gxTjTKWUGIsFNP59B9n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lAT8RW0Of9e_VdVUYOz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BUi5UMAycGp7mJ4CP6S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u7HTr.W2HvHerHp80Dv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dUj260IFDYN4NSwuq76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2BKi.LQpFG8LSBfU5Bn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9EionfwLCwDDLjIl_5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Q9fCzogZxNtstlzvcXU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xA8KaFtOYrfo0hV1R6Z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r9I8hMQuSH61.P.GKgI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.1AgOoFb940D1blsYWL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S4wRNETJBa7sty3Rxzk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Iy_xLeIRAkxEb7MS5Cj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Q6HqQ2xcEjaifAKBATe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mD52ZhxUjTm4VSR35qi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uZg5sTTyIypiIFTCZIZ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VMdxRc4P9dg16xmyEFM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fITgzGPQwlsqtJuRVFA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mNDwoByZwetnlf1BHxV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iTfNoYDckXiSVQGE0rH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ghiwnWNaX3LJMtiMm8m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SM9hwuHp6jS6hT.H.c0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E66i8Fv_UzCXH8gQBsn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E4viTwNXU61EKia888D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gBo2FB2JvfXeUkEyaG8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YjHJy2cjeBv4my.E1tI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iDiTYjXBDaqRsMSh_AW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MTo.9UNP13RHLIpyVYa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OtkKMARqLaw2Pu7wDFd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_tDoIVR_apR_RBV6DQm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2RHxRrg6HJIadOgCLo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.EL5L8qJ6rXNG4MIuNg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RCxF1TfHkFTUKIWnjca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A1AfgJc1XZkNSNrVWpN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6fMnNYa7v_KMIWG2kp4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_JPDsaZMiReLeRm54mh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UQ6ToKPFJNh4JYl_N.E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3A3_IXHU_YA4uQ1FisJ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gaY_5n9x45jVJtWx2lk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5KZb4MLaihXg9dbKP9M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LylHnoRkiBoSqJdbhGA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46ZfOqN124nPuSF0Cpg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sCC.QP5ppwxy1_9lJXD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6gXwGdH4bxy_26V8Z55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iDNkSiVSvuem0PSeT0b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_zARRbvWa9.dkn81sQ7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u2p.4TudDnEhGhrqIVn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RfsDZCSp7hYI98I7ZwH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Nl0i4KHFjLfJeqosbHY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ClXlYagsQa_lMoKQFb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HMwlcC0ZnsCBBZIgcyw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Hu8aY8J2tzgStdetepu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AF6vXeKn02P_jFbLzZt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tRmA5YMVHdqCQ1ZTXbY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.ABUtfWqBxScM0he4OS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4q5mpPqkIrqrYo9cY97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TveQ5XcAuStpBD5S4r.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pUDGXK9DwzOazmHODgg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uPxMk6FNBapKZ1qmnGr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ZcYwP92pbKR0DcV8DSS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W3SdMPRX.ilwgWXqBzp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NDv.ag9If9BOZpwXdAt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8VhhzLYirknuBDHUqEv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RH00PlzAHlaOp5Q9TcL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l1GHCvDiGb1fz6gp8Y7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8KDTN_5fvDivoLRZAJb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z0JeZCqep2mIRUdrmJn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b4OLbEvu5UCvXKCBGO4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OY6VrEJ3a4Gl8Ild0Yh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ZR1.sH4aZNM7AyX_GtX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KbkHarDVvPbNlRgud7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DCt9obCAJEvBX0MpKV8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_zARRbvWa9.dkn81sQ7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yPUkwpMsaANobJK0F9x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bjNagK2ztcN1qLBlX9V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mvJ853pcReBo9SPgmMT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A5mOCBbnSPhrYrFWF7Z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MgGMQd2G1KcSEhmcQjP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UIL42xgGttUXH2PDFJH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9k14b08MfJy9Hll67b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W3SdMPRX.ilwgWXqBzp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2.DEvqGkOtDnC9BSDvB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CTPhBNx9cf1328tiKxV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vRVV9oHoTFAzXkvK7Uv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is6vRLfNwXSFOEUrlDW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e_QJX9aTSSs2JgLw5a7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FL75A.T9kTUC3rAVeEy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QjlyZpwnxgnYevbmqe.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_HwFQGNBT7.qX9j._g1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BcaXs8rjy6E7AIZKbl1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KqM8gol32c0UIwG6HvP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aQsHvjbqOMSoQH_VyCU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VxauS3JmxKYR81nn7bj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_zARRbvWa9.dkn81sQ7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KqNlKbRiJVMDK8JD27s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A_aLBYRTFDiwR66NBJo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OREXoXxNpWDZOWz0In2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H4AFMKIWOnStZdIUUzp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UMfpAa2RQMePb.W4zlZ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6L0l6KKOPg4GGiPsOKr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bXIe5PSJOnfu39AbMar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qFLXX83KiGX8dKDpmbr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rUaHywbgvhGgRrNzozB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jrPVfbgJGNxuPNmL8m_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1WH9j0B.1K4lkcAPkHJ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5pp3jtoosrcXW9EL1LB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zpdeaWzAR1EzR0DYl_E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FI6Qt.Cwwach2uzj95x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m.54Rc1pcXcwcoGqcRp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R7_H43AIxfVivxJlRCQ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rgpwTteu7wN2j8oo2AG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I1z1RFvDuZqc4FQLFCc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bg60EPZRRtO8GUWU8ch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UKU4poLJfglcRfdCAoj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oW34FWJLPYlZ.PiNCSg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iN86XOov0E39G0LqtzV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Qk69eM7nZ8Sv8zHKHEJ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47owOTvU9RBnQkNrrCi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gd4tpr63GlaVBbXCkkr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NJEpVTFCKqFFCZjPI8V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tPI8BLhQ6rGTAzj6bd5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Br3ICaRbqZoauY6I4Ei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O.n9JmuyUyqNRDN9pNv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xsqqDA6hs0nZd1p70H7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3PHcbyJo7htVm6k.fiy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d6oO1Ln.Nh2hQCnQ341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JehHNEOpvLuF6LnrTmH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sVjcrDHI9jH9D3H65uH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Ui.oIkQiSIySj5VPWlF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D4FdswJD0m4AkTWJZfW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WFiLz8dw_lWxO66rzXE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he7I24E_GoU3_l6FUuc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RZihLKvSBLm.oPO6wtA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Rv_gBKtJoNuMUsE.lQC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M9mvjM7pMU8b7RZCj4N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txq.LJc7UHsUae0Nmi_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RHZQHRSNO5kVf9kzUhp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ImpIi9.FThz1rN.CJx8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VO8JL0V8zbG3QsoPsDp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wikQlvJc1MXc2dJ6P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L9j6wLGjZd21pB9ruZ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zMYAVCRemuuxoD7vCIk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3mWzPST6W3qqO9q5lh3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qtw2XQkB9QckOH6H9FA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WOHTFP23rCVGxiiNcZA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1.uvIfiYhP.RmDk5QID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obbOqLF7UacbUm3QZxa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vbiU5tHPgaQ6dml3ghf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TS74OssHi_N2RDfOoUZ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OarRFYnRe.ScUwu02BV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xsyLO3BBxHuWo_I0xLX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NL6Jt0fZcCVHEU59bmk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IkRc5x4UWI0Ln.pmijq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3TVsi1gGFfzwaiJjQJz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9uMAqVdYkMq_vi8zq_7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ISLytHTEMn8.u4ueiCD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aydf4Zir5292iSgycOv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pPuTMeYpPqCoHXVSyPF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4NNaJOttZJsNbFiixJX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W3SdMPRX.ilwgWXqBzp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_HtuAvStyijFQv28PH1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r9I8hMQuSH61.P.GKgI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r9I8hMQuSH61.P.GKgI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oAbdYmT52Y_FXFEh37w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_zARRbvWa9.dkn81sQ7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G.GR_Ek2jOHi3OXilh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GjWrXAkM5RuVvSB_Bgq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MfrTWvp0l9dOr_9XCy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bhm0P4TXaSH2i5zgamV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Xx_NaZWz6HihtgE2Yff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NA5AwWPUr1LVEHWNzeb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FPah8hVfsbaXo9D8GnH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DW8TjAkcMyCowNetRyk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MvOS6wdhuglpSARncl4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Cj88bOQwY9RtezGR6LI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BoqNyHA7g6Wbcjr7u5t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Am7rVtpm69WcBnh7gFB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lABgsPVWLEZQlc8AkrD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ImQjj5BHxoPxWNtoKS5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qhup9G2HcjvjMCeRG4Z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Zj5tNXh_eiR6_wUUbTK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8ShwZFi37f86jqCO2.t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gfrpnwwY.7qcQPrun6K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29TWFWzRuFfP3pr7j2X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SS3jSupCUhOakrFQ9Ob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rBQE3C234SW8ubJ85y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611UiMTVtUqkgG9QE6D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anzcLmS_QeYq_o9Ajnb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J4RLNuFXTvXPvqOmaT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YPQvoeR82Juw3z8NwQQ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_zARRbvWa9.dkn81sQ7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lrhRaioZSShR90RGE3c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eZOx0v0jMkCpKME5L0I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C2r2EdSRmxeThxs2o6k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DK2hZeCOCfPLizDI3A5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6NtzMjniXW1SnLEM70g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Nd668dttwnxyYC7M8Pm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lU4zdt4Ryei1yRy.hdF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jU1EyKs.k4VX2Qf0Hc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gLvYYsW3dlHHMvCtlBw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AHIYcVfQjEdbgjI1clD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wRN9dyLtpp_dJ2I48qo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.LYldwd8xISkIvnbZlN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yyU8kxkvt5uU332A9Su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LRbN_7VXa9hQFMewXCE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lqDO1gDL_qOSoEMmoKq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MtJkI9iR8fdAyoLPMgF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LnCkq7m1arRieqllqhz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QelEud2hLzMl57D7XQ9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L5gqfpR0amHGTgAHiN4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iZkPVftu8HgaM3.oMNK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3gWh_RDVZA2jOUX_gqQ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f3WoPI2whvfM1_Jmg8w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aZQb5IOLozUalGs5x7Q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LlzFQgbXEhQiz6BHYj5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LO3v2lptDytzBrd9R85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yzBlqjZT_n95BGHJ4BJ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6KmNmJysAjgZAVvitQ6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9NlhURB8IR0GGZ82CPf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bu7pnbzcQeIkMgHP49ZQ"/>
</p:tagLst>
</file>

<file path=ppt/theme/theme1.xml><?xml version="1.0" encoding="utf-8"?>
<a:theme xmlns:a="http://schemas.openxmlformats.org/drawingml/2006/main" name="IQVIA_V2.0.0">
  <a:themeElements>
    <a:clrScheme name="IQVIA MedTech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72000" tIns="72000" rIns="72000" bIns="72000" rtlCol="0" anchor="t" anchorCtr="0"/>
      <a:lstStyle>
        <a:defPPr algn="l">
          <a:defRPr sz="12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 rtlCol="0">
        <a:spAutoFit/>
      </a:bodyPr>
      <a:lstStyle>
        <a:defPPr indent="-171450" algn="l">
          <a:lnSpc>
            <a:spcPct val="90000"/>
          </a:lnSpc>
          <a:spcBef>
            <a:spcPts val="400"/>
          </a:spcBef>
          <a:buFont typeface="Arial" panose="020B0604020202020204" pitchFamily="34" charset="0"/>
          <a:buChar char="•"/>
          <a:defRPr sz="12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1_IQVIA Corporate PowerPoint Template" id="{42BDD37C-ACA5-4C33-AC42-50A994E3F8D7}" vid="{ECBF5E39-8A48-4052-90E0-D1A84AEB764E}"/>
    </a:ext>
  </a:extLst>
</a:theme>
</file>

<file path=ppt/theme/theme2.xml><?xml version="1.0" encoding="utf-8"?>
<a:theme xmlns:a="http://schemas.openxmlformats.org/drawingml/2006/main" name="1_Default Theme">
  <a:themeElements>
    <a:clrScheme name="IQVIA">
      <a:dk1>
        <a:srgbClr val="2B3A42"/>
      </a:dk1>
      <a:lt1>
        <a:sysClr val="window" lastClr="FFFFFF"/>
      </a:lt1>
      <a:dk2>
        <a:srgbClr val="3F5765"/>
      </a:dk2>
      <a:lt2>
        <a:srgbClr val="FFD100"/>
      </a:lt2>
      <a:accent1>
        <a:srgbClr val="00A3E0"/>
      </a:accent1>
      <a:accent2>
        <a:srgbClr val="005587"/>
      </a:accent2>
      <a:accent3>
        <a:srgbClr val="FE8A12"/>
      </a:accent3>
      <a:accent4>
        <a:srgbClr val="43B02A"/>
      </a:accent4>
      <a:accent5>
        <a:srgbClr val="027223"/>
      </a:accent5>
      <a:accent6>
        <a:srgbClr val="00C7B1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72000" tIns="72000" rIns="72000" bIns="72000" rtlCol="0" anchor="t" anchorCtr="0"/>
      <a:lstStyle>
        <a:defPPr algn="l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 rtlCol="0">
        <a:spAutoFit/>
      </a:bodyPr>
      <a:lstStyle>
        <a:defPPr indent="-171450" algn="l">
          <a:lnSpc>
            <a:spcPct val="90000"/>
          </a:lnSpc>
          <a:spcBef>
            <a:spcPts val="400"/>
          </a:spcBef>
          <a:buFont typeface="Arial" panose="020B0604020202020204" pitchFamily="34" charset="0"/>
          <a:buChar char="•"/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" id="{F6D4D9B1-EBDA-46E6-BD1B-F84B56DC2111}" vid="{49E137C2-F0B8-4807-B1D5-D218D23B6C77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3E819CE78C8640B934F3D1DE4893AA" ma:contentTypeVersion="13" ma:contentTypeDescription="Create a new document." ma:contentTypeScope="" ma:versionID="04de0041cbceaa394564b605413d547a">
  <xsd:schema xmlns:xsd="http://www.w3.org/2001/XMLSchema" xmlns:xs="http://www.w3.org/2001/XMLSchema" xmlns:p="http://schemas.microsoft.com/office/2006/metadata/properties" xmlns:ns3="27daeea5-b29b-47b6-9ee7-363d81759204" xmlns:ns4="8ae2986f-75ab-416e-8548-93e43c5726e4" targetNamespace="http://schemas.microsoft.com/office/2006/metadata/properties" ma:root="true" ma:fieldsID="d68047cb7435a575f69031f505ac0285" ns3:_="" ns4:_="">
    <xsd:import namespace="27daeea5-b29b-47b6-9ee7-363d81759204"/>
    <xsd:import namespace="8ae2986f-75ab-416e-8548-93e43c5726e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daeea5-b29b-47b6-9ee7-363d8175920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e2986f-75ab-416e-8548-93e43c5726e4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C08999F-1C04-43C3-A038-867ECC3B575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7daeea5-b29b-47b6-9ee7-363d81759204"/>
    <ds:schemaRef ds:uri="8ae2986f-75ab-416e-8548-93e43c5726e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4294B05-73E6-48CF-98C4-E424AC532867}">
  <ds:schemaRefs>
    <ds:schemaRef ds:uri="http://schemas.microsoft.com/office/2006/metadata/properties"/>
    <ds:schemaRef ds:uri="http://purl.org/dc/terms/"/>
    <ds:schemaRef ds:uri="27daeea5-b29b-47b6-9ee7-363d81759204"/>
    <ds:schemaRef ds:uri="http://purl.org/dc/elements/1.1/"/>
    <ds:schemaRef ds:uri="http://schemas.microsoft.com/office/2006/documentManagement/types"/>
    <ds:schemaRef ds:uri="http://purl.org/dc/dcmitype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8ae2986f-75ab-416e-8548-93e43c5726e4"/>
  </ds:schemaRefs>
</ds:datastoreItem>
</file>

<file path=customXml/itemProps3.xml><?xml version="1.0" encoding="utf-8"?>
<ds:datastoreItem xmlns:ds="http://schemas.openxmlformats.org/officeDocument/2006/customXml" ds:itemID="{41031DDF-A4C6-4DDD-A984-25DA31DFC5A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421</TotalTime>
  <Words>1364</Words>
  <Application>Microsoft Office PowerPoint</Application>
  <PresentationFormat>Widescreen</PresentationFormat>
  <Paragraphs>415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Arial Narrow</vt:lpstr>
      <vt:lpstr>System Font Regular</vt:lpstr>
      <vt:lpstr>Wingdings</vt:lpstr>
      <vt:lpstr>IQVIA_V2.0.0</vt:lpstr>
      <vt:lpstr>1_Default Theme</vt:lpstr>
      <vt:lpstr>think-cell Slide</vt:lpstr>
      <vt:lpstr>27 hospitals participated in the survey</vt:lpstr>
      <vt:lpstr>61% of CML patients are in 1st Line, 29% in 2nd Line and 10% in 3rd Line</vt:lpstr>
      <vt:lpstr>Imatinib records the highest share (44%; 28%  for Glivec), while Tasigna follows with 32%; Iclusig presents 5% patient share</vt:lpstr>
      <vt:lpstr>41% of CLM patients receive Iclusig in 3rd Line</vt:lpstr>
      <vt:lpstr>Top3 drivers for Rx after 1L TKI failure are MMR, long term molecular response and cytogenic response</vt:lpstr>
      <vt:lpstr>Iclusig records a share equal to 29% in total Ph+ ALL</vt:lpstr>
      <vt:lpstr>25% of patients are switched from 1st line Sprycel mainly due to lack of response/relapse and 80% receive Iclusig</vt:lpstr>
      <vt:lpstr>MMR, hema response, long-term maintenance of response and cytogenic response are the top4 criteria</vt:lpstr>
      <vt:lpstr>34% of Hemas Rx Iclusig for 24m (avg Iclusig duration: 23,4m) in 2L, 29% Rx Iclusig for 24m (avg Iclusig duration: 20.8m) in 3L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roslav Dvořák</dc:creator>
  <cp:lastModifiedBy>Fatira Voula</cp:lastModifiedBy>
  <cp:revision>1157</cp:revision>
  <cp:lastPrinted>2020-03-03T14:08:59Z</cp:lastPrinted>
  <dcterms:created xsi:type="dcterms:W3CDTF">2017-11-22T21:40:24Z</dcterms:created>
  <dcterms:modified xsi:type="dcterms:W3CDTF">2021-02-12T14:53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3E819CE78C8640B934F3D1DE4893AA</vt:lpwstr>
  </property>
</Properties>
</file>